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3" r:id="rId1"/>
  </p:sldMasterIdLst>
  <p:notesMasterIdLst>
    <p:notesMasterId r:id="rId14"/>
  </p:notesMasterIdLst>
  <p:handoutMasterIdLst>
    <p:handoutMasterId r:id="rId15"/>
  </p:handoutMasterIdLst>
  <p:sldIdLst>
    <p:sldId id="256" r:id="rId2"/>
    <p:sldId id="420" r:id="rId3"/>
    <p:sldId id="405" r:id="rId4"/>
    <p:sldId id="422" r:id="rId5"/>
    <p:sldId id="421" r:id="rId6"/>
    <p:sldId id="413" r:id="rId7"/>
    <p:sldId id="417" r:id="rId8"/>
    <p:sldId id="411" r:id="rId9"/>
    <p:sldId id="416" r:id="rId10"/>
    <p:sldId id="412" r:id="rId11"/>
    <p:sldId id="423" r:id="rId12"/>
    <p:sldId id="419" r:id="rId13"/>
  </p:sldIdLst>
  <p:sldSz cx="17145000" cy="13716000"/>
  <p:notesSz cx="6858000" cy="9144000"/>
  <p:custDataLst>
    <p:tags r:id="rId16"/>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3B5FD1-18EE-29F9-DE1A-49E8ECED1431}" name="Marlou Smeulders" initials="MS" userId="S::mht.smeulders@student.avans.nl::9242ec19-f910-48e2-bac2-40ca466f9e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4E6"/>
    <a:srgbClr val="000000"/>
    <a:srgbClr val="F5A93E"/>
    <a:srgbClr val="CD5D74"/>
    <a:srgbClr val="5593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noFill/>
        </a:fill>
      </a:tcStyle>
    </a:firstCol>
    <a:lastRow>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noFill/>
        </a:fill>
      </a:tcStyle>
    </a:lastRow>
    <a:firstRow>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3175" cap="flat">
              <a:solidFill>
                <a:srgbClr val="536773"/>
              </a:solidFill>
              <a:prstDash val="solid"/>
              <a:miter lim="400000"/>
            </a:ln>
          </a:left>
          <a:right>
            <a:ln w="3175" cap="flat">
              <a:solidFill>
                <a:srgbClr val="536773"/>
              </a:solidFill>
              <a:prstDash val="solid"/>
              <a:miter lim="400000"/>
            </a:ln>
          </a:right>
          <a:top>
            <a:ln w="3175" cap="flat">
              <a:solidFill>
                <a:srgbClr val="536773"/>
              </a:solidFill>
              <a:prstDash val="solid"/>
              <a:miter lim="400000"/>
            </a:ln>
          </a:top>
          <a:bottom>
            <a:ln w="3175" cap="flat">
              <a:solidFill>
                <a:srgbClr val="536773"/>
              </a:solidFill>
              <a:prstDash val="solid"/>
              <a:miter lim="400000"/>
            </a:ln>
          </a:bottom>
          <a:insideH>
            <a:ln w="3175" cap="flat">
              <a:solidFill>
                <a:srgbClr val="536773"/>
              </a:solidFill>
              <a:prstDash val="solid"/>
              <a:miter lim="400000"/>
            </a:ln>
          </a:insideH>
          <a:insideV>
            <a:ln w="3175"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536773"/>
              </a:solidFill>
              <a:prstDash val="solid"/>
              <a:miter lim="400000"/>
            </a:ln>
          </a:top>
          <a:bottom>
            <a:ln w="3175" cap="flat">
              <a:solidFill>
                <a:srgbClr val="536773"/>
              </a:solidFill>
              <a:prstDash val="solid"/>
              <a:miter lim="400000"/>
            </a:ln>
          </a:bottom>
          <a:insideH>
            <a:ln w="3175" cap="flat">
              <a:solidFill>
                <a:srgbClr val="536773"/>
              </a:solidFill>
              <a:prstDash val="solid"/>
              <a:miter lim="400000"/>
            </a:ln>
          </a:insideH>
          <a:insideV>
            <a:ln w="3175" cap="flat">
              <a:solidFill>
                <a:srgbClr val="536773"/>
              </a:solidFill>
              <a:prstDash val="solid"/>
              <a:miter lim="400000"/>
            </a:ln>
          </a:insideV>
        </a:tcBdr>
        <a:fill>
          <a:noFill/>
        </a:fill>
      </a:tcStyle>
    </a:firstCol>
    <a:lastRow>
      <a:tcTxStyle b="off" i="off">
        <a:fontRef idx="minor">
          <a:srgbClr val="000000"/>
        </a:fontRef>
        <a:srgbClr val="000000"/>
      </a:tcTxStyle>
      <a:tcStyle>
        <a:tcBdr>
          <a:left>
            <a:ln w="3175" cap="flat">
              <a:solidFill>
                <a:srgbClr val="536773"/>
              </a:solidFill>
              <a:prstDash val="solid"/>
              <a:miter lim="400000"/>
            </a:ln>
          </a:left>
          <a:right>
            <a:ln w="3175" cap="flat">
              <a:solidFill>
                <a:srgbClr val="536773"/>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536773"/>
              </a:solidFill>
              <a:prstDash val="solid"/>
              <a:miter lim="400000"/>
            </a:ln>
          </a:insideH>
          <a:insideV>
            <a:ln w="3175" cap="flat">
              <a:solidFill>
                <a:srgbClr val="536773"/>
              </a:solidFill>
              <a:prstDash val="solid"/>
              <a:miter lim="400000"/>
            </a:ln>
          </a:insideV>
        </a:tcBdr>
        <a:fill>
          <a:noFill/>
        </a:fill>
      </a:tcStyle>
    </a:lastRow>
    <a:firstRow>
      <a:tcTxStyle b="on" i="off">
        <a:fontRef idx="minor">
          <a:srgbClr val="000000"/>
        </a:fontRef>
        <a:srgbClr val="000000"/>
      </a:tcTxStyle>
      <a:tcStyle>
        <a:tcBdr>
          <a:left>
            <a:ln w="3175" cap="flat">
              <a:solidFill>
                <a:srgbClr val="536773"/>
              </a:solidFill>
              <a:prstDash val="solid"/>
              <a:miter lim="400000"/>
            </a:ln>
          </a:left>
          <a:right>
            <a:ln w="3175" cap="flat">
              <a:solidFill>
                <a:srgbClr val="536773"/>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536773"/>
              </a:solidFill>
              <a:prstDash val="solid"/>
              <a:miter lim="400000"/>
            </a:ln>
          </a:insideH>
          <a:insideV>
            <a:ln w="3175"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3175" cap="flat">
              <a:solidFill>
                <a:srgbClr val="838383"/>
              </a:solidFill>
              <a:prstDash val="solid"/>
              <a:miter lim="400000"/>
            </a:ln>
          </a:left>
          <a:right>
            <a:ln w="3175" cap="flat">
              <a:solidFill>
                <a:srgbClr val="838383"/>
              </a:solidFill>
              <a:prstDash val="solid"/>
              <a:miter lim="400000"/>
            </a:ln>
          </a:right>
          <a:top>
            <a:ln w="3175" cap="flat">
              <a:solidFill>
                <a:srgbClr val="838383"/>
              </a:solidFill>
              <a:prstDash val="solid"/>
              <a:miter lim="400000"/>
            </a:ln>
          </a:top>
          <a:bottom>
            <a:ln w="3175" cap="flat">
              <a:solidFill>
                <a:srgbClr val="838383"/>
              </a:solidFill>
              <a:prstDash val="solid"/>
              <a:miter lim="400000"/>
            </a:ln>
          </a:bottom>
          <a:insideH>
            <a:ln w="3175" cap="flat">
              <a:solidFill>
                <a:srgbClr val="838383"/>
              </a:solidFill>
              <a:prstDash val="solid"/>
              <a:miter lim="400000"/>
            </a:ln>
          </a:insideH>
          <a:insideV>
            <a:ln w="3175"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3175" cap="flat">
              <a:solidFill>
                <a:srgbClr val="4D4D4D"/>
              </a:solidFill>
              <a:prstDash val="solid"/>
              <a:miter lim="400000"/>
            </a:ln>
          </a:left>
          <a:right>
            <a:ln w="3175" cap="flat">
              <a:solidFill>
                <a:srgbClr val="808080"/>
              </a:solidFill>
              <a:prstDash val="solid"/>
              <a:miter lim="400000"/>
            </a:ln>
          </a:right>
          <a:top>
            <a:ln w="3175" cap="flat">
              <a:solidFill>
                <a:srgbClr val="808080"/>
              </a:solidFill>
              <a:prstDash val="solid"/>
              <a:miter lim="400000"/>
            </a:ln>
          </a:top>
          <a:bottom>
            <a:ln w="3175" cap="flat">
              <a:solidFill>
                <a:srgbClr val="808080"/>
              </a:solidFill>
              <a:prstDash val="solid"/>
              <a:miter lim="400000"/>
            </a:ln>
          </a:bottom>
          <a:insideH>
            <a:ln w="3175" cap="flat">
              <a:solidFill>
                <a:srgbClr val="808080"/>
              </a:solidFill>
              <a:prstDash val="solid"/>
              <a:miter lim="400000"/>
            </a:ln>
          </a:insideH>
          <a:insideV>
            <a:ln w="3175"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chemeClr val="accent3"/>
              </a:solidFill>
              <a:prstDash val="solid"/>
              <a:miter lim="400000"/>
            </a:ln>
          </a:top>
          <a:bottom>
            <a:ln w="3175" cap="flat">
              <a:solidFill>
                <a:srgbClr val="4D4D4D"/>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3175" cap="flat">
              <a:solidFill>
                <a:srgbClr val="4D4D4D"/>
              </a:solidFill>
              <a:prstDash val="solid"/>
              <a:miter lim="400000"/>
            </a:ln>
          </a:left>
          <a:right>
            <a:ln w="3175" cap="flat">
              <a:solidFill>
                <a:srgbClr val="4D4D4D"/>
              </a:solidFill>
              <a:prstDash val="solid"/>
              <a:miter lim="400000"/>
            </a:ln>
          </a:right>
          <a:top>
            <a:ln w="3175" cap="flat">
              <a:solidFill>
                <a:srgbClr val="4D4D4D"/>
              </a:solidFill>
              <a:prstDash val="solid"/>
              <a:miter lim="400000"/>
            </a:ln>
          </a:top>
          <a:bottom>
            <a:ln w="3175" cap="flat">
              <a:solidFill>
                <a:srgbClr val="4D4D4D"/>
              </a:solidFill>
              <a:prstDash val="solid"/>
              <a:miter lim="400000"/>
            </a:ln>
          </a:bottom>
          <a:insideH>
            <a:ln w="3175" cap="flat">
              <a:solidFill>
                <a:srgbClr val="4D4D4D"/>
              </a:solidFill>
              <a:prstDash val="solid"/>
              <a:miter lim="400000"/>
            </a:ln>
          </a:insideH>
          <a:insideV>
            <a:ln w="3175"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3175" cap="flat">
              <a:solidFill>
                <a:srgbClr val="5B5A5A"/>
              </a:solidFill>
              <a:prstDash val="solid"/>
              <a:miter lim="400000"/>
            </a:ln>
          </a:left>
          <a:right>
            <a:ln w="3175" cap="flat">
              <a:solidFill>
                <a:srgbClr val="5B5A5A"/>
              </a:solidFill>
              <a:prstDash val="solid"/>
              <a:miter lim="400000"/>
            </a:ln>
          </a:right>
          <a:top>
            <a:ln w="3175" cap="flat">
              <a:solidFill>
                <a:srgbClr val="5B5A5A"/>
              </a:solidFill>
              <a:prstDash val="solid"/>
              <a:miter lim="400000"/>
            </a:ln>
          </a:top>
          <a:bottom>
            <a:ln w="3175" cap="flat">
              <a:solidFill>
                <a:srgbClr val="5B5A5A"/>
              </a:solidFill>
              <a:prstDash val="solid"/>
              <a:miter lim="400000"/>
            </a:ln>
          </a:bottom>
          <a:insideH>
            <a:ln w="3175" cap="flat">
              <a:solidFill>
                <a:srgbClr val="5B5A5A"/>
              </a:solidFill>
              <a:prstDash val="solid"/>
              <a:miter lim="400000"/>
            </a:ln>
          </a:insideH>
          <a:insideV>
            <a:ln w="3175"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3175" cap="flat">
              <a:solidFill>
                <a:srgbClr val="5B5A5A"/>
              </a:solidFill>
              <a:prstDash val="solid"/>
              <a:miter lim="400000"/>
            </a:ln>
          </a:left>
          <a:right>
            <a:ln w="3175" cap="flat">
              <a:solidFill>
                <a:srgbClr val="5B5A5A"/>
              </a:solidFill>
              <a:prstDash val="solid"/>
              <a:miter lim="400000"/>
            </a:ln>
          </a:right>
          <a:top>
            <a:ln w="3175" cap="flat">
              <a:solidFill>
                <a:srgbClr val="5B5A5A"/>
              </a:solidFill>
              <a:prstDash val="solid"/>
              <a:miter lim="400000"/>
            </a:ln>
          </a:top>
          <a:bottom>
            <a:ln w="3175" cap="flat">
              <a:solidFill>
                <a:srgbClr val="5B5A5A"/>
              </a:solidFill>
              <a:prstDash val="solid"/>
              <a:miter lim="400000"/>
            </a:ln>
          </a:bottom>
          <a:insideH>
            <a:ln w="3175" cap="flat">
              <a:solidFill>
                <a:srgbClr val="5B5A5A"/>
              </a:solidFill>
              <a:prstDash val="solid"/>
              <a:miter lim="400000"/>
            </a:ln>
          </a:insideH>
          <a:insideV>
            <a:ln w="3175"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3175" cap="flat">
              <a:solidFill>
                <a:srgbClr val="5B5A5A"/>
              </a:solidFill>
              <a:prstDash val="solid"/>
              <a:miter lim="400000"/>
            </a:ln>
          </a:left>
          <a:right>
            <a:ln w="3175" cap="flat">
              <a:solidFill>
                <a:srgbClr val="5B5A5A"/>
              </a:solidFill>
              <a:prstDash val="solid"/>
              <a:miter lim="400000"/>
            </a:ln>
          </a:right>
          <a:top>
            <a:ln w="3175" cap="flat">
              <a:solidFill>
                <a:srgbClr val="F8BA00"/>
              </a:solidFill>
              <a:prstDash val="solid"/>
              <a:miter lim="400000"/>
            </a:ln>
          </a:top>
          <a:bottom>
            <a:ln w="3175" cap="flat">
              <a:solidFill>
                <a:srgbClr val="5B5A5A"/>
              </a:solidFill>
              <a:prstDash val="solid"/>
              <a:miter lim="400000"/>
            </a:ln>
          </a:bottom>
          <a:insideH>
            <a:ln w="3175" cap="flat">
              <a:solidFill>
                <a:srgbClr val="5B5A5A"/>
              </a:solidFill>
              <a:prstDash val="solid"/>
              <a:miter lim="400000"/>
            </a:ln>
          </a:insideH>
          <a:insideV>
            <a:ln w="3175"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3175" cap="flat">
              <a:solidFill>
                <a:srgbClr val="5B5A5A"/>
              </a:solidFill>
              <a:prstDash val="solid"/>
              <a:miter lim="400000"/>
            </a:ln>
          </a:left>
          <a:right>
            <a:ln w="3175" cap="flat">
              <a:solidFill>
                <a:srgbClr val="5B5A5A"/>
              </a:solidFill>
              <a:prstDash val="solid"/>
              <a:miter lim="400000"/>
            </a:ln>
          </a:right>
          <a:top>
            <a:ln w="3175" cap="flat">
              <a:solidFill>
                <a:srgbClr val="5B5A5A"/>
              </a:solidFill>
              <a:prstDash val="solid"/>
              <a:miter lim="400000"/>
            </a:ln>
          </a:top>
          <a:bottom>
            <a:ln w="3175" cap="flat">
              <a:solidFill>
                <a:srgbClr val="5B5A5A"/>
              </a:solidFill>
              <a:prstDash val="solid"/>
              <a:miter lim="400000"/>
            </a:ln>
          </a:bottom>
          <a:insideH>
            <a:ln w="3175" cap="flat">
              <a:solidFill>
                <a:srgbClr val="5B5A5A"/>
              </a:solidFill>
              <a:prstDash val="solid"/>
              <a:miter lim="400000"/>
            </a:ln>
          </a:insideH>
          <a:insideV>
            <a:ln w="3175"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3175" cap="flat">
              <a:solidFill>
                <a:srgbClr val="464646"/>
              </a:solidFill>
              <a:prstDash val="solid"/>
              <a:miter lim="400000"/>
            </a:ln>
          </a:left>
          <a:right>
            <a:ln w="3175" cap="flat">
              <a:solidFill>
                <a:srgbClr val="464646"/>
              </a:solidFill>
              <a:prstDash val="solid"/>
              <a:miter lim="400000"/>
            </a:ln>
          </a:right>
          <a:top>
            <a:ln w="3175" cap="flat">
              <a:solidFill>
                <a:srgbClr val="464646"/>
              </a:solidFill>
              <a:prstDash val="solid"/>
              <a:miter lim="400000"/>
            </a:ln>
          </a:top>
          <a:bottom>
            <a:ln w="3175" cap="flat">
              <a:solidFill>
                <a:srgbClr val="464646"/>
              </a:solidFill>
              <a:prstDash val="solid"/>
              <a:miter lim="400000"/>
            </a:ln>
          </a:bottom>
          <a:insideH>
            <a:ln w="3175" cap="flat">
              <a:solidFill>
                <a:srgbClr val="464646"/>
              </a:solidFill>
              <a:prstDash val="solid"/>
              <a:miter lim="400000"/>
            </a:ln>
          </a:insideH>
          <a:insideV>
            <a:ln w="3175"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3175" cap="flat">
              <a:solidFill>
                <a:srgbClr val="5E5E5E"/>
              </a:solidFill>
              <a:prstDash val="solid"/>
              <a:miter lim="400000"/>
            </a:ln>
          </a:left>
          <a:right>
            <a:ln w="3175" cap="flat">
              <a:solidFill>
                <a:srgbClr val="A6AAA9"/>
              </a:solidFill>
              <a:prstDash val="solid"/>
              <a:miter lim="400000"/>
            </a:ln>
          </a:right>
          <a:top>
            <a:ln w="3175" cap="flat">
              <a:solidFill>
                <a:srgbClr val="C3C3C3"/>
              </a:solidFill>
              <a:prstDash val="solid"/>
              <a:miter lim="400000"/>
            </a:ln>
          </a:top>
          <a:bottom>
            <a:ln w="3175" cap="flat">
              <a:solidFill>
                <a:srgbClr val="C3C3C3"/>
              </a:solidFill>
              <a:prstDash val="solid"/>
              <a:miter lim="400000"/>
            </a:ln>
          </a:bottom>
          <a:insideH>
            <a:ln w="3175" cap="flat">
              <a:solidFill>
                <a:srgbClr val="C3C3C3"/>
              </a:solidFill>
              <a:prstDash val="solid"/>
              <a:miter lim="400000"/>
            </a:ln>
          </a:insideH>
          <a:insideV>
            <a:ln w="3175"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3175" cap="flat">
              <a:solidFill>
                <a:srgbClr val="5E5E5E"/>
              </a:solidFill>
              <a:prstDash val="solid"/>
              <a:miter lim="400000"/>
            </a:ln>
          </a:left>
          <a:right>
            <a:ln w="3175" cap="flat">
              <a:solidFill>
                <a:srgbClr val="5E5E5E"/>
              </a:solidFill>
              <a:prstDash val="solid"/>
              <a:miter lim="400000"/>
            </a:ln>
          </a:right>
          <a:top>
            <a:ln w="3175" cap="flat">
              <a:solidFill>
                <a:srgbClr val="CB297B"/>
              </a:solidFill>
              <a:prstDash val="solid"/>
              <a:miter lim="400000"/>
            </a:ln>
          </a:top>
          <a:bottom>
            <a:ln w="3175" cap="flat">
              <a:solidFill>
                <a:srgbClr val="5E5E5E"/>
              </a:solidFill>
              <a:prstDash val="solid"/>
              <a:miter lim="400000"/>
            </a:ln>
          </a:bottom>
          <a:insideH>
            <a:ln w="3175" cap="flat">
              <a:solidFill>
                <a:srgbClr val="5E5E5E"/>
              </a:solidFill>
              <a:prstDash val="solid"/>
              <a:miter lim="400000"/>
            </a:ln>
          </a:insideH>
          <a:insideV>
            <a:ln w="3175"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3175" cap="flat">
              <a:solidFill>
                <a:srgbClr val="A6AAA9"/>
              </a:solidFill>
              <a:prstDash val="solid"/>
              <a:miter lim="400000"/>
            </a:ln>
          </a:left>
          <a:right>
            <a:ln w="3175" cap="flat">
              <a:solidFill>
                <a:srgbClr val="A6AAA9"/>
              </a:solidFill>
              <a:prstDash val="solid"/>
              <a:miter lim="400000"/>
            </a:ln>
          </a:right>
          <a:top>
            <a:ln w="3175" cap="flat">
              <a:solidFill>
                <a:srgbClr val="5E5E5E"/>
              </a:solidFill>
              <a:prstDash val="solid"/>
              <a:miter lim="400000"/>
            </a:ln>
          </a:top>
          <a:bottom>
            <a:ln w="3175" cap="flat">
              <a:solidFill>
                <a:srgbClr val="A6AAA9"/>
              </a:solidFill>
              <a:prstDash val="solid"/>
              <a:miter lim="400000"/>
            </a:ln>
          </a:bottom>
          <a:insideH>
            <a:ln w="3175" cap="flat">
              <a:solidFill>
                <a:srgbClr val="A6AAA9"/>
              </a:solidFill>
              <a:prstDash val="solid"/>
              <a:miter lim="400000"/>
            </a:ln>
          </a:insideH>
          <a:insideV>
            <a:ln w="3175"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3175" cap="flat">
              <a:solidFill>
                <a:srgbClr val="6C6C6C"/>
              </a:solidFill>
              <a:prstDash val="solid"/>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prstDash val="solid"/>
              <a:miter lim="400000"/>
            </a:ln>
          </a:insideV>
        </a:tcBdr>
        <a:fill>
          <a:noFill/>
        </a:fill>
      </a:tcStyle>
    </a:firstCol>
    <a:lastRow>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6C6C6C"/>
              </a:solidFill>
              <a:prstDash val="solid"/>
              <a:miter lim="400000"/>
            </a:ln>
          </a:bottom>
          <a:insideH>
            <a:ln w="3175" cap="flat">
              <a:solidFill>
                <a:srgbClr val="000000"/>
              </a:solidFill>
              <a:custDash>
                <a:ds d="200000" sp="200000"/>
              </a:custDash>
              <a:miter lim="400000"/>
            </a:ln>
          </a:insideH>
          <a:insideV>
            <a:ln w="3175" cap="flat">
              <a:solidFill>
                <a:srgbClr val="000000"/>
              </a:solidFill>
              <a:prstDash val="solid"/>
              <a:miter lim="400000"/>
            </a:ln>
          </a:insideV>
        </a:tcBdr>
        <a:fill>
          <a:noFill/>
        </a:fill>
      </a:tcStyle>
    </a:lastRow>
    <a:firstRow>
      <a:tcTxStyle b="on"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6C6C6C"/>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D6DCE0"/>
          </a:solidFill>
        </a:fill>
      </a:tcStyle>
    </a:firstRow>
  </a:tblStyle>
  <a:tblStyle styleId="{8F44A2F1-9E1F-4B54-A3A2-5F16C0AD49E2}" styleName="">
    <a:tblBg/>
    <a:wholeTbl>
      <a:tcTxStyle b="off" i="off">
        <a:font>
          <a:latin typeface="Poppins Regular"/>
          <a:ea typeface="Poppins Regular"/>
          <a:cs typeface="Poppins Regular"/>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ff" i="off">
        <a:font>
          <a:latin typeface="Poppins Medium"/>
          <a:ea typeface="Poppins Medium"/>
          <a:cs typeface="Poppins Medium"/>
        </a:font>
        <a:srgbClr val="000000"/>
      </a:tcTxStyle>
      <a:tcStyle>
        <a:tcBdr>
          <a:left>
            <a:ln w="3175"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000000">
              <a:alpha val="4452"/>
            </a:srgbClr>
          </a:solid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635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Poppins Medium"/>
          <a:ea typeface="Poppins Medium"/>
          <a:cs typeface="Poppins Medium"/>
        </a:font>
        <a:srgbClr val="FFFFFF"/>
      </a:tcTxStyle>
      <a:tcStyle>
        <a:tcBdr>
          <a:left>
            <a:ln w="12700" cap="flat">
              <a:noFill/>
              <a:miter lim="400000"/>
            </a:ln>
          </a:left>
          <a:right>
            <a:ln w="12700" cap="flat">
              <a:noFill/>
              <a:miter lim="400000"/>
            </a:ln>
          </a:right>
          <a:top>
            <a:ln w="3175"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noFill/>
              <a:miter lim="400000"/>
            </a:ln>
          </a:insideV>
        </a:tcBdr>
        <a:fill>
          <a:solidFill>
            <a:srgbClr val="000000"/>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89"/>
    <p:restoredTop sz="92109"/>
  </p:normalViewPr>
  <p:slideViewPr>
    <p:cSldViewPr snapToGrid="0" snapToObjects="1">
      <p:cViewPr>
        <p:scale>
          <a:sx n="66" d="100"/>
          <a:sy n="66" d="100"/>
        </p:scale>
        <p:origin x="2440" y="13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3" d="100"/>
          <a:sy n="83" d="100"/>
        </p:scale>
        <p:origin x="3992"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E508617E-CC37-0E41-BC9F-7568097E32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7BC26150-084C-6747-8D95-AB12B89D5C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403B721-7F9D-2645-80E0-0C0EE6F339BB}" type="datetimeFigureOut">
              <a:rPr lang="nl-NL" smtClean="0"/>
              <a:t>07-11-2024</a:t>
            </a:fld>
            <a:endParaRPr lang="nl-NL"/>
          </a:p>
        </p:txBody>
      </p:sp>
      <p:sp>
        <p:nvSpPr>
          <p:cNvPr id="4" name="Tijdelijke aanduiding voor voettekst 3">
            <a:extLst>
              <a:ext uri="{FF2B5EF4-FFF2-40B4-BE49-F238E27FC236}">
                <a16:creationId xmlns:a16="http://schemas.microsoft.com/office/drawing/2014/main" id="{34B874DC-EF81-AB46-BEC6-10395AB8D94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C97346FD-7F0E-F348-B255-76D3A12C42F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966DA53-263F-334B-8359-9A5CB3DDA2DD}" type="slidenum">
              <a:rPr lang="nl-NL" smtClean="0"/>
              <a:t>‹nr.›</a:t>
            </a:fld>
            <a:endParaRPr lang="nl-NL"/>
          </a:p>
        </p:txBody>
      </p:sp>
    </p:spTree>
    <p:extLst>
      <p:ext uri="{BB962C8B-B14F-4D97-AF65-F5344CB8AC3E}">
        <p14:creationId xmlns:p14="http://schemas.microsoft.com/office/powerpoint/2010/main" val="6688366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4" name="Shape 24"/>
          <p:cNvSpPr>
            <a:spLocks noGrp="1" noRot="1" noChangeAspect="1"/>
          </p:cNvSpPr>
          <p:nvPr>
            <p:ph type="sldImg"/>
          </p:nvPr>
        </p:nvSpPr>
        <p:spPr>
          <a:xfrm>
            <a:off x="1143000" y="685800"/>
            <a:ext cx="4572000" cy="3429000"/>
          </a:xfrm>
          <a:prstGeom prst="rect">
            <a:avLst/>
          </a:prstGeom>
        </p:spPr>
        <p:txBody>
          <a:bodyPr/>
          <a:lstStyle/>
          <a:p>
            <a:endParaRPr/>
          </a:p>
        </p:txBody>
      </p:sp>
      <p:sp>
        <p:nvSpPr>
          <p:cNvPr id="25" name="Shape 25"/>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hf sldNum="0" hdr="0" ftr="0" dt="0"/>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285875" y="685800"/>
            <a:ext cx="428625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8501709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6" name="Rechthoek">
            <a:extLst>
              <a:ext uri="{FF2B5EF4-FFF2-40B4-BE49-F238E27FC236}">
                <a16:creationId xmlns:a16="http://schemas.microsoft.com/office/drawing/2014/main" id="{4BC9CA52-652D-D34F-8EC1-687BF8E5F1FC}"/>
              </a:ext>
            </a:extLst>
          </p:cNvPr>
          <p:cNvSpPr/>
          <p:nvPr userDrawn="1"/>
        </p:nvSpPr>
        <p:spPr>
          <a:xfrm>
            <a:off x="-63501" y="-2029"/>
            <a:ext cx="8642460" cy="13718029"/>
          </a:xfrm>
          <a:prstGeom prst="rect">
            <a:avLst/>
          </a:prstGeom>
          <a:solidFill>
            <a:srgbClr val="FDF4E7"/>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dirty="0"/>
          </a:p>
        </p:txBody>
      </p:sp>
      <p:sp>
        <p:nvSpPr>
          <p:cNvPr id="11" name="Tijdelijke aanduiding voor afbeelding 10">
            <a:extLst>
              <a:ext uri="{FF2B5EF4-FFF2-40B4-BE49-F238E27FC236}">
                <a16:creationId xmlns:a16="http://schemas.microsoft.com/office/drawing/2014/main" id="{2F955571-C960-514F-A17E-EEC0E765CB30}"/>
              </a:ext>
            </a:extLst>
          </p:cNvPr>
          <p:cNvSpPr>
            <a:spLocks noGrp="1"/>
          </p:cNvSpPr>
          <p:nvPr>
            <p:ph type="pic" sz="quarter" idx="10"/>
          </p:nvPr>
        </p:nvSpPr>
        <p:spPr>
          <a:xfrm>
            <a:off x="10264621" y="3194670"/>
            <a:ext cx="5111750" cy="2192338"/>
          </a:xfrm>
          <a:prstGeom prst="rect">
            <a:avLst/>
          </a:prstGeom>
        </p:spPr>
        <p:txBody>
          <a:bodyPr/>
          <a:lstStyle/>
          <a:p>
            <a:endParaRPr lang="nl-NL" dirty="0"/>
          </a:p>
        </p:txBody>
      </p:sp>
      <p:sp>
        <p:nvSpPr>
          <p:cNvPr id="12" name="Tijdelijke aanduiding voor tekst 13">
            <a:extLst>
              <a:ext uri="{FF2B5EF4-FFF2-40B4-BE49-F238E27FC236}">
                <a16:creationId xmlns:a16="http://schemas.microsoft.com/office/drawing/2014/main" id="{360CF1ED-794E-EF4E-BB1C-D026EA932682}"/>
              </a:ext>
            </a:extLst>
          </p:cNvPr>
          <p:cNvSpPr>
            <a:spLocks noGrp="1"/>
          </p:cNvSpPr>
          <p:nvPr>
            <p:ph type="body" sz="quarter" idx="11" hasCustomPrompt="1"/>
          </p:nvPr>
        </p:nvSpPr>
        <p:spPr>
          <a:xfrm>
            <a:off x="921600" y="4095925"/>
            <a:ext cx="6928192" cy="1291083"/>
          </a:xfrm>
          <a:prstGeom prst="rect">
            <a:avLst/>
          </a:prstGeom>
        </p:spPr>
        <p:txBody>
          <a:bodyPr>
            <a:noAutofit/>
          </a:bodyPr>
          <a:lstStyle>
            <a:lvl1pPr marL="0" indent="0">
              <a:lnSpc>
                <a:spcPct val="100000"/>
              </a:lnSpc>
              <a:buNone/>
              <a:defRPr sz="8000" b="1" i="0">
                <a:latin typeface="Bebas Neue Bold" panose="020B0606020202050201" pitchFamily="34" charset="77"/>
              </a:defRPr>
            </a:lvl1pPr>
          </a:lstStyle>
          <a:p>
            <a:pPr lvl="0"/>
            <a:r>
              <a:rPr lang="nl-NL" dirty="0"/>
              <a:t>Projectnaam</a:t>
            </a:r>
          </a:p>
        </p:txBody>
      </p:sp>
      <p:sp>
        <p:nvSpPr>
          <p:cNvPr id="13" name="Tijdelijke aanduiding voor tekst 15">
            <a:extLst>
              <a:ext uri="{FF2B5EF4-FFF2-40B4-BE49-F238E27FC236}">
                <a16:creationId xmlns:a16="http://schemas.microsoft.com/office/drawing/2014/main" id="{3F158C63-AA26-6F49-8230-4D81612097E6}"/>
              </a:ext>
            </a:extLst>
          </p:cNvPr>
          <p:cNvSpPr>
            <a:spLocks noGrp="1"/>
          </p:cNvSpPr>
          <p:nvPr>
            <p:ph type="body" sz="quarter" idx="12" hasCustomPrompt="1"/>
          </p:nvPr>
        </p:nvSpPr>
        <p:spPr>
          <a:xfrm>
            <a:off x="920408" y="5934636"/>
            <a:ext cx="6928192" cy="3785834"/>
          </a:xfrm>
          <a:prstGeom prst="rect">
            <a:avLst/>
          </a:prstGeom>
        </p:spPr>
        <p:txBody>
          <a:bodyPr>
            <a:noAutofit/>
          </a:bodyPr>
          <a:lstStyle>
            <a:lvl1pPr marL="0" indent="0">
              <a:lnSpc>
                <a:spcPct val="100000"/>
              </a:lnSpc>
              <a:buNone/>
              <a:defRPr sz="4000" b="0" i="0">
                <a:latin typeface="Poppins" pitchFamily="2" charset="77"/>
                <a:cs typeface="Poppins" pitchFamily="2" charset="77"/>
              </a:defRPr>
            </a:lvl1pPr>
          </a:lstStyle>
          <a:p>
            <a:r>
              <a:rPr lang="nl-NL" dirty="0"/>
              <a:t>Regel voor een ondertitel of korte beschrijving</a:t>
            </a:r>
          </a:p>
        </p:txBody>
      </p:sp>
      <p:sp>
        <p:nvSpPr>
          <p:cNvPr id="14" name="Tijdelijke aanduiding voor inhoud 17">
            <a:extLst>
              <a:ext uri="{FF2B5EF4-FFF2-40B4-BE49-F238E27FC236}">
                <a16:creationId xmlns:a16="http://schemas.microsoft.com/office/drawing/2014/main" id="{BDA3F595-AA7D-BD46-BDD4-E419AB0EAE72}"/>
              </a:ext>
            </a:extLst>
          </p:cNvPr>
          <p:cNvSpPr>
            <a:spLocks noGrp="1"/>
          </p:cNvSpPr>
          <p:nvPr>
            <p:ph sz="quarter" idx="13" hasCustomPrompt="1"/>
          </p:nvPr>
        </p:nvSpPr>
        <p:spPr>
          <a:xfrm>
            <a:off x="920408" y="12300285"/>
            <a:ext cx="6928192" cy="631825"/>
          </a:xfrm>
          <a:prstGeom prst="rect">
            <a:avLst/>
          </a:prstGeom>
        </p:spPr>
        <p:txBody>
          <a:bodyPr anchor="ctr">
            <a:noAutofit/>
          </a:bodyPr>
          <a:lstStyle>
            <a:lvl1pPr marL="0" indent="0">
              <a:lnSpc>
                <a:spcPct val="100000"/>
              </a:lnSpc>
              <a:buNone/>
              <a:defRPr sz="2400" b="0" i="0">
                <a:latin typeface="Poppins" pitchFamily="2" charset="77"/>
                <a:cs typeface="Poppins" pitchFamily="2" charset="77"/>
              </a:defRPr>
            </a:lvl1pPr>
          </a:lstStyle>
          <a:p>
            <a:r>
              <a:rPr lang="nl-NL" dirty="0"/>
              <a:t>00 maand 0000 | Plaatsnaam</a:t>
            </a:r>
          </a:p>
        </p:txBody>
      </p:sp>
      <p:sp>
        <p:nvSpPr>
          <p:cNvPr id="17" name="Tijdelijke aanduiding voor afbeelding 10">
            <a:extLst>
              <a:ext uri="{FF2B5EF4-FFF2-40B4-BE49-F238E27FC236}">
                <a16:creationId xmlns:a16="http://schemas.microsoft.com/office/drawing/2014/main" id="{8E719047-4524-3648-9B3D-B79E4CD2857F}"/>
              </a:ext>
            </a:extLst>
          </p:cNvPr>
          <p:cNvSpPr>
            <a:spLocks noGrp="1"/>
          </p:cNvSpPr>
          <p:nvPr>
            <p:ph type="pic" sz="quarter" idx="14"/>
          </p:nvPr>
        </p:nvSpPr>
        <p:spPr>
          <a:xfrm>
            <a:off x="10264621" y="7434853"/>
            <a:ext cx="5111750" cy="2192338"/>
          </a:xfrm>
          <a:prstGeom prst="rect">
            <a:avLst/>
          </a:prstGeom>
        </p:spPr>
        <p:txBody>
          <a:bodyPr/>
          <a:lstStyle/>
          <a:p>
            <a:endParaRPr lang="nl-NL" dirty="0"/>
          </a:p>
        </p:txBody>
      </p:sp>
      <p:sp>
        <p:nvSpPr>
          <p:cNvPr id="18" name="Rechthoek">
            <a:extLst>
              <a:ext uri="{FF2B5EF4-FFF2-40B4-BE49-F238E27FC236}">
                <a16:creationId xmlns:a16="http://schemas.microsoft.com/office/drawing/2014/main" id="{44ABFE79-D4FB-3B48-A62E-9D854DF339BB}"/>
              </a:ext>
            </a:extLst>
          </p:cNvPr>
          <p:cNvSpPr/>
          <p:nvPr userDrawn="1"/>
        </p:nvSpPr>
        <p:spPr>
          <a:xfrm>
            <a:off x="8578959" y="11994350"/>
            <a:ext cx="8566042" cy="1721649"/>
          </a:xfrm>
          <a:prstGeom prst="rect">
            <a:avLst/>
          </a:prstGeom>
          <a:solidFill>
            <a:schemeClr val="tx1"/>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3480411685"/>
      </p:ext>
    </p:extLst>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pagina - geel">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6419C3BA-BDF0-7E47-A19B-8434324C2251}"/>
              </a:ext>
            </a:extLst>
          </p:cNvPr>
          <p:cNvSpPr/>
          <p:nvPr userDrawn="1"/>
        </p:nvSpPr>
        <p:spPr>
          <a:xfrm>
            <a:off x="13064549" y="0"/>
            <a:ext cx="4093635" cy="13747036"/>
          </a:xfrm>
          <a:prstGeom prst="rect">
            <a:avLst/>
          </a:prstGeom>
          <a:solidFill>
            <a:srgbClr val="F5A93F"/>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2" name="Tijdelijke aanduiding voor tekst 9">
            <a:extLst>
              <a:ext uri="{FF2B5EF4-FFF2-40B4-BE49-F238E27FC236}">
                <a16:creationId xmlns:a16="http://schemas.microsoft.com/office/drawing/2014/main" id="{B1AA9299-C161-BB48-BED9-676CF6CADA7B}"/>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tx1"/>
                </a:solidFill>
                <a:latin typeface="Bebas Neue Bold" panose="020B0606020202050201" pitchFamily="34" charset="77"/>
              </a:defRPr>
            </a:lvl1pPr>
          </a:lstStyle>
          <a:p>
            <a:pPr lvl="0"/>
            <a:r>
              <a:rPr lang="nl-NL" dirty="0"/>
              <a:t>Titelpagina</a:t>
            </a:r>
          </a:p>
        </p:txBody>
      </p:sp>
      <p:sp>
        <p:nvSpPr>
          <p:cNvPr id="15" name="Tijdelijke aanduiding voor tekst 9">
            <a:extLst>
              <a:ext uri="{FF2B5EF4-FFF2-40B4-BE49-F238E27FC236}">
                <a16:creationId xmlns:a16="http://schemas.microsoft.com/office/drawing/2014/main" id="{B3436467-E455-864B-A1CC-265C0564CB77}"/>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tx1"/>
                </a:solidFill>
                <a:latin typeface="Bebas Neue Bold" panose="020B0606020202050201" pitchFamily="34" charset="77"/>
              </a:defRPr>
            </a:lvl1pPr>
          </a:lstStyle>
          <a:p>
            <a:pPr lvl="0"/>
            <a:r>
              <a:rPr lang="nl-NL" dirty="0"/>
              <a:t>01</a:t>
            </a:r>
          </a:p>
        </p:txBody>
      </p:sp>
    </p:spTree>
    <p:extLst>
      <p:ext uri="{BB962C8B-B14F-4D97-AF65-F5344CB8AC3E}">
        <p14:creationId xmlns:p14="http://schemas.microsoft.com/office/powerpoint/2010/main" val="2152981632"/>
      </p:ext>
    </p:extLst>
  </p:cSld>
  <p:clrMapOvr>
    <a:overrideClrMapping bg1="dk1" tx1="lt1" bg2="dk2" tx2="lt2" accent1="accent1" accent2="accent2" accent3="accent3" accent4="accent4" accent5="accent5" accent6="accent6" hlink="hlink" folHlink="folHlink"/>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pagina - roze">
    <p:bg>
      <p:bgPr>
        <a:solidFill>
          <a:schemeClr val="tx1"/>
        </a:solidFill>
        <a:effectLst/>
      </p:bgPr>
    </p:bg>
    <p:spTree>
      <p:nvGrpSpPr>
        <p:cNvPr id="1" name=""/>
        <p:cNvGrpSpPr/>
        <p:nvPr/>
      </p:nvGrpSpPr>
      <p:grpSpPr>
        <a:xfrm>
          <a:off x="0" y="0"/>
          <a:ext cx="0" cy="0"/>
          <a:chOff x="0" y="0"/>
          <a:chExt cx="0" cy="0"/>
        </a:xfrm>
      </p:grpSpPr>
      <p:sp>
        <p:nvSpPr>
          <p:cNvPr id="7" name="Rechthoek">
            <a:extLst>
              <a:ext uri="{FF2B5EF4-FFF2-40B4-BE49-F238E27FC236}">
                <a16:creationId xmlns:a16="http://schemas.microsoft.com/office/drawing/2014/main" id="{ECE6105E-DBEA-7645-9F2A-570CE4658406}"/>
              </a:ext>
            </a:extLst>
          </p:cNvPr>
          <p:cNvSpPr/>
          <p:nvPr userDrawn="1"/>
        </p:nvSpPr>
        <p:spPr>
          <a:xfrm>
            <a:off x="13064549" y="0"/>
            <a:ext cx="4093635" cy="13747036"/>
          </a:xfrm>
          <a:prstGeom prst="rect">
            <a:avLst/>
          </a:prstGeom>
          <a:solidFill>
            <a:srgbClr val="F2A4B1"/>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B71E23AD-ED24-E443-A859-AD005CDC5DA9}"/>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9" name="Tijdelijke aanduiding voor tekst 9">
            <a:extLst>
              <a:ext uri="{FF2B5EF4-FFF2-40B4-BE49-F238E27FC236}">
                <a16:creationId xmlns:a16="http://schemas.microsoft.com/office/drawing/2014/main" id="{F686E66A-5BD5-E840-A99E-3B132DAA95A6}"/>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2080589948"/>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pagina - oudroze">
    <p:bg>
      <p:bgPr>
        <a:solidFill>
          <a:schemeClr val="tx1"/>
        </a:solidFill>
        <a:effectLst/>
      </p:bgPr>
    </p:bg>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C08E3D91-6464-B84F-B04E-685252495180}"/>
              </a:ext>
            </a:extLst>
          </p:cNvPr>
          <p:cNvSpPr/>
          <p:nvPr userDrawn="1"/>
        </p:nvSpPr>
        <p:spPr>
          <a:xfrm>
            <a:off x="13064549" y="0"/>
            <a:ext cx="4093635" cy="13747036"/>
          </a:xfrm>
          <a:prstGeom prst="rect">
            <a:avLst/>
          </a:prstGeom>
          <a:solidFill>
            <a:srgbClr val="CD5D74"/>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4B936322-A55C-E84B-ADBE-4402B57DEA09}"/>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10" name="Tijdelijke aanduiding voor tekst 9">
            <a:extLst>
              <a:ext uri="{FF2B5EF4-FFF2-40B4-BE49-F238E27FC236}">
                <a16:creationId xmlns:a16="http://schemas.microsoft.com/office/drawing/2014/main" id="{22692A99-D90B-184C-B5AA-B61DC5492EE1}"/>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176806973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pagina - blauw">
    <p:bg>
      <p:bgPr>
        <a:solidFill>
          <a:schemeClr val="tx1"/>
        </a:solidFill>
        <a:effectLst/>
      </p:bgPr>
    </p:bg>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D2A02B69-E20E-3246-AA9A-9DE64852ACFF}"/>
              </a:ext>
            </a:extLst>
          </p:cNvPr>
          <p:cNvSpPr/>
          <p:nvPr userDrawn="1"/>
        </p:nvSpPr>
        <p:spPr>
          <a:xfrm>
            <a:off x="13064549" y="0"/>
            <a:ext cx="4093635" cy="13747036"/>
          </a:xfrm>
          <a:prstGeom prst="rect">
            <a:avLst/>
          </a:prstGeom>
          <a:solidFill>
            <a:srgbClr val="5692C2"/>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EE2E7B1B-5A93-6F4B-BE3E-D48D070D289F}"/>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7" name="Tijdelijke aanduiding voor tekst 9">
            <a:extLst>
              <a:ext uri="{FF2B5EF4-FFF2-40B4-BE49-F238E27FC236}">
                <a16:creationId xmlns:a16="http://schemas.microsoft.com/office/drawing/2014/main" id="{C1AAE2F2-E02C-424C-BFDD-B71AAFF1E451}"/>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375523161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pagina - groen">
    <p:bg>
      <p:bgPr>
        <a:solidFill>
          <a:schemeClr val="tx1"/>
        </a:solidFill>
        <a:effectLst/>
      </p:bgPr>
    </p:bg>
    <p:spTree>
      <p:nvGrpSpPr>
        <p:cNvPr id="1" name=""/>
        <p:cNvGrpSpPr/>
        <p:nvPr/>
      </p:nvGrpSpPr>
      <p:grpSpPr>
        <a:xfrm>
          <a:off x="0" y="0"/>
          <a:ext cx="0" cy="0"/>
          <a:chOff x="0" y="0"/>
          <a:chExt cx="0" cy="0"/>
        </a:xfrm>
      </p:grpSpPr>
      <p:sp>
        <p:nvSpPr>
          <p:cNvPr id="7" name="Rechthoek">
            <a:extLst>
              <a:ext uri="{FF2B5EF4-FFF2-40B4-BE49-F238E27FC236}">
                <a16:creationId xmlns:a16="http://schemas.microsoft.com/office/drawing/2014/main" id="{F57EC3E9-4A93-AE44-BCF5-CA7622729AE4}"/>
              </a:ext>
            </a:extLst>
          </p:cNvPr>
          <p:cNvSpPr/>
          <p:nvPr userDrawn="1"/>
        </p:nvSpPr>
        <p:spPr>
          <a:xfrm>
            <a:off x="13064549" y="0"/>
            <a:ext cx="4093635" cy="13747036"/>
          </a:xfrm>
          <a:prstGeom prst="rect">
            <a:avLst/>
          </a:prstGeom>
          <a:solidFill>
            <a:srgbClr val="B5D7AE"/>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A226A5D6-B154-EC4D-8535-183AD9761D9D}"/>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6" name="Tijdelijke aanduiding voor tekst 9">
            <a:extLst>
              <a:ext uri="{FF2B5EF4-FFF2-40B4-BE49-F238E27FC236}">
                <a16:creationId xmlns:a16="http://schemas.microsoft.com/office/drawing/2014/main" id="{123797A9-BBED-D74B-ABA3-56171B9102C1}"/>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256738109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pagina - nude">
    <p:bg>
      <p:bgPr>
        <a:solidFill>
          <a:schemeClr val="tx1"/>
        </a:solidFill>
        <a:effectLst/>
      </p:bgPr>
    </p:bg>
    <p:spTree>
      <p:nvGrpSpPr>
        <p:cNvPr id="1" name=""/>
        <p:cNvGrpSpPr/>
        <p:nvPr/>
      </p:nvGrpSpPr>
      <p:grpSpPr>
        <a:xfrm>
          <a:off x="0" y="0"/>
          <a:ext cx="0" cy="0"/>
          <a:chOff x="0" y="0"/>
          <a:chExt cx="0" cy="0"/>
        </a:xfrm>
      </p:grpSpPr>
      <p:sp>
        <p:nvSpPr>
          <p:cNvPr id="7" name="Rechthoek">
            <a:extLst>
              <a:ext uri="{FF2B5EF4-FFF2-40B4-BE49-F238E27FC236}">
                <a16:creationId xmlns:a16="http://schemas.microsoft.com/office/drawing/2014/main" id="{3D741952-299A-CC41-B1D1-AD38C1127EAD}"/>
              </a:ext>
            </a:extLst>
          </p:cNvPr>
          <p:cNvSpPr/>
          <p:nvPr userDrawn="1"/>
        </p:nvSpPr>
        <p:spPr>
          <a:xfrm>
            <a:off x="13064549" y="0"/>
            <a:ext cx="4093635" cy="13747036"/>
          </a:xfrm>
          <a:prstGeom prst="rect">
            <a:avLst/>
          </a:prstGeom>
          <a:solidFill>
            <a:srgbClr val="FDF4E7"/>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3CBFA490-707C-654C-814F-5D92199B346D}"/>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6" name="Tijdelijke aanduiding voor tekst 9">
            <a:extLst>
              <a:ext uri="{FF2B5EF4-FFF2-40B4-BE49-F238E27FC236}">
                <a16:creationId xmlns:a16="http://schemas.microsoft.com/office/drawing/2014/main" id="{4261AF2B-8864-A94B-8BFA-7EBFE2EBAF11}"/>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362583178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pagina - lichtblauw">
    <p:bg>
      <p:bgPr>
        <a:solidFill>
          <a:schemeClr val="tx1"/>
        </a:solidFill>
        <a:effectLst/>
      </p:bgPr>
    </p:bg>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4F7BE87C-7EC4-D546-80C6-E57D7E6F4CCB}"/>
              </a:ext>
            </a:extLst>
          </p:cNvPr>
          <p:cNvSpPr/>
          <p:nvPr userDrawn="1"/>
        </p:nvSpPr>
        <p:spPr>
          <a:xfrm>
            <a:off x="13064549" y="0"/>
            <a:ext cx="4093635" cy="13747036"/>
          </a:xfrm>
          <a:prstGeom prst="rect">
            <a:avLst/>
          </a:prstGeom>
          <a:solidFill>
            <a:srgbClr val="C4DAF4"/>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8" name="Tijdelijke aanduiding voor tekst 9">
            <a:extLst>
              <a:ext uri="{FF2B5EF4-FFF2-40B4-BE49-F238E27FC236}">
                <a16:creationId xmlns:a16="http://schemas.microsoft.com/office/drawing/2014/main" id="{B1023EC4-6EB7-0246-9C74-2AC668A167A3}"/>
              </a:ext>
            </a:extLst>
          </p:cNvPr>
          <p:cNvSpPr>
            <a:spLocks noGrp="1"/>
          </p:cNvSpPr>
          <p:nvPr>
            <p:ph type="body" sz="quarter" idx="13" hasCustomPrompt="1"/>
          </p:nvPr>
        </p:nvSpPr>
        <p:spPr>
          <a:xfrm>
            <a:off x="14177915" y="5482590"/>
            <a:ext cx="2187500" cy="2227504"/>
          </a:xfrm>
          <a:prstGeom prst="rect">
            <a:avLst/>
          </a:prstGeom>
        </p:spPr>
        <p:txBody>
          <a:bodyPr>
            <a:noAutofit/>
          </a:bodyPr>
          <a:lstStyle>
            <a:lvl1pPr marL="0" indent="0">
              <a:buNone/>
              <a:defRPr sz="17800" b="1" i="0">
                <a:solidFill>
                  <a:schemeClr val="bg1"/>
                </a:solidFill>
                <a:latin typeface="Bebas Neue Bold" panose="020B0606020202050201" pitchFamily="34" charset="77"/>
              </a:defRPr>
            </a:lvl1pPr>
          </a:lstStyle>
          <a:p>
            <a:pPr lvl="0"/>
            <a:r>
              <a:rPr lang="nl-NL" dirty="0"/>
              <a:t>01</a:t>
            </a:r>
          </a:p>
        </p:txBody>
      </p:sp>
      <p:sp>
        <p:nvSpPr>
          <p:cNvPr id="6" name="Tijdelijke aanduiding voor tekst 9">
            <a:extLst>
              <a:ext uri="{FF2B5EF4-FFF2-40B4-BE49-F238E27FC236}">
                <a16:creationId xmlns:a16="http://schemas.microsoft.com/office/drawing/2014/main" id="{D78F3D7D-F829-6C47-AE7C-99D6EF08158D}"/>
              </a:ext>
            </a:extLst>
          </p:cNvPr>
          <p:cNvSpPr>
            <a:spLocks noGrp="1"/>
          </p:cNvSpPr>
          <p:nvPr>
            <p:ph type="body" sz="quarter" idx="10" hasCustomPrompt="1"/>
          </p:nvPr>
        </p:nvSpPr>
        <p:spPr>
          <a:xfrm>
            <a:off x="779585" y="6024959"/>
            <a:ext cx="9964738" cy="1142766"/>
          </a:xfrm>
          <a:prstGeom prst="rect">
            <a:avLst/>
          </a:prstGeom>
        </p:spPr>
        <p:txBody>
          <a:bodyPr>
            <a:noAutofit/>
          </a:bodyPr>
          <a:lstStyle>
            <a:lvl1pPr marL="0" indent="0">
              <a:buNone/>
              <a:defRPr sz="8000" b="1" i="0">
                <a:solidFill>
                  <a:schemeClr val="bg1"/>
                </a:solidFill>
                <a:latin typeface="Bebas Neue Bold" panose="020B0606020202050201" pitchFamily="34" charset="77"/>
              </a:defRPr>
            </a:lvl1pPr>
          </a:lstStyle>
          <a:p>
            <a:pPr lvl="0"/>
            <a:r>
              <a:rPr lang="nl-NL" dirty="0"/>
              <a:t>Titelpagina</a:t>
            </a:r>
          </a:p>
        </p:txBody>
      </p:sp>
    </p:spTree>
    <p:extLst>
      <p:ext uri="{BB962C8B-B14F-4D97-AF65-F5344CB8AC3E}">
        <p14:creationId xmlns:p14="http://schemas.microsoft.com/office/powerpoint/2010/main" val="55697522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fsluiting EHdK">
    <p:bg>
      <p:bgPr>
        <a:solidFill>
          <a:schemeClr val="tx1"/>
        </a:solidFill>
        <a:effectLst/>
      </p:bgPr>
    </p:bg>
    <p:spTree>
      <p:nvGrpSpPr>
        <p:cNvPr id="1" name=""/>
        <p:cNvGrpSpPr/>
        <p:nvPr/>
      </p:nvGrpSpPr>
      <p:grpSpPr>
        <a:xfrm>
          <a:off x="0" y="0"/>
          <a:ext cx="0" cy="0"/>
          <a:chOff x="0" y="0"/>
          <a:chExt cx="0" cy="0"/>
        </a:xfrm>
      </p:grpSpPr>
      <p:pic>
        <p:nvPicPr>
          <p:cNvPr id="4" name="logo_wit.png" descr="logo_wit.png">
            <a:extLst>
              <a:ext uri="{FF2B5EF4-FFF2-40B4-BE49-F238E27FC236}">
                <a16:creationId xmlns:a16="http://schemas.microsoft.com/office/drawing/2014/main" id="{7C40A28C-5B5F-C84B-A3C6-A4EEF9F16568}"/>
              </a:ext>
            </a:extLst>
          </p:cNvPr>
          <p:cNvPicPr>
            <a:picLocks noChangeAspect="1"/>
          </p:cNvPicPr>
          <p:nvPr userDrawn="1"/>
        </p:nvPicPr>
        <p:blipFill>
          <a:blip r:embed="rId2"/>
          <a:stretch>
            <a:fillRect/>
          </a:stretch>
        </p:blipFill>
        <p:spPr>
          <a:xfrm>
            <a:off x="6311726" y="5453307"/>
            <a:ext cx="4521548" cy="1767986"/>
          </a:xfrm>
          <a:prstGeom prst="rect">
            <a:avLst/>
          </a:prstGeom>
          <a:ln w="3175">
            <a:miter lim="400000"/>
          </a:ln>
        </p:spPr>
      </p:pic>
      <p:sp>
        <p:nvSpPr>
          <p:cNvPr id="5" name="EHdK BV | www.EHdK.nl…">
            <a:extLst>
              <a:ext uri="{FF2B5EF4-FFF2-40B4-BE49-F238E27FC236}">
                <a16:creationId xmlns:a16="http://schemas.microsoft.com/office/drawing/2014/main" id="{F22E9D79-21C8-CF4F-8FC5-CD165764E3A7}"/>
              </a:ext>
            </a:extLst>
          </p:cNvPr>
          <p:cNvSpPr txBox="1"/>
          <p:nvPr userDrawn="1"/>
        </p:nvSpPr>
        <p:spPr>
          <a:xfrm>
            <a:off x="4611641" y="8643372"/>
            <a:ext cx="7921717" cy="978727"/>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2859" tIns="22859" rIns="22859" bIns="22859" anchor="ctr">
            <a:spAutoFit/>
          </a:bodyPr>
          <a:lstStyle/>
          <a:p>
            <a:pPr algn="ctr" defTabSz="449580">
              <a:lnSpc>
                <a:spcPct val="130000"/>
              </a:lnSpc>
              <a:spcBef>
                <a:spcPts val="0"/>
              </a:spcBef>
              <a:tabLst>
                <a:tab pos="2870200" algn="ctr"/>
                <a:tab pos="5740400" algn="r"/>
              </a:tabLst>
              <a:defRPr sz="2400">
                <a:solidFill>
                  <a:srgbClr val="FFFFFF"/>
                </a:solidFill>
                <a:uFill>
                  <a:solidFill>
                    <a:srgbClr val="282828"/>
                  </a:solidFill>
                </a:uFill>
                <a:latin typeface="Poppins Medium"/>
                <a:ea typeface="Poppins Medium"/>
                <a:cs typeface="Poppins Medium"/>
                <a:sym typeface="Poppins Medium"/>
              </a:defRPr>
            </a:pPr>
            <a:r>
              <a:rPr lang="nl-NL" noProof="0" dirty="0"/>
              <a:t>EHdK | www.ehdk.nl</a:t>
            </a:r>
          </a:p>
          <a:p>
            <a:pPr algn="ctr" defTabSz="449580">
              <a:lnSpc>
                <a:spcPct val="130000"/>
              </a:lnSpc>
              <a:spcBef>
                <a:spcPts val="0"/>
              </a:spcBef>
              <a:tabLst>
                <a:tab pos="2870200" algn="ctr"/>
                <a:tab pos="5740400" algn="r"/>
              </a:tabLst>
              <a:defRPr sz="2400">
                <a:solidFill>
                  <a:srgbClr val="FFFFFF"/>
                </a:solidFill>
                <a:uFill>
                  <a:solidFill>
                    <a:srgbClr val="282828"/>
                  </a:solidFill>
                </a:uFill>
                <a:latin typeface="Poppins Medium"/>
                <a:ea typeface="Poppins Medium"/>
                <a:cs typeface="Poppins Medium"/>
                <a:sym typeface="Poppins Medium"/>
              </a:defRPr>
            </a:pPr>
            <a:r>
              <a:rPr lang="nl-NL" noProof="0" dirty="0"/>
              <a:t>Tweede Kostverlorenkade 62  | 1053 SB Amsterdam</a:t>
            </a:r>
          </a:p>
        </p:txBody>
      </p:sp>
    </p:spTree>
    <p:extLst>
      <p:ext uri="{BB962C8B-B14F-4D97-AF65-F5344CB8AC3E}">
        <p14:creationId xmlns:p14="http://schemas.microsoft.com/office/powerpoint/2010/main" val="260987170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18" name="Rechthoek">
            <a:extLst>
              <a:ext uri="{FF2B5EF4-FFF2-40B4-BE49-F238E27FC236}">
                <a16:creationId xmlns:a16="http://schemas.microsoft.com/office/drawing/2014/main" id="{069BCB9B-B044-2743-92F2-FADDD70ABE08}"/>
              </a:ext>
            </a:extLst>
          </p:cNvPr>
          <p:cNvSpPr/>
          <p:nvPr userDrawn="1"/>
        </p:nvSpPr>
        <p:spPr>
          <a:xfrm>
            <a:off x="0" y="0"/>
            <a:ext cx="6160235" cy="13718028"/>
          </a:xfrm>
          <a:prstGeom prst="rect">
            <a:avLst/>
          </a:prstGeom>
          <a:solidFill>
            <a:srgbClr val="000000"/>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dirty="0"/>
          </a:p>
        </p:txBody>
      </p:sp>
      <p:sp>
        <p:nvSpPr>
          <p:cNvPr id="32" name="Tijdelijke aanduiding voor tekst 13">
            <a:extLst>
              <a:ext uri="{FF2B5EF4-FFF2-40B4-BE49-F238E27FC236}">
                <a16:creationId xmlns:a16="http://schemas.microsoft.com/office/drawing/2014/main" id="{C457E2FB-14D2-7E46-BA94-E146EA4C3FDC}"/>
              </a:ext>
            </a:extLst>
          </p:cNvPr>
          <p:cNvSpPr>
            <a:spLocks noGrp="1"/>
          </p:cNvSpPr>
          <p:nvPr>
            <p:ph type="body" sz="quarter" idx="11" hasCustomPrompt="1"/>
          </p:nvPr>
        </p:nvSpPr>
        <p:spPr>
          <a:xfrm>
            <a:off x="691613" y="6368269"/>
            <a:ext cx="4777007" cy="1230922"/>
          </a:xfrm>
          <a:prstGeom prst="rect">
            <a:avLst/>
          </a:prstGeom>
        </p:spPr>
        <p:txBody>
          <a:bodyPr>
            <a:noAutofit/>
          </a:bodyPr>
          <a:lstStyle>
            <a:lvl1pPr marL="0" indent="0">
              <a:lnSpc>
                <a:spcPct val="100000"/>
              </a:lnSpc>
              <a:buNone/>
              <a:defRPr sz="8000" b="1" i="0">
                <a:solidFill>
                  <a:schemeClr val="bg1"/>
                </a:solidFill>
                <a:latin typeface="Bebas Neue Bold" panose="020B0606020202050201" pitchFamily="34" charset="77"/>
              </a:defRPr>
            </a:lvl1pPr>
          </a:lstStyle>
          <a:p>
            <a:pPr lvl="0"/>
            <a:r>
              <a:rPr lang="nl-NL" noProof="0" dirty="0" err="1"/>
              <a:t>INHOuD</a:t>
            </a:r>
            <a:endParaRPr lang="nl-NL" noProof="0" dirty="0"/>
          </a:p>
        </p:txBody>
      </p:sp>
      <p:sp>
        <p:nvSpPr>
          <p:cNvPr id="5" name="Tijdelijke aanduiding voor tekst 26">
            <a:extLst>
              <a:ext uri="{FF2B5EF4-FFF2-40B4-BE49-F238E27FC236}">
                <a16:creationId xmlns:a16="http://schemas.microsoft.com/office/drawing/2014/main" id="{CEC0837F-832A-7246-B5F6-39154DF0EF0D}"/>
              </a:ext>
            </a:extLst>
          </p:cNvPr>
          <p:cNvSpPr>
            <a:spLocks noGrp="1"/>
          </p:cNvSpPr>
          <p:nvPr>
            <p:ph type="body" sz="quarter" idx="15"/>
          </p:nvPr>
        </p:nvSpPr>
        <p:spPr>
          <a:xfrm>
            <a:off x="6851847" y="978136"/>
            <a:ext cx="9601539" cy="12011187"/>
          </a:xfrm>
          <a:prstGeom prst="rect">
            <a:avLst/>
          </a:prstGeom>
        </p:spPr>
        <p:txBody>
          <a:bodyPr wrap="square" anchor="ctr">
            <a:noAutofit/>
          </a:bodyPr>
          <a:lstStyle>
            <a:lvl1pPr marL="0" indent="0">
              <a:lnSpc>
                <a:spcPct val="100000"/>
              </a:lnSpc>
              <a:spcBef>
                <a:spcPts val="0"/>
              </a:spcBef>
              <a:buFontTx/>
              <a:buNone/>
              <a:defRPr sz="30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a:p>
            <a:pPr lvl="0"/>
            <a:endParaRPr lang="nl-NL" dirty="0"/>
          </a:p>
        </p:txBody>
      </p:sp>
    </p:spTree>
    <p:extLst>
      <p:ext uri="{BB962C8B-B14F-4D97-AF65-F5344CB8AC3E}">
        <p14:creationId xmlns:p14="http://schemas.microsoft.com/office/powerpoint/2010/main" val="264126719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 geel">
    <p:spTree>
      <p:nvGrpSpPr>
        <p:cNvPr id="1" name=""/>
        <p:cNvGrpSpPr/>
        <p:nvPr/>
      </p:nvGrpSpPr>
      <p:grpSpPr>
        <a:xfrm>
          <a:off x="0" y="0"/>
          <a:ext cx="0" cy="0"/>
          <a:chOff x="0" y="0"/>
          <a:chExt cx="0" cy="0"/>
        </a:xfrm>
      </p:grpSpPr>
      <p:sp>
        <p:nvSpPr>
          <p:cNvPr id="12" name="Rechthoek">
            <a:extLst>
              <a:ext uri="{FF2B5EF4-FFF2-40B4-BE49-F238E27FC236}">
                <a16:creationId xmlns:a16="http://schemas.microsoft.com/office/drawing/2014/main" id="{563F2E2D-8449-E246-AD76-86802DEF48AF}"/>
              </a:ext>
            </a:extLst>
          </p:cNvPr>
          <p:cNvSpPr/>
          <p:nvPr userDrawn="1"/>
        </p:nvSpPr>
        <p:spPr>
          <a:xfrm>
            <a:off x="0" y="0"/>
            <a:ext cx="17145001" cy="180401"/>
          </a:xfrm>
          <a:prstGeom prst="rect">
            <a:avLst/>
          </a:prstGeom>
          <a:solidFill>
            <a:srgbClr val="F5A93F"/>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49" name="Tijdelijke aanduiding voor tekst 26">
            <a:extLst>
              <a:ext uri="{FF2B5EF4-FFF2-40B4-BE49-F238E27FC236}">
                <a16:creationId xmlns:a16="http://schemas.microsoft.com/office/drawing/2014/main" id="{62547EA2-C2DA-D64E-BAE3-3DD038B68165}"/>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
        <p:nvSpPr>
          <p:cNvPr id="14" name="Rechthoek">
            <a:extLst>
              <a:ext uri="{FF2B5EF4-FFF2-40B4-BE49-F238E27FC236}">
                <a16:creationId xmlns:a16="http://schemas.microsoft.com/office/drawing/2014/main" id="{96766D01-0B2D-074E-9BE0-C46375024277}"/>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3" name="Rechthoek">
            <a:extLst>
              <a:ext uri="{FF2B5EF4-FFF2-40B4-BE49-F238E27FC236}">
                <a16:creationId xmlns:a16="http://schemas.microsoft.com/office/drawing/2014/main" id="{5CDC936A-2825-C147-BCD4-15FC2D69C663}"/>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sp>
        <p:nvSpPr>
          <p:cNvPr id="11" name="Titel 21">
            <a:extLst>
              <a:ext uri="{FF2B5EF4-FFF2-40B4-BE49-F238E27FC236}">
                <a16:creationId xmlns:a16="http://schemas.microsoft.com/office/drawing/2014/main" id="{B2EEC29A-307C-6C4E-910A-63B0CC087F94}"/>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10" name="Tijdelijke aanduiding voor dianummer 5">
            <a:extLst>
              <a:ext uri="{FF2B5EF4-FFF2-40B4-BE49-F238E27FC236}">
                <a16:creationId xmlns:a16="http://schemas.microsoft.com/office/drawing/2014/main" id="{3C93C6F3-D792-1B42-9852-A4009A5200AE}"/>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3" name="Tijdelijke aanduiding voor voettekst 4">
            <a:extLst>
              <a:ext uri="{FF2B5EF4-FFF2-40B4-BE49-F238E27FC236}">
                <a16:creationId xmlns:a16="http://schemas.microsoft.com/office/drawing/2014/main" id="{4C53753C-808C-EE05-1156-233EEB4EC231}"/>
              </a:ext>
            </a:extLst>
          </p:cNvPr>
          <p:cNvSpPr txBox="1">
            <a:spLocks/>
          </p:cNvSpPr>
          <p:nvPr userDrawn="1"/>
        </p:nvSpPr>
        <p:spPr>
          <a:xfrm>
            <a:off x="5682338" y="12825096"/>
            <a:ext cx="6588684"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pic>
        <p:nvPicPr>
          <p:cNvPr id="5" name="Afbeelding 4" descr="Afbeelding met tekst, Lettertype, Graphics, logo&#10;&#10;Automatisch gegenereerde beschrijving">
            <a:extLst>
              <a:ext uri="{FF2B5EF4-FFF2-40B4-BE49-F238E27FC236}">
                <a16:creationId xmlns:a16="http://schemas.microsoft.com/office/drawing/2014/main" id="{6BD59CF6-C023-F140-5895-34D56835D77C}"/>
              </a:ext>
            </a:extLst>
          </p:cNvPr>
          <p:cNvPicPr>
            <a:picLocks noChangeAspect="1"/>
          </p:cNvPicPr>
          <p:nvPr userDrawn="1"/>
        </p:nvPicPr>
        <p:blipFill>
          <a:blip r:embed="rId2">
            <a:extLst>
              <a:ext uri="{28A0092B-C50C-407E-A947-70E740481C1C}">
                <a14:useLocalDpi xmlns:a14="http://schemas.microsoft.com/office/drawing/2010/main" val="0"/>
              </a:ext>
            </a:extLst>
          </a:blip>
          <a:srcRect l="37511" t="863"/>
          <a:stretch/>
        </p:blipFill>
        <p:spPr>
          <a:xfrm>
            <a:off x="1231296" y="12664441"/>
            <a:ext cx="1890091" cy="1136720"/>
          </a:xfrm>
          <a:prstGeom prst="rect">
            <a:avLst/>
          </a:prstGeom>
        </p:spPr>
      </p:pic>
      <p:pic>
        <p:nvPicPr>
          <p:cNvPr id="8" name="Afbeelding 7" descr="Afbeelding met Graphics, Lettertype, grafische vormgeving, schermopname&#10;&#10;Automatisch gegenereerde beschrijving">
            <a:extLst>
              <a:ext uri="{FF2B5EF4-FFF2-40B4-BE49-F238E27FC236}">
                <a16:creationId xmlns:a16="http://schemas.microsoft.com/office/drawing/2014/main" id="{2AED8C5C-B360-BCC3-37BA-BEAFBFF270DD}"/>
              </a:ext>
            </a:extLst>
          </p:cNvPr>
          <p:cNvPicPr>
            <a:picLocks noChangeAspect="1"/>
          </p:cNvPicPr>
          <p:nvPr userDrawn="1"/>
        </p:nvPicPr>
        <p:blipFill>
          <a:blip r:embed="rId3">
            <a:extLst>
              <a:ext uri="{28A0092B-C50C-407E-A947-70E740481C1C}">
                <a14:useLocalDpi xmlns:a14="http://schemas.microsoft.com/office/drawing/2010/main" val="0"/>
              </a:ext>
            </a:extLst>
          </a:blip>
          <a:srcRect r="62532" b="2748"/>
          <a:stretch/>
        </p:blipFill>
        <p:spPr>
          <a:xfrm>
            <a:off x="379065" y="12789081"/>
            <a:ext cx="852231" cy="766265"/>
          </a:xfrm>
          <a:prstGeom prst="rect">
            <a:avLst/>
          </a:prstGeom>
        </p:spPr>
      </p:pic>
    </p:spTree>
    <p:extLst>
      <p:ext uri="{BB962C8B-B14F-4D97-AF65-F5344CB8AC3E}">
        <p14:creationId xmlns:p14="http://schemas.microsoft.com/office/powerpoint/2010/main" val="422142884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 roze">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E86CE235-F000-AA40-8284-B5404DAF7392}"/>
              </a:ext>
            </a:extLst>
          </p:cNvPr>
          <p:cNvSpPr/>
          <p:nvPr userDrawn="1"/>
        </p:nvSpPr>
        <p:spPr>
          <a:xfrm>
            <a:off x="0" y="0"/>
            <a:ext cx="17145001" cy="180401"/>
          </a:xfrm>
          <a:prstGeom prst="rect">
            <a:avLst/>
          </a:prstGeom>
          <a:solidFill>
            <a:srgbClr val="F2A4B1"/>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2" name="Rechthoek">
            <a:extLst>
              <a:ext uri="{FF2B5EF4-FFF2-40B4-BE49-F238E27FC236}">
                <a16:creationId xmlns:a16="http://schemas.microsoft.com/office/drawing/2014/main" id="{28F02794-0288-994C-9512-5B2494AE91AC}"/>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19" name="Rechthoek">
            <a:extLst>
              <a:ext uri="{FF2B5EF4-FFF2-40B4-BE49-F238E27FC236}">
                <a16:creationId xmlns:a16="http://schemas.microsoft.com/office/drawing/2014/main" id="{F21D8D3D-6FE9-8A45-9875-28EA850DF8BB}"/>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4" name="logo_wit.png" descr="logo_wit.png">
            <a:extLst>
              <a:ext uri="{FF2B5EF4-FFF2-40B4-BE49-F238E27FC236}">
                <a16:creationId xmlns:a16="http://schemas.microsoft.com/office/drawing/2014/main" id="{A6A14F5D-D46C-674F-B021-DC6A196405AD}"/>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14B7EF8B-46FA-FD4A-9EB6-9412F7A8E849}"/>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1" name="Tijdelijke aanduiding voor voettekst 4">
            <a:extLst>
              <a:ext uri="{FF2B5EF4-FFF2-40B4-BE49-F238E27FC236}">
                <a16:creationId xmlns:a16="http://schemas.microsoft.com/office/drawing/2014/main" id="{43A16A55-793E-8041-A49D-E1CC0DE0D98C}"/>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8" name="Titel 21">
            <a:extLst>
              <a:ext uri="{FF2B5EF4-FFF2-40B4-BE49-F238E27FC236}">
                <a16:creationId xmlns:a16="http://schemas.microsoft.com/office/drawing/2014/main" id="{7A9DCC2B-46E7-BF4A-950E-7D0B007FB104}"/>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9E2B3193-B8DD-753E-1D78-652BC1DE564C}"/>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149857893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 oudroze">
    <p:spTree>
      <p:nvGrpSpPr>
        <p:cNvPr id="1" name=""/>
        <p:cNvGrpSpPr/>
        <p:nvPr/>
      </p:nvGrpSpPr>
      <p:grpSpPr>
        <a:xfrm>
          <a:off x="0" y="0"/>
          <a:ext cx="0" cy="0"/>
          <a:chOff x="0" y="0"/>
          <a:chExt cx="0" cy="0"/>
        </a:xfrm>
      </p:grpSpPr>
      <p:sp>
        <p:nvSpPr>
          <p:cNvPr id="4" name="Rechthoek">
            <a:extLst>
              <a:ext uri="{FF2B5EF4-FFF2-40B4-BE49-F238E27FC236}">
                <a16:creationId xmlns:a16="http://schemas.microsoft.com/office/drawing/2014/main" id="{4D3D2F64-C049-7E48-B2EC-8B8771A7BFF3}"/>
              </a:ext>
            </a:extLst>
          </p:cNvPr>
          <p:cNvSpPr/>
          <p:nvPr userDrawn="1"/>
        </p:nvSpPr>
        <p:spPr>
          <a:xfrm>
            <a:off x="0" y="0"/>
            <a:ext cx="17145001" cy="180401"/>
          </a:xfrm>
          <a:prstGeom prst="rect">
            <a:avLst/>
          </a:prstGeom>
          <a:solidFill>
            <a:srgbClr val="CD5D74"/>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0" name="Rechthoek">
            <a:extLst>
              <a:ext uri="{FF2B5EF4-FFF2-40B4-BE49-F238E27FC236}">
                <a16:creationId xmlns:a16="http://schemas.microsoft.com/office/drawing/2014/main" id="{0CED2C05-2159-714E-9DE5-EDF2F6C6506B}"/>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 name="Rechthoek">
            <a:extLst>
              <a:ext uri="{FF2B5EF4-FFF2-40B4-BE49-F238E27FC236}">
                <a16:creationId xmlns:a16="http://schemas.microsoft.com/office/drawing/2014/main" id="{0B8C3011-449E-2145-8AAE-83592FAADEC3}"/>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4" name="logo_wit.png" descr="logo_wit.png">
            <a:extLst>
              <a:ext uri="{FF2B5EF4-FFF2-40B4-BE49-F238E27FC236}">
                <a16:creationId xmlns:a16="http://schemas.microsoft.com/office/drawing/2014/main" id="{6BC573FC-5A39-B14C-80CA-F10C4EAC3EDE}"/>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FC8F4B7A-3F18-CF43-B686-82270E751DC9}"/>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1" name="Tijdelijke aanduiding voor voettekst 4">
            <a:extLst>
              <a:ext uri="{FF2B5EF4-FFF2-40B4-BE49-F238E27FC236}">
                <a16:creationId xmlns:a16="http://schemas.microsoft.com/office/drawing/2014/main" id="{31332301-EF9F-FF4A-AF87-F01DB3B0013A}"/>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8" name="Titel 21">
            <a:extLst>
              <a:ext uri="{FF2B5EF4-FFF2-40B4-BE49-F238E27FC236}">
                <a16:creationId xmlns:a16="http://schemas.microsoft.com/office/drawing/2014/main" id="{2BCA02CD-BE48-0C43-B8E6-219656F969EF}"/>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177BCE06-210F-2622-0415-626B807D6249}"/>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279845192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 blauw">
    <p:spTree>
      <p:nvGrpSpPr>
        <p:cNvPr id="1" name=""/>
        <p:cNvGrpSpPr/>
        <p:nvPr/>
      </p:nvGrpSpPr>
      <p:grpSpPr>
        <a:xfrm>
          <a:off x="0" y="0"/>
          <a:ext cx="0" cy="0"/>
          <a:chOff x="0" y="0"/>
          <a:chExt cx="0" cy="0"/>
        </a:xfrm>
      </p:grpSpPr>
      <p:sp>
        <p:nvSpPr>
          <p:cNvPr id="12" name="Rechthoek">
            <a:extLst>
              <a:ext uri="{FF2B5EF4-FFF2-40B4-BE49-F238E27FC236}">
                <a16:creationId xmlns:a16="http://schemas.microsoft.com/office/drawing/2014/main" id="{51AD3650-F706-6C4E-BEFA-319DCB2B233E}"/>
              </a:ext>
            </a:extLst>
          </p:cNvPr>
          <p:cNvSpPr/>
          <p:nvPr userDrawn="1"/>
        </p:nvSpPr>
        <p:spPr>
          <a:xfrm>
            <a:off x="0" y="0"/>
            <a:ext cx="17145001" cy="180401"/>
          </a:xfrm>
          <a:prstGeom prst="rect">
            <a:avLst/>
          </a:prstGeom>
          <a:solidFill>
            <a:srgbClr val="5692C2"/>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 name="Rechthoek">
            <a:extLst>
              <a:ext uri="{FF2B5EF4-FFF2-40B4-BE49-F238E27FC236}">
                <a16:creationId xmlns:a16="http://schemas.microsoft.com/office/drawing/2014/main" id="{1F14AE55-B7AC-1644-80C9-7B803B90D0ED}"/>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2" name="Rechthoek">
            <a:extLst>
              <a:ext uri="{FF2B5EF4-FFF2-40B4-BE49-F238E27FC236}">
                <a16:creationId xmlns:a16="http://schemas.microsoft.com/office/drawing/2014/main" id="{946E0DAD-204F-614B-9D64-9EA1987A6C91}"/>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5" name="logo_wit.png" descr="logo_wit.png">
            <a:extLst>
              <a:ext uri="{FF2B5EF4-FFF2-40B4-BE49-F238E27FC236}">
                <a16:creationId xmlns:a16="http://schemas.microsoft.com/office/drawing/2014/main" id="{144D5364-32E4-3A4B-95C0-3ED9723D4276}"/>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0FF61E8A-B9D4-594D-9577-AE8A373ECF19}"/>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1" name="Tijdelijke aanduiding voor voettekst 4">
            <a:extLst>
              <a:ext uri="{FF2B5EF4-FFF2-40B4-BE49-F238E27FC236}">
                <a16:creationId xmlns:a16="http://schemas.microsoft.com/office/drawing/2014/main" id="{DE97D585-4450-5149-8412-CA5686F2E336}"/>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9" name="Titel 21">
            <a:extLst>
              <a:ext uri="{FF2B5EF4-FFF2-40B4-BE49-F238E27FC236}">
                <a16:creationId xmlns:a16="http://schemas.microsoft.com/office/drawing/2014/main" id="{D9EFB856-CAB8-7B45-AD30-9610E867574B}"/>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834D5541-E338-CFA4-486D-43022BF2C021}"/>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3672156547"/>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 groen">
    <p:spTree>
      <p:nvGrpSpPr>
        <p:cNvPr id="1" name=""/>
        <p:cNvGrpSpPr/>
        <p:nvPr/>
      </p:nvGrpSpPr>
      <p:grpSpPr>
        <a:xfrm>
          <a:off x="0" y="0"/>
          <a:ext cx="0" cy="0"/>
          <a:chOff x="0" y="0"/>
          <a:chExt cx="0" cy="0"/>
        </a:xfrm>
      </p:grpSpPr>
      <p:sp>
        <p:nvSpPr>
          <p:cNvPr id="13" name="Rechthoek">
            <a:extLst>
              <a:ext uri="{FF2B5EF4-FFF2-40B4-BE49-F238E27FC236}">
                <a16:creationId xmlns:a16="http://schemas.microsoft.com/office/drawing/2014/main" id="{786105A4-ED57-8F4F-BBA5-466425C6EF05}"/>
              </a:ext>
            </a:extLst>
          </p:cNvPr>
          <p:cNvSpPr/>
          <p:nvPr userDrawn="1"/>
        </p:nvSpPr>
        <p:spPr>
          <a:xfrm>
            <a:off x="0" y="0"/>
            <a:ext cx="17145001" cy="180401"/>
          </a:xfrm>
          <a:prstGeom prst="rect">
            <a:avLst/>
          </a:prstGeom>
          <a:solidFill>
            <a:srgbClr val="B5D7AE"/>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 name="Rechthoek">
            <a:extLst>
              <a:ext uri="{FF2B5EF4-FFF2-40B4-BE49-F238E27FC236}">
                <a16:creationId xmlns:a16="http://schemas.microsoft.com/office/drawing/2014/main" id="{4387998E-E02C-B34E-B2C8-55B5892F0670}"/>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2" name="Rechthoek">
            <a:extLst>
              <a:ext uri="{FF2B5EF4-FFF2-40B4-BE49-F238E27FC236}">
                <a16:creationId xmlns:a16="http://schemas.microsoft.com/office/drawing/2014/main" id="{1454108C-410A-7546-8E26-5EF9668F35CF}"/>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5" name="logo_wit.png" descr="logo_wit.png">
            <a:extLst>
              <a:ext uri="{FF2B5EF4-FFF2-40B4-BE49-F238E27FC236}">
                <a16:creationId xmlns:a16="http://schemas.microsoft.com/office/drawing/2014/main" id="{B526CF5A-23D7-6242-9E29-23DF0BCD000A}"/>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9E71028D-CD0F-6742-8733-22B925AA5B33}"/>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1" name="Tijdelijke aanduiding voor voettekst 4">
            <a:extLst>
              <a:ext uri="{FF2B5EF4-FFF2-40B4-BE49-F238E27FC236}">
                <a16:creationId xmlns:a16="http://schemas.microsoft.com/office/drawing/2014/main" id="{2F148634-426C-D248-8C44-CC6EDBE64814}"/>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9" name="Titel 21">
            <a:extLst>
              <a:ext uri="{FF2B5EF4-FFF2-40B4-BE49-F238E27FC236}">
                <a16:creationId xmlns:a16="http://schemas.microsoft.com/office/drawing/2014/main" id="{47E377C5-DEE9-3342-B6B3-9411EFDA5248}"/>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6BF9B57B-14B6-08F4-C020-C2F04C87D706}"/>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315870881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nude">
    <p:spTree>
      <p:nvGrpSpPr>
        <p:cNvPr id="1" name=""/>
        <p:cNvGrpSpPr/>
        <p:nvPr/>
      </p:nvGrpSpPr>
      <p:grpSpPr>
        <a:xfrm>
          <a:off x="0" y="0"/>
          <a:ext cx="0" cy="0"/>
          <a:chOff x="0" y="0"/>
          <a:chExt cx="0" cy="0"/>
        </a:xfrm>
      </p:grpSpPr>
      <p:sp>
        <p:nvSpPr>
          <p:cNvPr id="12" name="Rechthoek">
            <a:extLst>
              <a:ext uri="{FF2B5EF4-FFF2-40B4-BE49-F238E27FC236}">
                <a16:creationId xmlns:a16="http://schemas.microsoft.com/office/drawing/2014/main" id="{C370DB1B-5FDF-CC45-B217-519441C28D43}"/>
              </a:ext>
            </a:extLst>
          </p:cNvPr>
          <p:cNvSpPr/>
          <p:nvPr userDrawn="1"/>
        </p:nvSpPr>
        <p:spPr>
          <a:xfrm>
            <a:off x="0" y="0"/>
            <a:ext cx="17145001" cy="180401"/>
          </a:xfrm>
          <a:prstGeom prst="rect">
            <a:avLst/>
          </a:prstGeom>
          <a:solidFill>
            <a:srgbClr val="FDF4E7"/>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 name="Rechthoek">
            <a:extLst>
              <a:ext uri="{FF2B5EF4-FFF2-40B4-BE49-F238E27FC236}">
                <a16:creationId xmlns:a16="http://schemas.microsoft.com/office/drawing/2014/main" id="{879004FB-1B39-AA49-93FF-97EF1813F85E}"/>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3" name="Rechthoek">
            <a:extLst>
              <a:ext uri="{FF2B5EF4-FFF2-40B4-BE49-F238E27FC236}">
                <a16:creationId xmlns:a16="http://schemas.microsoft.com/office/drawing/2014/main" id="{E77153A9-4D5A-A849-90C7-45FDE3803FFC}"/>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8" name="logo_wit.png" descr="logo_wit.png">
            <a:extLst>
              <a:ext uri="{FF2B5EF4-FFF2-40B4-BE49-F238E27FC236}">
                <a16:creationId xmlns:a16="http://schemas.microsoft.com/office/drawing/2014/main" id="{7EC3847B-F0F6-9B4E-860E-DA685718A4ED}"/>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AB6E32F6-C452-C14C-980B-DB6E478BB78D}"/>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1" name="Tijdelijke aanduiding voor voettekst 4">
            <a:extLst>
              <a:ext uri="{FF2B5EF4-FFF2-40B4-BE49-F238E27FC236}">
                <a16:creationId xmlns:a16="http://schemas.microsoft.com/office/drawing/2014/main" id="{A70EF3E4-C5EF-AB47-90B8-AFF428EBC753}"/>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9" name="Titel 21">
            <a:extLst>
              <a:ext uri="{FF2B5EF4-FFF2-40B4-BE49-F238E27FC236}">
                <a16:creationId xmlns:a16="http://schemas.microsoft.com/office/drawing/2014/main" id="{9552D4ED-ADAF-ED47-8735-3B76628E38D8}"/>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E70F5184-4E72-9936-AE6D-404FDC4570E9}"/>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19597012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lichtblauw">
    <p:spTree>
      <p:nvGrpSpPr>
        <p:cNvPr id="1" name=""/>
        <p:cNvGrpSpPr/>
        <p:nvPr/>
      </p:nvGrpSpPr>
      <p:grpSpPr>
        <a:xfrm>
          <a:off x="0" y="0"/>
          <a:ext cx="0" cy="0"/>
          <a:chOff x="0" y="0"/>
          <a:chExt cx="0" cy="0"/>
        </a:xfrm>
      </p:grpSpPr>
      <p:sp>
        <p:nvSpPr>
          <p:cNvPr id="12" name="Rechthoek">
            <a:extLst>
              <a:ext uri="{FF2B5EF4-FFF2-40B4-BE49-F238E27FC236}">
                <a16:creationId xmlns:a16="http://schemas.microsoft.com/office/drawing/2014/main" id="{A9B0C8DD-FD48-0D44-8C9D-3F9484235EEC}"/>
              </a:ext>
            </a:extLst>
          </p:cNvPr>
          <p:cNvSpPr/>
          <p:nvPr userDrawn="1"/>
        </p:nvSpPr>
        <p:spPr>
          <a:xfrm>
            <a:off x="0" y="0"/>
            <a:ext cx="17145001" cy="180401"/>
          </a:xfrm>
          <a:prstGeom prst="rect">
            <a:avLst/>
          </a:prstGeom>
          <a:solidFill>
            <a:srgbClr val="C4DAF4"/>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1" name="Rechthoek">
            <a:extLst>
              <a:ext uri="{FF2B5EF4-FFF2-40B4-BE49-F238E27FC236}">
                <a16:creationId xmlns:a16="http://schemas.microsoft.com/office/drawing/2014/main" id="{2326EDDA-8E9E-264C-B6EC-606BB6E4F911}"/>
              </a:ext>
            </a:extLst>
          </p:cNvPr>
          <p:cNvSpPr/>
          <p:nvPr userDrawn="1"/>
        </p:nvSpPr>
        <p:spPr>
          <a:xfrm flipV="1">
            <a:off x="-3179" y="2074885"/>
            <a:ext cx="17145001" cy="45719"/>
          </a:xfrm>
          <a:prstGeom prst="rect">
            <a:avLst/>
          </a:prstGeom>
          <a:solidFill>
            <a:schemeClr val="tx1">
              <a:lumMod val="95000"/>
              <a:lumOff val="5000"/>
            </a:schemeClr>
          </a:solidFill>
          <a:ln w="3175">
            <a:miter lim="400000"/>
          </a:ln>
        </p:spPr>
        <p:txBody>
          <a:bodyPr lIns="22859" tIns="22859" rIns="22859" bIns="22859" anchor="ctr"/>
          <a:lstStyle/>
          <a:p>
            <a:pPr algn="ctr" defTabSz="82550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a:p>
        </p:txBody>
      </p:sp>
      <p:sp>
        <p:nvSpPr>
          <p:cNvPr id="22" name="Rechthoek">
            <a:extLst>
              <a:ext uri="{FF2B5EF4-FFF2-40B4-BE49-F238E27FC236}">
                <a16:creationId xmlns:a16="http://schemas.microsoft.com/office/drawing/2014/main" id="{BEF75943-C208-3F40-BD9B-3574F3592631}"/>
              </a:ext>
            </a:extLst>
          </p:cNvPr>
          <p:cNvSpPr/>
          <p:nvPr userDrawn="1"/>
        </p:nvSpPr>
        <p:spPr>
          <a:xfrm>
            <a:off x="0" y="12664441"/>
            <a:ext cx="17148179" cy="1051560"/>
          </a:xfrm>
          <a:prstGeom prst="rect">
            <a:avLst/>
          </a:prstGeom>
          <a:solidFill>
            <a:srgbClr val="000000"/>
          </a:solidFill>
          <a:ln w="3175" cap="flat">
            <a:noFill/>
            <a:miter lim="400000"/>
          </a:ln>
          <a:effectLst/>
        </p:spPr>
        <p:txBody>
          <a:bodyPr wrap="square" lIns="22859" tIns="22859" rIns="22859" bIns="22859" numCol="1" anchor="ctr">
            <a:noAutofit/>
          </a:bodyPr>
          <a:lstStyle/>
          <a:p>
            <a:pPr algn="ctr" defTabSz="825500">
              <a:lnSpc>
                <a:spcPct val="100000"/>
              </a:lnSpc>
              <a:spcBef>
                <a:spcPts val="0"/>
              </a:spcBef>
              <a:defRPr sz="3200">
                <a:latin typeface="Helvetica Neue Medium"/>
                <a:ea typeface="Helvetica Neue Medium"/>
                <a:cs typeface="Helvetica Neue Medium"/>
                <a:sym typeface="Helvetica Neue Medium"/>
              </a:defRPr>
            </a:pPr>
            <a:endParaRPr dirty="0"/>
          </a:p>
        </p:txBody>
      </p:sp>
      <p:pic>
        <p:nvPicPr>
          <p:cNvPr id="25" name="logo_wit.png" descr="logo_wit.png">
            <a:extLst>
              <a:ext uri="{FF2B5EF4-FFF2-40B4-BE49-F238E27FC236}">
                <a16:creationId xmlns:a16="http://schemas.microsoft.com/office/drawing/2014/main" id="{F6C2676E-1E3A-2043-9D87-313558F81391}"/>
              </a:ext>
            </a:extLst>
          </p:cNvPr>
          <p:cNvPicPr>
            <a:picLocks noChangeAspect="1"/>
          </p:cNvPicPr>
          <p:nvPr userDrawn="1"/>
        </p:nvPicPr>
        <p:blipFill>
          <a:blip r:embed="rId2"/>
          <a:stretch>
            <a:fillRect/>
          </a:stretch>
        </p:blipFill>
        <p:spPr>
          <a:xfrm>
            <a:off x="483196" y="12833087"/>
            <a:ext cx="1635889" cy="639656"/>
          </a:xfrm>
          <a:prstGeom prst="rect">
            <a:avLst/>
          </a:prstGeom>
          <a:ln w="3175" cap="flat">
            <a:noFill/>
            <a:miter lim="400000"/>
          </a:ln>
          <a:effectLst/>
        </p:spPr>
      </p:pic>
      <p:sp>
        <p:nvSpPr>
          <p:cNvPr id="10" name="Tijdelijke aanduiding voor dianummer 5">
            <a:extLst>
              <a:ext uri="{FF2B5EF4-FFF2-40B4-BE49-F238E27FC236}">
                <a16:creationId xmlns:a16="http://schemas.microsoft.com/office/drawing/2014/main" id="{620F628F-B77D-B348-81FD-8BC1AE108E92}"/>
              </a:ext>
            </a:extLst>
          </p:cNvPr>
          <p:cNvSpPr txBox="1">
            <a:spLocks/>
          </p:cNvSpPr>
          <p:nvPr userDrawn="1"/>
        </p:nvSpPr>
        <p:spPr>
          <a:xfrm>
            <a:off x="16056244" y="12833577"/>
            <a:ext cx="912517" cy="730249"/>
          </a:xfrm>
          <a:prstGeom prst="rect">
            <a:avLst/>
          </a:prstGeom>
          <a:ln w="3175">
            <a:miter lim="400000"/>
          </a:ln>
        </p:spPr>
        <p:txBody>
          <a:bodyPr vert="horz" wrap="square" lIns="91440" tIns="45720" rIns="91440" bIns="4572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chemeClr val="bg1"/>
                </a:solidFill>
                <a:effectLst/>
                <a:uFillTx/>
                <a:latin typeface="Poppins Regular"/>
                <a:ea typeface="Poppins Regular"/>
                <a:cs typeface="Poppins Regular"/>
                <a:sym typeface="Poppins Regular"/>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pPr algn="ctr"/>
            <a:fld id="{1B0DEFD5-EBE6-1A4A-8F1D-605E74F0CB15}" type="slidenum">
              <a:rPr lang="nl-NL" sz="2200" smtClean="0"/>
              <a:pPr algn="ctr"/>
              <a:t>‹nr.›</a:t>
            </a:fld>
            <a:endParaRPr lang="nl-NL" sz="2200" dirty="0"/>
          </a:p>
        </p:txBody>
      </p:sp>
      <p:sp>
        <p:nvSpPr>
          <p:cNvPr id="13" name="Tijdelijke aanduiding voor voettekst 4">
            <a:extLst>
              <a:ext uri="{FF2B5EF4-FFF2-40B4-BE49-F238E27FC236}">
                <a16:creationId xmlns:a16="http://schemas.microsoft.com/office/drawing/2014/main" id="{A48A46F3-B12B-F247-BF51-070E719C61FB}"/>
              </a:ext>
            </a:extLst>
          </p:cNvPr>
          <p:cNvSpPr txBox="1">
            <a:spLocks/>
          </p:cNvSpPr>
          <p:nvPr userDrawn="1"/>
        </p:nvSpPr>
        <p:spPr>
          <a:xfrm>
            <a:off x="5682338" y="12825096"/>
            <a:ext cx="5786438" cy="730250"/>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90000"/>
              </a:lnSpc>
              <a:spcBef>
                <a:spcPts val="4500"/>
              </a:spcBef>
              <a:spcAft>
                <a:spcPts val="0"/>
              </a:spcAft>
              <a:buClrTx/>
              <a:buSzTx/>
              <a:buFontTx/>
              <a:buNone/>
              <a:tabLst/>
              <a:defRPr kumimoji="0" sz="1600" b="0" i="0" u="none" strike="noStrike" cap="none" spc="0" normalizeH="0" baseline="0">
                <a:ln>
                  <a:noFill/>
                </a:ln>
                <a:solidFill>
                  <a:schemeClr val="bg1"/>
                </a:solidFill>
                <a:effectLst/>
                <a:uFillTx/>
                <a:latin typeface="Poppins" pitchFamily="2" charset="77"/>
                <a:ea typeface="+mn-ea"/>
                <a:cs typeface="Poppins" pitchFamily="2" charset="77"/>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a:lstStyle>
          <a:p>
            <a:r>
              <a:rPr lang="nl-NL" sz="2200" dirty="0"/>
              <a:t>Gezinshulp Smallingerland</a:t>
            </a:r>
          </a:p>
        </p:txBody>
      </p:sp>
      <p:sp>
        <p:nvSpPr>
          <p:cNvPr id="19" name="Titel 21">
            <a:extLst>
              <a:ext uri="{FF2B5EF4-FFF2-40B4-BE49-F238E27FC236}">
                <a16:creationId xmlns:a16="http://schemas.microsoft.com/office/drawing/2014/main" id="{347B14C1-43C2-2649-BEC0-A199BBA50570}"/>
              </a:ext>
            </a:extLst>
          </p:cNvPr>
          <p:cNvSpPr>
            <a:spLocks noGrp="1"/>
          </p:cNvSpPr>
          <p:nvPr>
            <p:ph type="title" hasCustomPrompt="1"/>
          </p:nvPr>
        </p:nvSpPr>
        <p:spPr>
          <a:xfrm rot="10800000" flipV="1">
            <a:off x="919323" y="811022"/>
            <a:ext cx="15299998" cy="871158"/>
          </a:xfrm>
          <a:prstGeom prst="rect">
            <a:avLst/>
          </a:prstGeom>
        </p:spPr>
        <p:txBody>
          <a:bodyPr wrap="square" tIns="90000" bIns="90000" anchor="t">
            <a:noAutofit/>
          </a:bodyPr>
          <a:lstStyle>
            <a:lvl1pPr marL="0" marR="0" indent="0" algn="l" defTabSz="2438338" rtl="0" eaLnBrk="1" fontAlgn="auto" latinLnBrk="0" hangingPunct="1">
              <a:lnSpc>
                <a:spcPct val="100000"/>
              </a:lnSpc>
              <a:spcBef>
                <a:spcPts val="0"/>
              </a:spcBef>
              <a:spcAft>
                <a:spcPts val="0"/>
              </a:spcAft>
              <a:buClrTx/>
              <a:buSzTx/>
              <a:buFontTx/>
              <a:buNone/>
              <a:tabLst/>
              <a:defRPr sz="2600" b="0" i="0" kern="0" spc="0" baseline="0">
                <a:solidFill>
                  <a:srgbClr val="000000"/>
                </a:solidFill>
                <a:latin typeface="Poppins" pitchFamily="2" charset="77"/>
                <a:cs typeface="Poppins" pitchFamily="2" charset="77"/>
              </a:defRPr>
            </a:lvl1pPr>
          </a:lstStyle>
          <a:p>
            <a:pPr marL="0" marR="0" lvl="0" indent="0" algn="l" defTabSz="2438338" rtl="0" eaLnBrk="1" fontAlgn="auto" latinLnBrk="0" hangingPunct="1">
              <a:lnSpc>
                <a:spcPct val="80000"/>
              </a:lnSpc>
              <a:spcBef>
                <a:spcPts val="0"/>
              </a:spcBef>
              <a:spcAft>
                <a:spcPts val="0"/>
              </a:spcAft>
              <a:buClrTx/>
              <a:buSzTx/>
              <a:buFontTx/>
              <a:buNone/>
              <a:tabLst/>
              <a:defRPr/>
            </a:pPr>
            <a:r>
              <a:rPr lang="nl-NL" dirty="0">
                <a:latin typeface="Poppins SemiBold"/>
                <a:ea typeface="Poppins SemiBold"/>
                <a:cs typeface="Poppins SemiBold"/>
                <a:sym typeface="Poppins SemiBold"/>
              </a:rPr>
              <a:t>GHOST | sheetleader</a:t>
            </a:r>
            <a:endParaRPr lang="nl-NL" dirty="0"/>
          </a:p>
        </p:txBody>
      </p:sp>
      <p:sp>
        <p:nvSpPr>
          <p:cNvPr id="2" name="Tijdelijke aanduiding voor tekst 26">
            <a:extLst>
              <a:ext uri="{FF2B5EF4-FFF2-40B4-BE49-F238E27FC236}">
                <a16:creationId xmlns:a16="http://schemas.microsoft.com/office/drawing/2014/main" id="{25EDE261-55A5-D4CC-AD0E-B7C5F1174256}"/>
              </a:ext>
            </a:extLst>
          </p:cNvPr>
          <p:cNvSpPr>
            <a:spLocks noGrp="1"/>
          </p:cNvSpPr>
          <p:nvPr>
            <p:ph type="body" sz="quarter" idx="15"/>
          </p:nvPr>
        </p:nvSpPr>
        <p:spPr>
          <a:xfrm>
            <a:off x="919321" y="2751225"/>
            <a:ext cx="15300000" cy="9282595"/>
          </a:xfrm>
          <a:prstGeom prst="rect">
            <a:avLst/>
          </a:prstGeom>
        </p:spPr>
        <p:txBody>
          <a:bodyPr wrap="square">
            <a:noAutofit/>
          </a:bodyPr>
          <a:lstStyle>
            <a:lvl1pPr marL="0" indent="0">
              <a:lnSpc>
                <a:spcPct val="114000"/>
              </a:lnSpc>
              <a:spcBef>
                <a:spcPts val="0"/>
              </a:spcBef>
              <a:buSzPct val="100000"/>
              <a:buFont typeface="+mj-lt"/>
              <a:buNone/>
              <a:defRPr sz="2200" b="0" i="0" baseline="0">
                <a:latin typeface="Poppins" pitchFamily="2" charset="77"/>
                <a:cs typeface="Poppins" pitchFamily="2" charset="77"/>
              </a:defRPr>
            </a:lvl1pPr>
            <a:lvl2pPr marL="609600" indent="0">
              <a:buNone/>
              <a:defRPr sz="2200" b="0" i="0">
                <a:latin typeface="Poppins" pitchFamily="2" charset="77"/>
                <a:cs typeface="Poppins" pitchFamily="2" charset="77"/>
              </a:defRPr>
            </a:lvl2pPr>
            <a:lvl3pPr>
              <a:defRPr sz="2000" b="0" i="0">
                <a:latin typeface="Poppins" pitchFamily="2" charset="77"/>
                <a:cs typeface="Poppins" pitchFamily="2" charset="77"/>
              </a:defRPr>
            </a:lvl3pPr>
            <a:lvl4pPr>
              <a:defRPr sz="2000" b="0" i="0">
                <a:latin typeface="Poppins" pitchFamily="2" charset="77"/>
                <a:cs typeface="Poppins" pitchFamily="2" charset="77"/>
              </a:defRPr>
            </a:lvl4pPr>
            <a:lvl5pPr>
              <a:defRPr sz="2000" b="0" i="0">
                <a:latin typeface="Poppins" pitchFamily="2" charset="77"/>
                <a:cs typeface="Poppins" pitchFamily="2" charset="77"/>
              </a:defRPr>
            </a:lvl5pPr>
          </a:lstStyle>
          <a:p>
            <a:pPr lvl="0"/>
            <a:endParaRPr lang="nl-NL" dirty="0"/>
          </a:p>
        </p:txBody>
      </p:sp>
    </p:spTree>
    <p:extLst>
      <p:ext uri="{BB962C8B-B14F-4D97-AF65-F5344CB8AC3E}">
        <p14:creationId xmlns:p14="http://schemas.microsoft.com/office/powerpoint/2010/main" val="4027096379"/>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60268F-42BD-7361-2EA4-9303F546699C}"/>
              </a:ext>
            </a:extLst>
          </p:cNvPr>
          <p:cNvGraphicFramePr>
            <a:graphicFrameLocks noChangeAspect="1"/>
          </p:cNvGraphicFramePr>
          <p:nvPr userDrawn="1">
            <p:custDataLst>
              <p:tags r:id="rId19"/>
            </p:custDataLst>
            <p:extLst>
              <p:ext uri="{D42A27DB-BD31-4B8C-83A1-F6EECF244321}">
                <p14:modId xmlns:p14="http://schemas.microsoft.com/office/powerpoint/2010/main" val="36574911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0" name=""/>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6" name="Dianummer">
            <a:extLst>
              <a:ext uri="{FF2B5EF4-FFF2-40B4-BE49-F238E27FC236}">
                <a16:creationId xmlns:a16="http://schemas.microsoft.com/office/drawing/2014/main" id="{70062EE4-9193-3B4B-8E1D-E8E837E748D4}"/>
              </a:ext>
            </a:extLst>
          </p:cNvPr>
          <p:cNvSpPr txBox="1">
            <a:spLocks noGrp="1"/>
          </p:cNvSpPr>
          <p:nvPr>
            <p:ph type="sldNum" sz="quarter" idx="4"/>
          </p:nvPr>
        </p:nvSpPr>
        <p:spPr>
          <a:xfrm>
            <a:off x="15024552" y="13015401"/>
            <a:ext cx="1804078" cy="415496"/>
          </a:xfrm>
          <a:prstGeom prst="rect">
            <a:avLst/>
          </a:prstGeom>
          <a:ln w="3175">
            <a:miter lim="400000"/>
          </a:ln>
        </p:spPr>
        <p:txBody>
          <a:bodyPr wrap="square" lIns="22859" tIns="22859" rIns="22859" bIns="22859" anchor="b">
            <a:spAutoFit/>
          </a:bodyPr>
          <a:lstStyle>
            <a:lvl1pPr algn="ctr" defTabSz="584200">
              <a:lnSpc>
                <a:spcPct val="100000"/>
              </a:lnSpc>
              <a:spcBef>
                <a:spcPts val="0"/>
              </a:spcBef>
              <a:defRPr sz="2400">
                <a:solidFill>
                  <a:srgbClr val="FFFFFF"/>
                </a:solidFill>
                <a:latin typeface="Poppins Regular"/>
                <a:ea typeface="Poppins Regular"/>
                <a:cs typeface="Poppins Regular"/>
                <a:sym typeface="Poppins Regular"/>
              </a:defRPr>
            </a:lvl1pPr>
          </a:lstStyle>
          <a:p>
            <a:fld id="{86CB4B4D-7CA3-9044-876B-883B54F8677D}" type="slidenum">
              <a:rPr lang="nl-NL" smtClean="0"/>
              <a:pPr/>
              <a:t>‹nr.›</a:t>
            </a:fld>
            <a:endParaRPr lang="nl-NL" dirty="0"/>
          </a:p>
        </p:txBody>
      </p:sp>
      <p:sp>
        <p:nvSpPr>
          <p:cNvPr id="2" name="Text Placeholder 1">
            <a:extLst>
              <a:ext uri="{FF2B5EF4-FFF2-40B4-BE49-F238E27FC236}">
                <a16:creationId xmlns:a16="http://schemas.microsoft.com/office/drawing/2014/main" id="{EAC12733-0D85-744E-9A38-024C42B190D2}"/>
              </a:ext>
            </a:extLst>
          </p:cNvPr>
          <p:cNvSpPr>
            <a:spLocks noGrp="1"/>
          </p:cNvSpPr>
          <p:nvPr>
            <p:ph type="body" idx="1"/>
          </p:nvPr>
        </p:nvSpPr>
        <p:spPr>
          <a:xfrm>
            <a:off x="1179513" y="3651250"/>
            <a:ext cx="14787562" cy="8702675"/>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nl-NL" dirty="0"/>
          </a:p>
        </p:txBody>
      </p:sp>
    </p:spTree>
    <p:extLst>
      <p:ext uri="{BB962C8B-B14F-4D97-AF65-F5344CB8AC3E}">
        <p14:creationId xmlns:p14="http://schemas.microsoft.com/office/powerpoint/2010/main" val="2127016158"/>
      </p:ext>
    </p:extLst>
  </p:cSld>
  <p:clrMap bg1="lt1" tx1="dk1" bg2="lt2" tx2="dk2" accent1="accent1" accent2="accent2" accent3="accent3" accent4="accent4" accent5="accent5" accent6="accent6" hlink="hlink" folHlink="folHlink"/>
  <p:sldLayoutIdLst>
    <p:sldLayoutId id="2147483714" r:id="rId1"/>
    <p:sldLayoutId id="2147483665" r:id="rId2"/>
    <p:sldLayoutId id="2147483668" r:id="rId3"/>
    <p:sldLayoutId id="2147483715" r:id="rId4"/>
    <p:sldLayoutId id="2147483716" r:id="rId5"/>
    <p:sldLayoutId id="2147483717" r:id="rId6"/>
    <p:sldLayoutId id="2147483718" r:id="rId7"/>
    <p:sldLayoutId id="2147483719" r:id="rId8"/>
    <p:sldLayoutId id="2147483720" r:id="rId9"/>
    <p:sldLayoutId id="2147483666" r:id="rId10"/>
    <p:sldLayoutId id="2147483681" r:id="rId11"/>
    <p:sldLayoutId id="2147483671" r:id="rId12"/>
    <p:sldLayoutId id="2147483673" r:id="rId13"/>
    <p:sldLayoutId id="2147483675" r:id="rId14"/>
    <p:sldLayoutId id="2147483677" r:id="rId15"/>
    <p:sldLayoutId id="2147483679" r:id="rId16"/>
    <p:sldLayoutId id="2147483711" r:id="rId17"/>
  </p:sldLayoutIdLst>
  <p:transition spd="med"/>
  <p:hf hdr="0" dt="0"/>
  <p:txStyles>
    <p:titleStyle>
      <a:lvl1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1pPr>
      <a:lvl2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2pPr>
      <a:lvl3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3pPr>
      <a:lvl4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4pPr>
      <a:lvl5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5pPr>
      <a:lvl6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6pPr>
      <a:lvl7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7pPr>
      <a:lvl8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8pPr>
      <a:lvl9pPr marL="0" marR="0" indent="0" algn="l" defTabSz="2438338" rtl="0" latinLnBrk="0">
        <a:lnSpc>
          <a:spcPct val="80000"/>
        </a:lnSpc>
        <a:spcBef>
          <a:spcPts val="0"/>
        </a:spcBef>
        <a:spcAft>
          <a:spcPts val="0"/>
        </a:spcAft>
        <a:buClrTx/>
        <a:buSzTx/>
        <a:buFontTx/>
        <a:buNone/>
        <a:tabLst/>
        <a:defRPr sz="8400" b="1" i="0" u="none" strike="noStrike" cap="none" spc="-168" baseline="0">
          <a:solidFill>
            <a:srgbClr val="000000"/>
          </a:solidFill>
          <a:uFillTx/>
          <a:latin typeface="+mn-lt"/>
          <a:ea typeface="+mn-ea"/>
          <a:cs typeface="+mn-cs"/>
          <a:sym typeface="Helvetica Neue"/>
        </a:defRPr>
      </a:lvl9pPr>
    </p:titleStyle>
    <p:bodyStyle>
      <a:lvl1pPr marL="609600" marR="0" indent="-609600" algn="l" defTabSz="2438338" rtl="0" latinLnBrk="0">
        <a:lnSpc>
          <a:spcPct val="114000"/>
        </a:lnSpc>
        <a:spcBef>
          <a:spcPts val="0"/>
        </a:spcBef>
        <a:spcAft>
          <a:spcPts val="0"/>
        </a:spcAft>
        <a:buClrTx/>
        <a:buSzPct val="123000"/>
        <a:buFontTx/>
        <a:buChar char="•"/>
        <a:tabLst/>
        <a:defRPr sz="2200" b="0" i="0" u="none" strike="noStrike" cap="none" spc="0" baseline="0">
          <a:solidFill>
            <a:srgbClr val="000000"/>
          </a:solidFill>
          <a:uFillTx/>
          <a:latin typeface="Poppins" pitchFamily="2" charset="77"/>
          <a:ea typeface="+mn-ea"/>
          <a:cs typeface="Poppins" pitchFamily="2" charset="77"/>
          <a:sym typeface="Helvetica Neue"/>
        </a:defRPr>
      </a:lvl1pPr>
      <a:lvl2pPr marL="1219200" marR="0" indent="-609600" algn="l" defTabSz="2438338" rtl="0" latinLnBrk="0">
        <a:lnSpc>
          <a:spcPct val="114000"/>
        </a:lnSpc>
        <a:spcBef>
          <a:spcPts val="0"/>
        </a:spcBef>
        <a:spcAft>
          <a:spcPts val="0"/>
        </a:spcAft>
        <a:buClrTx/>
        <a:buSzPct val="123000"/>
        <a:buFontTx/>
        <a:buChar char="•"/>
        <a:tabLst/>
        <a:defRPr sz="2400" b="0" i="0" u="none" strike="noStrike" cap="none" spc="0" baseline="0">
          <a:solidFill>
            <a:srgbClr val="000000"/>
          </a:solidFill>
          <a:uFillTx/>
          <a:latin typeface="Poppins" pitchFamily="2" charset="77"/>
          <a:ea typeface="+mn-ea"/>
          <a:cs typeface="Poppins" pitchFamily="2" charset="77"/>
          <a:sym typeface="Helvetica Neue"/>
        </a:defRPr>
      </a:lvl2pPr>
      <a:lvl3pPr marL="1828800" marR="0" indent="-609600" algn="l" defTabSz="2438338" rtl="0" latinLnBrk="0">
        <a:lnSpc>
          <a:spcPct val="114000"/>
        </a:lnSpc>
        <a:spcBef>
          <a:spcPts val="0"/>
        </a:spcBef>
        <a:spcAft>
          <a:spcPts val="0"/>
        </a:spcAft>
        <a:buClrTx/>
        <a:buSzPct val="123000"/>
        <a:buFontTx/>
        <a:buChar char="•"/>
        <a:tabLst/>
        <a:defRPr sz="2600" b="0" i="0" u="none" strike="noStrike" cap="none" spc="0" baseline="0">
          <a:solidFill>
            <a:srgbClr val="000000"/>
          </a:solidFill>
          <a:uFillTx/>
          <a:latin typeface="Poppins" pitchFamily="2" charset="77"/>
          <a:ea typeface="+mn-ea"/>
          <a:cs typeface="Poppins" pitchFamily="2" charset="77"/>
          <a:sym typeface="Helvetica Neue"/>
        </a:defRPr>
      </a:lvl3pPr>
      <a:lvl4pPr marL="2438400" marR="0" indent="-609600" algn="l" defTabSz="2438338" rtl="0" latinLnBrk="0">
        <a:lnSpc>
          <a:spcPct val="114000"/>
        </a:lnSpc>
        <a:spcBef>
          <a:spcPts val="0"/>
        </a:spcBef>
        <a:spcAft>
          <a:spcPts val="0"/>
        </a:spcAft>
        <a:buClrTx/>
        <a:buSzPct val="123000"/>
        <a:buFontTx/>
        <a:buChar char="•"/>
        <a:tabLst/>
        <a:defRPr sz="2800" b="0" i="0" u="none" strike="noStrike" cap="none" spc="0" baseline="0">
          <a:solidFill>
            <a:srgbClr val="000000"/>
          </a:solidFill>
          <a:uFillTx/>
          <a:latin typeface="Poppins" pitchFamily="2" charset="77"/>
          <a:ea typeface="+mn-ea"/>
          <a:cs typeface="Poppins" pitchFamily="2" charset="77"/>
          <a:sym typeface="Helvetica Neue"/>
        </a:defRPr>
      </a:lvl4pPr>
      <a:lvl5pPr marL="3048000" marR="0" indent="-609600" algn="l" defTabSz="2438338" rtl="0" latinLnBrk="0">
        <a:lnSpc>
          <a:spcPct val="114000"/>
        </a:lnSpc>
        <a:spcBef>
          <a:spcPts val="0"/>
        </a:spcBef>
        <a:spcAft>
          <a:spcPts val="0"/>
        </a:spcAft>
        <a:buClrTx/>
        <a:buSzPct val="123000"/>
        <a:buFontTx/>
        <a:buChar char="•"/>
        <a:tabLst/>
        <a:defRPr sz="3000" b="0" i="0" u="none" strike="noStrike" cap="none" spc="0" baseline="0">
          <a:solidFill>
            <a:srgbClr val="000000"/>
          </a:solidFill>
          <a:uFillTx/>
          <a:latin typeface="Poppins" pitchFamily="2" charset="77"/>
          <a:ea typeface="+mn-ea"/>
          <a:cs typeface="Poppins" pitchFamily="2" charset="77"/>
          <a:sym typeface="Helvetica Neue"/>
        </a:defRPr>
      </a:lvl5pPr>
      <a:lvl6pPr marL="3657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p:bodyStyle>
    <p:otherStyle>
      <a:lvl1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1pPr>
      <a:lvl2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2pPr>
      <a:lvl3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3pPr>
      <a:lvl4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4pPr>
      <a:lvl5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5pPr>
      <a:lvl6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6pPr>
      <a:lvl7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7pPr>
      <a:lvl8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8pPr>
      <a:lvl9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Poppins Regular"/>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3.xml"/><Relationship Id="rId5" Type="http://schemas.openxmlformats.org/officeDocument/2006/relationships/image" Target="../media/image27.sv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714D096B-9416-4045-8713-F714E86965E6}"/>
              </a:ext>
            </a:extLst>
          </p:cNvPr>
          <p:cNvSpPr>
            <a:spLocks noGrp="1"/>
          </p:cNvSpPr>
          <p:nvPr>
            <p:ph type="body" sz="quarter" idx="11"/>
          </p:nvPr>
        </p:nvSpPr>
        <p:spPr>
          <a:xfrm>
            <a:off x="1106904" y="3071945"/>
            <a:ext cx="6212305" cy="1291083"/>
          </a:xfrm>
        </p:spPr>
        <p:txBody>
          <a:bodyPr vert="horz" lIns="90000" tIns="45720" rIns="91440" bIns="45720" rtlCol="0" anchor="t">
            <a:noAutofit/>
          </a:bodyPr>
          <a:lstStyle/>
          <a:p>
            <a:r>
              <a:rPr lang="nl-NL" dirty="0">
                <a:latin typeface="Bebas Neue Bold"/>
                <a:cs typeface="Poppins"/>
              </a:rPr>
              <a:t>Aanpak</a:t>
            </a:r>
          </a:p>
          <a:p>
            <a:r>
              <a:rPr lang="nl-NL" dirty="0">
                <a:latin typeface="Bebas Neue Bold"/>
                <a:cs typeface="Poppins"/>
              </a:rPr>
              <a:t>Gezinshulp Smallingerland</a:t>
            </a:r>
          </a:p>
        </p:txBody>
      </p:sp>
      <p:sp>
        <p:nvSpPr>
          <p:cNvPr id="7" name="Tijdelijke aanduiding voor inhoud 17">
            <a:extLst>
              <a:ext uri="{FF2B5EF4-FFF2-40B4-BE49-F238E27FC236}">
                <a16:creationId xmlns:a16="http://schemas.microsoft.com/office/drawing/2014/main" id="{F74DC062-850D-256A-90FC-7ED2FACABC32}"/>
              </a:ext>
            </a:extLst>
          </p:cNvPr>
          <p:cNvSpPr>
            <a:spLocks noGrp="1"/>
          </p:cNvSpPr>
          <p:nvPr>
            <p:ph sz="quarter" idx="13" hasCustomPrompt="1"/>
          </p:nvPr>
        </p:nvSpPr>
        <p:spPr>
          <a:xfrm>
            <a:off x="920408" y="12300285"/>
            <a:ext cx="6928192" cy="631825"/>
          </a:xfrm>
          <a:prstGeom prst="rect">
            <a:avLst/>
          </a:prstGeom>
        </p:spPr>
        <p:txBody>
          <a:bodyPr anchor="ctr">
            <a:noAutofit/>
          </a:bodyPr>
          <a:lstStyle>
            <a:lvl1pPr marL="0" indent="0">
              <a:lnSpc>
                <a:spcPct val="100000"/>
              </a:lnSpc>
              <a:buNone/>
              <a:defRPr sz="2400" b="0" i="0">
                <a:latin typeface="Poppins" pitchFamily="2" charset="77"/>
                <a:cs typeface="Poppins" pitchFamily="2" charset="77"/>
              </a:defRPr>
            </a:lvl1pPr>
          </a:lstStyle>
          <a:p>
            <a:endParaRPr lang="nl-NL" sz="3200" dirty="0"/>
          </a:p>
        </p:txBody>
      </p:sp>
      <p:sp>
        <p:nvSpPr>
          <p:cNvPr id="4" name="TextBox 3">
            <a:extLst>
              <a:ext uri="{FF2B5EF4-FFF2-40B4-BE49-F238E27FC236}">
                <a16:creationId xmlns:a16="http://schemas.microsoft.com/office/drawing/2014/main" id="{51A657AB-D9D3-035A-B5E1-EC68B2119DC8}"/>
              </a:ext>
            </a:extLst>
          </p:cNvPr>
          <p:cNvSpPr txBox="1"/>
          <p:nvPr/>
        </p:nvSpPr>
        <p:spPr>
          <a:xfrm>
            <a:off x="2358189" y="5221705"/>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t">
            <a:noAutofit/>
          </a:bodyPr>
          <a:lstStyle/>
          <a:p>
            <a:pPr marL="0" marR="0" indent="0" algn="l" defTabSz="2438338" rtl="0" fontAlgn="auto" latinLnBrk="0" hangingPunct="0">
              <a:lnSpc>
                <a:spcPct val="114000"/>
              </a:lnSpc>
              <a:spcBef>
                <a:spcPts val="0"/>
              </a:spcBef>
              <a:buClrTx/>
              <a:buSzTx/>
              <a:buFontTx/>
              <a:buNone/>
              <a:tabLst/>
            </a:pPr>
            <a:endParaRPr kumimoji="0" lang="en-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2" name="Tekstvak 1">
            <a:extLst>
              <a:ext uri="{FF2B5EF4-FFF2-40B4-BE49-F238E27FC236}">
                <a16:creationId xmlns:a16="http://schemas.microsoft.com/office/drawing/2014/main" id="{4B5116BD-3AF2-8496-89A6-1654C04A2EEA}"/>
              </a:ext>
            </a:extLst>
          </p:cNvPr>
          <p:cNvSpPr txBox="1"/>
          <p:nvPr/>
        </p:nvSpPr>
        <p:spPr>
          <a:xfrm>
            <a:off x="13403766" y="13091532"/>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4" name="Tekstvak 13">
            <a:extLst>
              <a:ext uri="{FF2B5EF4-FFF2-40B4-BE49-F238E27FC236}">
                <a16:creationId xmlns:a16="http://schemas.microsoft.com/office/drawing/2014/main" id="{FCDE1671-1FCA-2BF9-FF15-644AA0CA9BCE}"/>
              </a:ext>
            </a:extLst>
          </p:cNvPr>
          <p:cNvSpPr txBox="1"/>
          <p:nvPr/>
        </p:nvSpPr>
        <p:spPr>
          <a:xfrm>
            <a:off x="13046927" y="13136137"/>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5" name="Tekstvak 14">
            <a:extLst>
              <a:ext uri="{FF2B5EF4-FFF2-40B4-BE49-F238E27FC236}">
                <a16:creationId xmlns:a16="http://schemas.microsoft.com/office/drawing/2014/main" id="{0EFD4FF9-FF55-5B7D-B3D3-A95368919D5C}"/>
              </a:ext>
            </a:extLst>
          </p:cNvPr>
          <p:cNvSpPr txBox="1"/>
          <p:nvPr/>
        </p:nvSpPr>
        <p:spPr>
          <a:xfrm>
            <a:off x="12756995" y="12823902"/>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pic>
        <p:nvPicPr>
          <p:cNvPr id="16" name="logo_wit.png" descr="logo_wit.png">
            <a:extLst>
              <a:ext uri="{FF2B5EF4-FFF2-40B4-BE49-F238E27FC236}">
                <a16:creationId xmlns:a16="http://schemas.microsoft.com/office/drawing/2014/main" id="{BE8B742C-75AF-05C8-DA88-12709F3475B3}"/>
              </a:ext>
            </a:extLst>
          </p:cNvPr>
          <p:cNvPicPr>
            <a:picLocks noChangeAspect="1"/>
          </p:cNvPicPr>
          <p:nvPr/>
        </p:nvPicPr>
        <p:blipFill>
          <a:blip r:embed="rId2"/>
          <a:stretch>
            <a:fillRect/>
          </a:stretch>
        </p:blipFill>
        <p:spPr>
          <a:xfrm>
            <a:off x="10949315" y="12189598"/>
            <a:ext cx="3320991" cy="1298553"/>
          </a:xfrm>
          <a:prstGeom prst="rect">
            <a:avLst/>
          </a:prstGeom>
          <a:ln w="3175">
            <a:miter lim="400000"/>
          </a:ln>
        </p:spPr>
      </p:pic>
      <p:sp>
        <p:nvSpPr>
          <p:cNvPr id="17" name="Tekstvak 16">
            <a:extLst>
              <a:ext uri="{FF2B5EF4-FFF2-40B4-BE49-F238E27FC236}">
                <a16:creationId xmlns:a16="http://schemas.microsoft.com/office/drawing/2014/main" id="{97D5C227-EEC2-234E-5092-DEA5D4C77487}"/>
              </a:ext>
            </a:extLst>
          </p:cNvPr>
          <p:cNvSpPr txBox="1"/>
          <p:nvPr/>
        </p:nvSpPr>
        <p:spPr>
          <a:xfrm>
            <a:off x="7783551" y="2364059"/>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pic>
        <p:nvPicPr>
          <p:cNvPr id="40" name="Afbeelding 39" descr="Afbeelding met Graphics, Lettertype, grafische vormgeving, schermopname&#10;&#10;Automatisch gegenereerde beschrijving">
            <a:extLst>
              <a:ext uri="{FF2B5EF4-FFF2-40B4-BE49-F238E27FC236}">
                <a16:creationId xmlns:a16="http://schemas.microsoft.com/office/drawing/2014/main" id="{0EBAB954-628A-D2ED-0906-71071085F9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6821" y="4708700"/>
            <a:ext cx="7281498" cy="2522349"/>
          </a:xfrm>
          <a:prstGeom prst="rect">
            <a:avLst/>
          </a:prstGeom>
        </p:spPr>
      </p:pic>
    </p:spTree>
    <p:extLst>
      <p:ext uri="{BB962C8B-B14F-4D97-AF65-F5344CB8AC3E}">
        <p14:creationId xmlns:p14="http://schemas.microsoft.com/office/powerpoint/2010/main" val="1138189817"/>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17FE442D-2C92-BE4A-E331-B1FB5CEE5DCD}"/>
              </a:ext>
            </a:extLst>
          </p:cNvPr>
          <p:cNvSpPr>
            <a:spLocks noGrp="1"/>
          </p:cNvSpPr>
          <p:nvPr>
            <p:ph type="title"/>
          </p:nvPr>
        </p:nvSpPr>
        <p:spPr>
          <a:xfrm rot="10800000" flipV="1">
            <a:off x="919323" y="811022"/>
            <a:ext cx="15614018" cy="871158"/>
          </a:xfrm>
        </p:spPr>
        <p:txBody>
          <a:bodyPr/>
          <a:lstStyle/>
          <a:p>
            <a:r>
              <a:rPr lang="nl-NL" b="1" dirty="0"/>
              <a:t> RANDVOORWAARDEN</a:t>
            </a:r>
            <a:r>
              <a:rPr lang="nl-NL" dirty="0"/>
              <a:t> | Om een team te starten dient een aantal randvoorwaarden georganiseerd te worden, waarbij de inhoudelijke uitgangspunten van de aanpak leidend zijn</a:t>
            </a:r>
          </a:p>
        </p:txBody>
      </p:sp>
      <p:sp>
        <p:nvSpPr>
          <p:cNvPr id="5" name="Tijdelijke aanduiding voor tekst 2">
            <a:extLst>
              <a:ext uri="{FF2B5EF4-FFF2-40B4-BE49-F238E27FC236}">
                <a16:creationId xmlns:a16="http://schemas.microsoft.com/office/drawing/2014/main" id="{06B8AD5C-AC4A-B43F-54B8-1C6928072FEA}"/>
              </a:ext>
            </a:extLst>
          </p:cNvPr>
          <p:cNvSpPr>
            <a:spLocks noGrp="1"/>
          </p:cNvSpPr>
          <p:nvPr>
            <p:ph type="body" sz="quarter" idx="15"/>
          </p:nvPr>
        </p:nvSpPr>
        <p:spPr>
          <a:xfrm>
            <a:off x="968845" y="2812666"/>
            <a:ext cx="15564496" cy="9140691"/>
          </a:xfrm>
        </p:spPr>
        <p:txBody>
          <a:bodyPr/>
          <a:lstStyle/>
          <a:p>
            <a:r>
              <a:rPr lang="nl-NL" b="1" dirty="0" err="1"/>
              <a:t>Governance</a:t>
            </a:r>
            <a:r>
              <a:rPr lang="nl-NL" b="1" dirty="0"/>
              <a:t> </a:t>
            </a:r>
          </a:p>
          <a:p>
            <a:r>
              <a:rPr lang="nl-NL" dirty="0"/>
              <a:t>De </a:t>
            </a:r>
            <a:r>
              <a:rPr lang="nl-NL" dirty="0" err="1"/>
              <a:t>governance</a:t>
            </a:r>
            <a:r>
              <a:rPr lang="nl-NL" dirty="0"/>
              <a:t> is uitgewerkt. Er wordt geen nieuwe entiteit opgericht. Er wordt gewerkt met een penvoerder (</a:t>
            </a:r>
            <a:r>
              <a:rPr lang="nl-NL" dirty="0" err="1"/>
              <a:t>Accare</a:t>
            </a:r>
            <a:r>
              <a:rPr lang="nl-NL" dirty="0"/>
              <a:t>)</a:t>
            </a:r>
          </a:p>
          <a:p>
            <a:endParaRPr lang="nl-NL" dirty="0"/>
          </a:p>
          <a:p>
            <a:r>
              <a:rPr lang="nl-NL" b="1" dirty="0"/>
              <a:t>Privacy </a:t>
            </a:r>
          </a:p>
          <a:p>
            <a:r>
              <a:rPr lang="nl-NL" dirty="0"/>
              <a:t>De privacy afspraken worden uitgewerkt en een DPIA wordt gedaan zodat teamleden het gezin integraal binnen de wettelijke kaders kunnen bespreken </a:t>
            </a:r>
          </a:p>
          <a:p>
            <a:endParaRPr lang="nl-NL" dirty="0"/>
          </a:p>
          <a:p>
            <a:r>
              <a:rPr lang="nl-NL" b="1" dirty="0"/>
              <a:t>Systeem</a:t>
            </a:r>
          </a:p>
          <a:p>
            <a:r>
              <a:rPr lang="nl-NL" dirty="0"/>
              <a:t>Er wordt een gezinsplan opgesteld, alle teamleden werken in hetzelfde systeem van de penvoerder</a:t>
            </a:r>
          </a:p>
          <a:p>
            <a:endParaRPr lang="nl-NL" dirty="0"/>
          </a:p>
          <a:p>
            <a:r>
              <a:rPr lang="nl-NL" b="1" dirty="0"/>
              <a:t>Financiën </a:t>
            </a:r>
          </a:p>
          <a:p>
            <a:r>
              <a:rPr lang="nl-NL" dirty="0"/>
              <a:t>De financiering van het team vindt plaats via de gebruikelijke kaders en indicaties, voor gemeentelijke financiering is sprake van een integraal gezinsbudget </a:t>
            </a:r>
          </a:p>
          <a:p>
            <a:endParaRPr lang="nl-NL" dirty="0"/>
          </a:p>
          <a:p>
            <a:r>
              <a:rPr lang="nl-NL" b="1" dirty="0"/>
              <a:t>Inhoudelijke verantwoordelijkheid </a:t>
            </a:r>
          </a:p>
          <a:p>
            <a:r>
              <a:rPr lang="nl-NL" dirty="0"/>
              <a:t>De inhoudelijke verantwoordelijkheid voor zorg is uitgewerkt, zodat dit in het geval van incidenten helder is</a:t>
            </a:r>
          </a:p>
          <a:p>
            <a:endParaRPr lang="nl-NL" dirty="0"/>
          </a:p>
          <a:p>
            <a:r>
              <a:rPr lang="nl-NL" b="1" dirty="0"/>
              <a:t>Onderzoek</a:t>
            </a:r>
          </a:p>
          <a:p>
            <a:r>
              <a:rPr lang="nl-NL" dirty="0"/>
              <a:t>De effectiviteit van  gezinshulp wordt onderzocht op het gebied van inhoudelijk effect, financiën en professionals.</a:t>
            </a:r>
          </a:p>
          <a:p>
            <a:endParaRPr lang="nl-NL" dirty="0"/>
          </a:p>
          <a:p>
            <a:endParaRPr lang="nl-NL" dirty="0"/>
          </a:p>
        </p:txBody>
      </p:sp>
    </p:spTree>
    <p:extLst>
      <p:ext uri="{BB962C8B-B14F-4D97-AF65-F5344CB8AC3E}">
        <p14:creationId xmlns:p14="http://schemas.microsoft.com/office/powerpoint/2010/main" val="1932441122"/>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2FE74C8C-6DDD-51F8-82E0-DB0938126B9C}"/>
              </a:ext>
            </a:extLst>
          </p:cNvPr>
          <p:cNvSpPr>
            <a:spLocks noGrp="1"/>
          </p:cNvSpPr>
          <p:nvPr>
            <p:ph type="body" sz="quarter" idx="15"/>
          </p:nvPr>
        </p:nvSpPr>
        <p:spPr/>
        <p:txBody>
          <a:bodyPr/>
          <a:lstStyle/>
          <a:p>
            <a:r>
              <a:rPr lang="nl-NL" b="1" dirty="0"/>
              <a:t>Aandachtspunten voor het opzetten van gezinshulp</a:t>
            </a:r>
          </a:p>
          <a:p>
            <a:pPr marL="342900" indent="-342900">
              <a:buFont typeface="Arial" panose="020B0604020202020204" pitchFamily="34" charset="0"/>
              <a:buChar char="•"/>
            </a:pPr>
            <a:r>
              <a:rPr lang="nl-NL" dirty="0"/>
              <a:t>Het kan alleen samen en als iedereen in de bedoeling gelooft</a:t>
            </a:r>
          </a:p>
          <a:p>
            <a:pPr marL="342900" indent="-342900">
              <a:buFont typeface="Arial" panose="020B0604020202020204" pitchFamily="34" charset="0"/>
              <a:buChar char="•"/>
            </a:pPr>
            <a:r>
              <a:rPr lang="nl-NL" dirty="0"/>
              <a:t>Vertrouwen en transparantie is van ontzettend groot belang</a:t>
            </a:r>
          </a:p>
          <a:p>
            <a:pPr marL="342900" indent="-342900">
              <a:buFont typeface="Arial" panose="020B0604020202020204" pitchFamily="34" charset="0"/>
              <a:buChar char="•"/>
            </a:pPr>
            <a:r>
              <a:rPr lang="nl-NL" dirty="0"/>
              <a:t>Het vraagt een innovatieve mentaliteit die door de hele organisatie uitgedragen moet worden</a:t>
            </a:r>
          </a:p>
          <a:p>
            <a:endParaRPr lang="nl-NL" dirty="0"/>
          </a:p>
          <a:p>
            <a:r>
              <a:rPr lang="nl-NL" b="1" dirty="0"/>
              <a:t>Aandachtspunten voor doorontwikkeling van gezinshulp</a:t>
            </a:r>
            <a:endParaRPr lang="nl-NL" dirty="0"/>
          </a:p>
          <a:p>
            <a:pPr marL="342900" indent="-342900">
              <a:buFont typeface="Arial" panose="020B0604020202020204" pitchFamily="34" charset="0"/>
              <a:buChar char="•"/>
            </a:pPr>
            <a:r>
              <a:rPr lang="nl-NL" dirty="0"/>
              <a:t>Het kunnen doorbreken van schulden bij gezinnen</a:t>
            </a:r>
          </a:p>
          <a:p>
            <a:pPr marL="342900" indent="-342900">
              <a:buFont typeface="Arial" panose="020B0604020202020204" pitchFamily="34" charset="0"/>
              <a:buChar char="•"/>
            </a:pPr>
            <a:r>
              <a:rPr lang="nl-NL" dirty="0"/>
              <a:t>Het eerder helpen van gezinnen om zo het preventieve effect te vergroten</a:t>
            </a:r>
          </a:p>
        </p:txBody>
      </p:sp>
      <p:sp>
        <p:nvSpPr>
          <p:cNvPr id="3" name="Titel 2">
            <a:extLst>
              <a:ext uri="{FF2B5EF4-FFF2-40B4-BE49-F238E27FC236}">
                <a16:creationId xmlns:a16="http://schemas.microsoft.com/office/drawing/2014/main" id="{F61DEC8E-4425-68AC-C409-F59201D1D5ED}"/>
              </a:ext>
            </a:extLst>
          </p:cNvPr>
          <p:cNvSpPr>
            <a:spLocks noGrp="1"/>
          </p:cNvSpPr>
          <p:nvPr>
            <p:ph type="title"/>
          </p:nvPr>
        </p:nvSpPr>
        <p:spPr/>
        <p:txBody>
          <a:bodyPr/>
          <a:lstStyle/>
          <a:p>
            <a:r>
              <a:rPr lang="nl-NL" b="1" dirty="0"/>
              <a:t>AANDACHTSPUNTEN</a:t>
            </a:r>
            <a:r>
              <a:rPr lang="nl-NL" dirty="0"/>
              <a:t> | Gezinshulp opzetten kan alleen samen en vraagt om transparantie, vertrouwen en geduld</a:t>
            </a:r>
          </a:p>
        </p:txBody>
      </p:sp>
    </p:spTree>
    <p:extLst>
      <p:ext uri="{BB962C8B-B14F-4D97-AF65-F5344CB8AC3E}">
        <p14:creationId xmlns:p14="http://schemas.microsoft.com/office/powerpoint/2010/main" val="4949493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A84A45F-A08E-C6D5-F65B-11739C4EFD6A}"/>
              </a:ext>
            </a:extLst>
          </p:cNvPr>
          <p:cNvSpPr>
            <a:spLocks noGrp="1"/>
          </p:cNvSpPr>
          <p:nvPr>
            <p:ph type="title"/>
          </p:nvPr>
        </p:nvSpPr>
        <p:spPr/>
        <p:txBody>
          <a:bodyPr/>
          <a:lstStyle/>
          <a:p>
            <a:r>
              <a:rPr lang="nl-NL" b="1" dirty="0"/>
              <a:t>TOEKOMST </a:t>
            </a:r>
            <a:r>
              <a:rPr lang="nl-NL" dirty="0"/>
              <a:t>| Effectiviteit dient eerst aangetoond te worden, maar indien de verwachtingen uitkomen is de ambitie van partijen om Nederland te inspireren en gezinshulp uit te breiden</a:t>
            </a:r>
            <a:endParaRPr lang="nl-NL" b="1" dirty="0"/>
          </a:p>
        </p:txBody>
      </p:sp>
      <p:grpSp>
        <p:nvGrpSpPr>
          <p:cNvPr id="4" name="Groep 3">
            <a:extLst>
              <a:ext uri="{FF2B5EF4-FFF2-40B4-BE49-F238E27FC236}">
                <a16:creationId xmlns:a16="http://schemas.microsoft.com/office/drawing/2014/main" id="{23460177-66D0-103F-DCC3-6145FD35D6EE}"/>
              </a:ext>
            </a:extLst>
          </p:cNvPr>
          <p:cNvGrpSpPr>
            <a:grpSpLocks noChangeAspect="1"/>
          </p:cNvGrpSpPr>
          <p:nvPr/>
        </p:nvGrpSpPr>
        <p:grpSpPr>
          <a:xfrm>
            <a:off x="5677795" y="4390907"/>
            <a:ext cx="2860272" cy="2171263"/>
            <a:chOff x="10993172" y="2857618"/>
            <a:chExt cx="3030167" cy="2124826"/>
          </a:xfrm>
        </p:grpSpPr>
        <p:sp>
          <p:nvSpPr>
            <p:cNvPr id="5" name="Freeform 581">
              <a:extLst>
                <a:ext uri="{FF2B5EF4-FFF2-40B4-BE49-F238E27FC236}">
                  <a16:creationId xmlns:a16="http://schemas.microsoft.com/office/drawing/2014/main" id="{19556C75-02B0-BF08-C4CF-A9CB79D223FF}"/>
                </a:ext>
              </a:extLst>
            </p:cNvPr>
            <p:cNvSpPr>
              <a:spLocks/>
            </p:cNvSpPr>
            <p:nvPr/>
          </p:nvSpPr>
          <p:spPr bwMode="auto">
            <a:xfrm>
              <a:off x="12355740" y="4292105"/>
              <a:ext cx="520033" cy="455414"/>
            </a:xfrm>
            <a:custGeom>
              <a:avLst/>
              <a:gdLst/>
              <a:ahLst/>
              <a:cxnLst>
                <a:cxn ang="0">
                  <a:pos x="387" y="288"/>
                </a:cxn>
                <a:cxn ang="0">
                  <a:pos x="377" y="298"/>
                </a:cxn>
                <a:cxn ang="0">
                  <a:pos x="347" y="318"/>
                </a:cxn>
                <a:cxn ang="0">
                  <a:pos x="317" y="327"/>
                </a:cxn>
                <a:cxn ang="0">
                  <a:pos x="317" y="337"/>
                </a:cxn>
                <a:cxn ang="0">
                  <a:pos x="278" y="318"/>
                </a:cxn>
                <a:cxn ang="0">
                  <a:pos x="208" y="327"/>
                </a:cxn>
                <a:cxn ang="0">
                  <a:pos x="148" y="337"/>
                </a:cxn>
                <a:cxn ang="0">
                  <a:pos x="79" y="318"/>
                </a:cxn>
                <a:cxn ang="0">
                  <a:pos x="79" y="327"/>
                </a:cxn>
                <a:cxn ang="0">
                  <a:pos x="59" y="327"/>
                </a:cxn>
                <a:cxn ang="0">
                  <a:pos x="29" y="347"/>
                </a:cxn>
                <a:cxn ang="0">
                  <a:pos x="19" y="318"/>
                </a:cxn>
                <a:cxn ang="0">
                  <a:pos x="19" y="298"/>
                </a:cxn>
                <a:cxn ang="0">
                  <a:pos x="0" y="268"/>
                </a:cxn>
                <a:cxn ang="0">
                  <a:pos x="19" y="248"/>
                </a:cxn>
                <a:cxn ang="0">
                  <a:pos x="49" y="248"/>
                </a:cxn>
                <a:cxn ang="0">
                  <a:pos x="59" y="238"/>
                </a:cxn>
                <a:cxn ang="0">
                  <a:pos x="69" y="178"/>
                </a:cxn>
                <a:cxn ang="0">
                  <a:pos x="59" y="139"/>
                </a:cxn>
                <a:cxn ang="0">
                  <a:pos x="69" y="129"/>
                </a:cxn>
                <a:cxn ang="0">
                  <a:pos x="79" y="129"/>
                </a:cxn>
                <a:cxn ang="0">
                  <a:pos x="89" y="139"/>
                </a:cxn>
                <a:cxn ang="0">
                  <a:pos x="99" y="119"/>
                </a:cxn>
                <a:cxn ang="0">
                  <a:pos x="109" y="109"/>
                </a:cxn>
                <a:cxn ang="0">
                  <a:pos x="129" y="99"/>
                </a:cxn>
                <a:cxn ang="0">
                  <a:pos x="139" y="99"/>
                </a:cxn>
                <a:cxn ang="0">
                  <a:pos x="139" y="89"/>
                </a:cxn>
                <a:cxn ang="0">
                  <a:pos x="119" y="69"/>
                </a:cxn>
                <a:cxn ang="0">
                  <a:pos x="148" y="0"/>
                </a:cxn>
                <a:cxn ang="0">
                  <a:pos x="159" y="0"/>
                </a:cxn>
                <a:cxn ang="0">
                  <a:pos x="178" y="49"/>
                </a:cxn>
                <a:cxn ang="0">
                  <a:pos x="188" y="39"/>
                </a:cxn>
                <a:cxn ang="0">
                  <a:pos x="218" y="39"/>
                </a:cxn>
                <a:cxn ang="0">
                  <a:pos x="238" y="20"/>
                </a:cxn>
                <a:cxn ang="0">
                  <a:pos x="258" y="39"/>
                </a:cxn>
                <a:cxn ang="0">
                  <a:pos x="288" y="39"/>
                </a:cxn>
                <a:cxn ang="0">
                  <a:pos x="297" y="49"/>
                </a:cxn>
                <a:cxn ang="0">
                  <a:pos x="327" y="59"/>
                </a:cxn>
                <a:cxn ang="0">
                  <a:pos x="317" y="59"/>
                </a:cxn>
                <a:cxn ang="0">
                  <a:pos x="317" y="69"/>
                </a:cxn>
                <a:cxn ang="0">
                  <a:pos x="317" y="89"/>
                </a:cxn>
                <a:cxn ang="0">
                  <a:pos x="327" y="109"/>
                </a:cxn>
                <a:cxn ang="0">
                  <a:pos x="317" y="119"/>
                </a:cxn>
                <a:cxn ang="0">
                  <a:pos x="317" y="129"/>
                </a:cxn>
                <a:cxn ang="0">
                  <a:pos x="317" y="139"/>
                </a:cxn>
                <a:cxn ang="0">
                  <a:pos x="327" y="169"/>
                </a:cxn>
                <a:cxn ang="0">
                  <a:pos x="347" y="198"/>
                </a:cxn>
                <a:cxn ang="0">
                  <a:pos x="357" y="228"/>
                </a:cxn>
                <a:cxn ang="0">
                  <a:pos x="367" y="248"/>
                </a:cxn>
              </a:cxnLst>
              <a:rect l="0" t="0" r="r" b="b"/>
              <a:pathLst>
                <a:path w="387" h="347">
                  <a:moveTo>
                    <a:pt x="367" y="258"/>
                  </a:moveTo>
                  <a:lnTo>
                    <a:pt x="387" y="288"/>
                  </a:lnTo>
                  <a:lnTo>
                    <a:pt x="387" y="288"/>
                  </a:lnTo>
                  <a:lnTo>
                    <a:pt x="377" y="298"/>
                  </a:lnTo>
                  <a:lnTo>
                    <a:pt x="377" y="308"/>
                  </a:lnTo>
                  <a:lnTo>
                    <a:pt x="347" y="318"/>
                  </a:lnTo>
                  <a:lnTo>
                    <a:pt x="327" y="327"/>
                  </a:lnTo>
                  <a:lnTo>
                    <a:pt x="317" y="327"/>
                  </a:lnTo>
                  <a:lnTo>
                    <a:pt x="317" y="337"/>
                  </a:lnTo>
                  <a:lnTo>
                    <a:pt x="317" y="337"/>
                  </a:lnTo>
                  <a:lnTo>
                    <a:pt x="297" y="327"/>
                  </a:lnTo>
                  <a:lnTo>
                    <a:pt x="278" y="318"/>
                  </a:lnTo>
                  <a:lnTo>
                    <a:pt x="268" y="308"/>
                  </a:lnTo>
                  <a:lnTo>
                    <a:pt x="208" y="327"/>
                  </a:lnTo>
                  <a:lnTo>
                    <a:pt x="159" y="347"/>
                  </a:lnTo>
                  <a:lnTo>
                    <a:pt x="148" y="337"/>
                  </a:lnTo>
                  <a:lnTo>
                    <a:pt x="119" y="327"/>
                  </a:lnTo>
                  <a:lnTo>
                    <a:pt x="79" y="318"/>
                  </a:lnTo>
                  <a:lnTo>
                    <a:pt x="79" y="318"/>
                  </a:lnTo>
                  <a:lnTo>
                    <a:pt x="79" y="327"/>
                  </a:lnTo>
                  <a:lnTo>
                    <a:pt x="69" y="327"/>
                  </a:lnTo>
                  <a:lnTo>
                    <a:pt x="59" y="327"/>
                  </a:lnTo>
                  <a:lnTo>
                    <a:pt x="49" y="337"/>
                  </a:lnTo>
                  <a:lnTo>
                    <a:pt x="29" y="347"/>
                  </a:lnTo>
                  <a:lnTo>
                    <a:pt x="19" y="327"/>
                  </a:lnTo>
                  <a:lnTo>
                    <a:pt x="19" y="318"/>
                  </a:lnTo>
                  <a:lnTo>
                    <a:pt x="10" y="308"/>
                  </a:lnTo>
                  <a:lnTo>
                    <a:pt x="19" y="298"/>
                  </a:lnTo>
                  <a:lnTo>
                    <a:pt x="10" y="288"/>
                  </a:lnTo>
                  <a:lnTo>
                    <a:pt x="0" y="268"/>
                  </a:lnTo>
                  <a:lnTo>
                    <a:pt x="10" y="238"/>
                  </a:lnTo>
                  <a:lnTo>
                    <a:pt x="19" y="248"/>
                  </a:lnTo>
                  <a:lnTo>
                    <a:pt x="29" y="248"/>
                  </a:lnTo>
                  <a:lnTo>
                    <a:pt x="49" y="248"/>
                  </a:lnTo>
                  <a:lnTo>
                    <a:pt x="69" y="248"/>
                  </a:lnTo>
                  <a:lnTo>
                    <a:pt x="59" y="238"/>
                  </a:lnTo>
                  <a:lnTo>
                    <a:pt x="69" y="218"/>
                  </a:lnTo>
                  <a:lnTo>
                    <a:pt x="69" y="178"/>
                  </a:lnTo>
                  <a:lnTo>
                    <a:pt x="69" y="158"/>
                  </a:lnTo>
                  <a:lnTo>
                    <a:pt x="59" y="139"/>
                  </a:lnTo>
                  <a:lnTo>
                    <a:pt x="69" y="129"/>
                  </a:lnTo>
                  <a:lnTo>
                    <a:pt x="69" y="129"/>
                  </a:lnTo>
                  <a:lnTo>
                    <a:pt x="69" y="129"/>
                  </a:lnTo>
                  <a:lnTo>
                    <a:pt x="79" y="129"/>
                  </a:lnTo>
                  <a:lnTo>
                    <a:pt x="89" y="139"/>
                  </a:lnTo>
                  <a:lnTo>
                    <a:pt x="89" y="139"/>
                  </a:lnTo>
                  <a:lnTo>
                    <a:pt x="99" y="129"/>
                  </a:lnTo>
                  <a:lnTo>
                    <a:pt x="99" y="119"/>
                  </a:lnTo>
                  <a:lnTo>
                    <a:pt x="99" y="119"/>
                  </a:lnTo>
                  <a:lnTo>
                    <a:pt x="109" y="109"/>
                  </a:lnTo>
                  <a:lnTo>
                    <a:pt x="119" y="99"/>
                  </a:lnTo>
                  <a:lnTo>
                    <a:pt x="129" y="99"/>
                  </a:lnTo>
                  <a:lnTo>
                    <a:pt x="129" y="99"/>
                  </a:lnTo>
                  <a:lnTo>
                    <a:pt x="139" y="99"/>
                  </a:lnTo>
                  <a:lnTo>
                    <a:pt x="139" y="89"/>
                  </a:lnTo>
                  <a:lnTo>
                    <a:pt x="139" y="89"/>
                  </a:lnTo>
                  <a:lnTo>
                    <a:pt x="129" y="69"/>
                  </a:lnTo>
                  <a:lnTo>
                    <a:pt x="119" y="69"/>
                  </a:lnTo>
                  <a:lnTo>
                    <a:pt x="129" y="39"/>
                  </a:lnTo>
                  <a:lnTo>
                    <a:pt x="148" y="0"/>
                  </a:lnTo>
                  <a:lnTo>
                    <a:pt x="148" y="0"/>
                  </a:lnTo>
                  <a:lnTo>
                    <a:pt x="159" y="0"/>
                  </a:lnTo>
                  <a:lnTo>
                    <a:pt x="159" y="49"/>
                  </a:lnTo>
                  <a:lnTo>
                    <a:pt x="178" y="49"/>
                  </a:lnTo>
                  <a:lnTo>
                    <a:pt x="178" y="49"/>
                  </a:lnTo>
                  <a:lnTo>
                    <a:pt x="188" y="39"/>
                  </a:lnTo>
                  <a:lnTo>
                    <a:pt x="188" y="39"/>
                  </a:lnTo>
                  <a:lnTo>
                    <a:pt x="218" y="39"/>
                  </a:lnTo>
                  <a:lnTo>
                    <a:pt x="218" y="49"/>
                  </a:lnTo>
                  <a:lnTo>
                    <a:pt x="238" y="20"/>
                  </a:lnTo>
                  <a:lnTo>
                    <a:pt x="248" y="29"/>
                  </a:lnTo>
                  <a:lnTo>
                    <a:pt x="258" y="39"/>
                  </a:lnTo>
                  <a:lnTo>
                    <a:pt x="278" y="20"/>
                  </a:lnTo>
                  <a:lnTo>
                    <a:pt x="288" y="39"/>
                  </a:lnTo>
                  <a:lnTo>
                    <a:pt x="288" y="39"/>
                  </a:lnTo>
                  <a:lnTo>
                    <a:pt x="297" y="49"/>
                  </a:lnTo>
                  <a:lnTo>
                    <a:pt x="327" y="59"/>
                  </a:lnTo>
                  <a:lnTo>
                    <a:pt x="327" y="59"/>
                  </a:lnTo>
                  <a:lnTo>
                    <a:pt x="337" y="69"/>
                  </a:lnTo>
                  <a:lnTo>
                    <a:pt x="317" y="59"/>
                  </a:lnTo>
                  <a:lnTo>
                    <a:pt x="317" y="69"/>
                  </a:lnTo>
                  <a:lnTo>
                    <a:pt x="317" y="69"/>
                  </a:lnTo>
                  <a:lnTo>
                    <a:pt x="327" y="79"/>
                  </a:lnTo>
                  <a:lnTo>
                    <a:pt x="317" y="89"/>
                  </a:lnTo>
                  <a:lnTo>
                    <a:pt x="327" y="109"/>
                  </a:lnTo>
                  <a:lnTo>
                    <a:pt x="327" y="109"/>
                  </a:lnTo>
                  <a:lnTo>
                    <a:pt x="317" y="109"/>
                  </a:lnTo>
                  <a:lnTo>
                    <a:pt x="317" y="119"/>
                  </a:lnTo>
                  <a:lnTo>
                    <a:pt x="327" y="129"/>
                  </a:lnTo>
                  <a:lnTo>
                    <a:pt x="317" y="129"/>
                  </a:lnTo>
                  <a:lnTo>
                    <a:pt x="317" y="139"/>
                  </a:lnTo>
                  <a:lnTo>
                    <a:pt x="317" y="139"/>
                  </a:lnTo>
                  <a:lnTo>
                    <a:pt x="317" y="158"/>
                  </a:lnTo>
                  <a:lnTo>
                    <a:pt x="327" y="169"/>
                  </a:lnTo>
                  <a:lnTo>
                    <a:pt x="337" y="178"/>
                  </a:lnTo>
                  <a:lnTo>
                    <a:pt x="347" y="198"/>
                  </a:lnTo>
                  <a:lnTo>
                    <a:pt x="347" y="198"/>
                  </a:lnTo>
                  <a:lnTo>
                    <a:pt x="357" y="228"/>
                  </a:lnTo>
                  <a:lnTo>
                    <a:pt x="357" y="228"/>
                  </a:lnTo>
                  <a:lnTo>
                    <a:pt x="367" y="248"/>
                  </a:lnTo>
                  <a:lnTo>
                    <a:pt x="367" y="25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6" name="Freeform 584">
              <a:extLst>
                <a:ext uri="{FF2B5EF4-FFF2-40B4-BE49-F238E27FC236}">
                  <a16:creationId xmlns:a16="http://schemas.microsoft.com/office/drawing/2014/main" id="{1281E042-0A6E-A501-8BAA-6339D3669057}"/>
                </a:ext>
              </a:extLst>
            </p:cNvPr>
            <p:cNvSpPr>
              <a:spLocks/>
            </p:cNvSpPr>
            <p:nvPr/>
          </p:nvSpPr>
          <p:spPr bwMode="auto">
            <a:xfrm>
              <a:off x="12461896" y="3939061"/>
              <a:ext cx="440752" cy="430477"/>
            </a:xfrm>
            <a:custGeom>
              <a:avLst/>
              <a:gdLst/>
              <a:ahLst/>
              <a:cxnLst>
                <a:cxn ang="0">
                  <a:pos x="20" y="239"/>
                </a:cxn>
                <a:cxn ang="0">
                  <a:pos x="0" y="229"/>
                </a:cxn>
                <a:cxn ang="0">
                  <a:pos x="0" y="219"/>
                </a:cxn>
                <a:cxn ang="0">
                  <a:pos x="10" y="179"/>
                </a:cxn>
                <a:cxn ang="0">
                  <a:pos x="30" y="159"/>
                </a:cxn>
                <a:cxn ang="0">
                  <a:pos x="69" y="110"/>
                </a:cxn>
                <a:cxn ang="0">
                  <a:pos x="89" y="100"/>
                </a:cxn>
                <a:cxn ang="0">
                  <a:pos x="109" y="110"/>
                </a:cxn>
                <a:cxn ang="0">
                  <a:pos x="119" y="110"/>
                </a:cxn>
                <a:cxn ang="0">
                  <a:pos x="149" y="100"/>
                </a:cxn>
                <a:cxn ang="0">
                  <a:pos x="159" y="80"/>
                </a:cxn>
                <a:cxn ang="0">
                  <a:pos x="169" y="50"/>
                </a:cxn>
                <a:cxn ang="0">
                  <a:pos x="159" y="30"/>
                </a:cxn>
                <a:cxn ang="0">
                  <a:pos x="159" y="20"/>
                </a:cxn>
                <a:cxn ang="0">
                  <a:pos x="179" y="10"/>
                </a:cxn>
                <a:cxn ang="0">
                  <a:pos x="189" y="10"/>
                </a:cxn>
                <a:cxn ang="0">
                  <a:pos x="278" y="10"/>
                </a:cxn>
                <a:cxn ang="0">
                  <a:pos x="298" y="10"/>
                </a:cxn>
                <a:cxn ang="0">
                  <a:pos x="278" y="50"/>
                </a:cxn>
                <a:cxn ang="0">
                  <a:pos x="298" y="100"/>
                </a:cxn>
                <a:cxn ang="0">
                  <a:pos x="308" y="110"/>
                </a:cxn>
                <a:cxn ang="0">
                  <a:pos x="318" y="149"/>
                </a:cxn>
                <a:cxn ang="0">
                  <a:pos x="238" y="140"/>
                </a:cxn>
                <a:cxn ang="0">
                  <a:pos x="229" y="169"/>
                </a:cxn>
                <a:cxn ang="0">
                  <a:pos x="238" y="179"/>
                </a:cxn>
                <a:cxn ang="0">
                  <a:pos x="218" y="189"/>
                </a:cxn>
                <a:cxn ang="0">
                  <a:pos x="218" y="209"/>
                </a:cxn>
                <a:cxn ang="0">
                  <a:pos x="248" y="199"/>
                </a:cxn>
                <a:cxn ang="0">
                  <a:pos x="268" y="199"/>
                </a:cxn>
                <a:cxn ang="0">
                  <a:pos x="298" y="199"/>
                </a:cxn>
                <a:cxn ang="0">
                  <a:pos x="298" y="219"/>
                </a:cxn>
                <a:cxn ang="0">
                  <a:pos x="318" y="229"/>
                </a:cxn>
                <a:cxn ang="0">
                  <a:pos x="328" y="259"/>
                </a:cxn>
                <a:cxn ang="0">
                  <a:pos x="318" y="269"/>
                </a:cxn>
                <a:cxn ang="0">
                  <a:pos x="318" y="278"/>
                </a:cxn>
                <a:cxn ang="0">
                  <a:pos x="288" y="289"/>
                </a:cxn>
                <a:cxn ang="0">
                  <a:pos x="268" y="308"/>
                </a:cxn>
                <a:cxn ang="0">
                  <a:pos x="248" y="298"/>
                </a:cxn>
                <a:cxn ang="0">
                  <a:pos x="248" y="328"/>
                </a:cxn>
                <a:cxn ang="0">
                  <a:pos x="209" y="308"/>
                </a:cxn>
                <a:cxn ang="0">
                  <a:pos x="169" y="298"/>
                </a:cxn>
                <a:cxn ang="0">
                  <a:pos x="139" y="308"/>
                </a:cxn>
                <a:cxn ang="0">
                  <a:pos x="99" y="318"/>
                </a:cxn>
                <a:cxn ang="0">
                  <a:pos x="80" y="269"/>
                </a:cxn>
                <a:cxn ang="0">
                  <a:pos x="50" y="259"/>
                </a:cxn>
              </a:cxnLst>
              <a:rect l="0" t="0" r="r" b="b"/>
              <a:pathLst>
                <a:path w="328" h="328">
                  <a:moveTo>
                    <a:pt x="20" y="239"/>
                  </a:moveTo>
                  <a:lnTo>
                    <a:pt x="20" y="239"/>
                  </a:lnTo>
                  <a:lnTo>
                    <a:pt x="20" y="239"/>
                  </a:lnTo>
                  <a:lnTo>
                    <a:pt x="10" y="239"/>
                  </a:lnTo>
                  <a:lnTo>
                    <a:pt x="10" y="229"/>
                  </a:lnTo>
                  <a:lnTo>
                    <a:pt x="0" y="229"/>
                  </a:lnTo>
                  <a:lnTo>
                    <a:pt x="0" y="229"/>
                  </a:lnTo>
                  <a:lnTo>
                    <a:pt x="0" y="219"/>
                  </a:lnTo>
                  <a:lnTo>
                    <a:pt x="0" y="219"/>
                  </a:lnTo>
                  <a:lnTo>
                    <a:pt x="10" y="209"/>
                  </a:lnTo>
                  <a:lnTo>
                    <a:pt x="0" y="209"/>
                  </a:lnTo>
                  <a:lnTo>
                    <a:pt x="10" y="179"/>
                  </a:lnTo>
                  <a:lnTo>
                    <a:pt x="20" y="179"/>
                  </a:lnTo>
                  <a:lnTo>
                    <a:pt x="30" y="169"/>
                  </a:lnTo>
                  <a:lnTo>
                    <a:pt x="30" y="159"/>
                  </a:lnTo>
                  <a:lnTo>
                    <a:pt x="40" y="149"/>
                  </a:lnTo>
                  <a:lnTo>
                    <a:pt x="69" y="120"/>
                  </a:lnTo>
                  <a:lnTo>
                    <a:pt x="69" y="110"/>
                  </a:lnTo>
                  <a:lnTo>
                    <a:pt x="69" y="110"/>
                  </a:lnTo>
                  <a:lnTo>
                    <a:pt x="89" y="110"/>
                  </a:lnTo>
                  <a:lnTo>
                    <a:pt x="89" y="100"/>
                  </a:lnTo>
                  <a:lnTo>
                    <a:pt x="99" y="100"/>
                  </a:lnTo>
                  <a:lnTo>
                    <a:pt x="109" y="110"/>
                  </a:lnTo>
                  <a:lnTo>
                    <a:pt x="109" y="110"/>
                  </a:lnTo>
                  <a:lnTo>
                    <a:pt x="119" y="110"/>
                  </a:lnTo>
                  <a:lnTo>
                    <a:pt x="119" y="110"/>
                  </a:lnTo>
                  <a:lnTo>
                    <a:pt x="119" y="110"/>
                  </a:lnTo>
                  <a:lnTo>
                    <a:pt x="119" y="110"/>
                  </a:lnTo>
                  <a:lnTo>
                    <a:pt x="139" y="110"/>
                  </a:lnTo>
                  <a:lnTo>
                    <a:pt x="149" y="100"/>
                  </a:lnTo>
                  <a:lnTo>
                    <a:pt x="149" y="80"/>
                  </a:lnTo>
                  <a:lnTo>
                    <a:pt x="159" y="80"/>
                  </a:lnTo>
                  <a:lnTo>
                    <a:pt x="159" y="80"/>
                  </a:lnTo>
                  <a:lnTo>
                    <a:pt x="159" y="70"/>
                  </a:lnTo>
                  <a:lnTo>
                    <a:pt x="159" y="60"/>
                  </a:lnTo>
                  <a:lnTo>
                    <a:pt x="169" y="50"/>
                  </a:lnTo>
                  <a:lnTo>
                    <a:pt x="169" y="40"/>
                  </a:lnTo>
                  <a:lnTo>
                    <a:pt x="159" y="40"/>
                  </a:lnTo>
                  <a:lnTo>
                    <a:pt x="159" y="30"/>
                  </a:lnTo>
                  <a:lnTo>
                    <a:pt x="149" y="20"/>
                  </a:lnTo>
                  <a:lnTo>
                    <a:pt x="159" y="20"/>
                  </a:lnTo>
                  <a:lnTo>
                    <a:pt x="159" y="20"/>
                  </a:lnTo>
                  <a:lnTo>
                    <a:pt x="169" y="20"/>
                  </a:lnTo>
                  <a:lnTo>
                    <a:pt x="169" y="20"/>
                  </a:lnTo>
                  <a:lnTo>
                    <a:pt x="179" y="10"/>
                  </a:lnTo>
                  <a:lnTo>
                    <a:pt x="179" y="10"/>
                  </a:lnTo>
                  <a:lnTo>
                    <a:pt x="179" y="10"/>
                  </a:lnTo>
                  <a:lnTo>
                    <a:pt x="189" y="10"/>
                  </a:lnTo>
                  <a:lnTo>
                    <a:pt x="209" y="0"/>
                  </a:lnTo>
                  <a:lnTo>
                    <a:pt x="229" y="10"/>
                  </a:lnTo>
                  <a:lnTo>
                    <a:pt x="278" y="10"/>
                  </a:lnTo>
                  <a:lnTo>
                    <a:pt x="288" y="10"/>
                  </a:lnTo>
                  <a:lnTo>
                    <a:pt x="298" y="10"/>
                  </a:lnTo>
                  <a:lnTo>
                    <a:pt x="298" y="10"/>
                  </a:lnTo>
                  <a:lnTo>
                    <a:pt x="298" y="30"/>
                  </a:lnTo>
                  <a:lnTo>
                    <a:pt x="288" y="40"/>
                  </a:lnTo>
                  <a:lnTo>
                    <a:pt x="278" y="50"/>
                  </a:lnTo>
                  <a:lnTo>
                    <a:pt x="268" y="60"/>
                  </a:lnTo>
                  <a:lnTo>
                    <a:pt x="288" y="90"/>
                  </a:lnTo>
                  <a:lnTo>
                    <a:pt x="298" y="100"/>
                  </a:lnTo>
                  <a:lnTo>
                    <a:pt x="308" y="100"/>
                  </a:lnTo>
                  <a:lnTo>
                    <a:pt x="308" y="110"/>
                  </a:lnTo>
                  <a:lnTo>
                    <a:pt x="308" y="110"/>
                  </a:lnTo>
                  <a:lnTo>
                    <a:pt x="318" y="149"/>
                  </a:lnTo>
                  <a:lnTo>
                    <a:pt x="318" y="149"/>
                  </a:lnTo>
                  <a:lnTo>
                    <a:pt x="318" y="149"/>
                  </a:lnTo>
                  <a:lnTo>
                    <a:pt x="298" y="140"/>
                  </a:lnTo>
                  <a:lnTo>
                    <a:pt x="278" y="140"/>
                  </a:lnTo>
                  <a:lnTo>
                    <a:pt x="238" y="140"/>
                  </a:lnTo>
                  <a:lnTo>
                    <a:pt x="238" y="159"/>
                  </a:lnTo>
                  <a:lnTo>
                    <a:pt x="238" y="169"/>
                  </a:lnTo>
                  <a:lnTo>
                    <a:pt x="229" y="169"/>
                  </a:lnTo>
                  <a:lnTo>
                    <a:pt x="229" y="179"/>
                  </a:lnTo>
                  <a:lnTo>
                    <a:pt x="229" y="179"/>
                  </a:lnTo>
                  <a:lnTo>
                    <a:pt x="238" y="179"/>
                  </a:lnTo>
                  <a:lnTo>
                    <a:pt x="238" y="179"/>
                  </a:lnTo>
                  <a:lnTo>
                    <a:pt x="229" y="189"/>
                  </a:lnTo>
                  <a:lnTo>
                    <a:pt x="218" y="189"/>
                  </a:lnTo>
                  <a:lnTo>
                    <a:pt x="218" y="189"/>
                  </a:lnTo>
                  <a:lnTo>
                    <a:pt x="218" y="199"/>
                  </a:lnTo>
                  <a:lnTo>
                    <a:pt x="218" y="209"/>
                  </a:lnTo>
                  <a:lnTo>
                    <a:pt x="218" y="209"/>
                  </a:lnTo>
                  <a:lnTo>
                    <a:pt x="248" y="209"/>
                  </a:lnTo>
                  <a:lnTo>
                    <a:pt x="248" y="199"/>
                  </a:lnTo>
                  <a:lnTo>
                    <a:pt x="258" y="199"/>
                  </a:lnTo>
                  <a:lnTo>
                    <a:pt x="258" y="199"/>
                  </a:lnTo>
                  <a:lnTo>
                    <a:pt x="268" y="199"/>
                  </a:lnTo>
                  <a:lnTo>
                    <a:pt x="288" y="199"/>
                  </a:lnTo>
                  <a:lnTo>
                    <a:pt x="298" y="199"/>
                  </a:lnTo>
                  <a:lnTo>
                    <a:pt x="298" y="199"/>
                  </a:lnTo>
                  <a:lnTo>
                    <a:pt x="308" y="209"/>
                  </a:lnTo>
                  <a:lnTo>
                    <a:pt x="298" y="219"/>
                  </a:lnTo>
                  <a:lnTo>
                    <a:pt x="298" y="219"/>
                  </a:lnTo>
                  <a:lnTo>
                    <a:pt x="308" y="229"/>
                  </a:lnTo>
                  <a:lnTo>
                    <a:pt x="308" y="239"/>
                  </a:lnTo>
                  <a:lnTo>
                    <a:pt x="318" y="229"/>
                  </a:lnTo>
                  <a:lnTo>
                    <a:pt x="318" y="239"/>
                  </a:lnTo>
                  <a:lnTo>
                    <a:pt x="318" y="259"/>
                  </a:lnTo>
                  <a:lnTo>
                    <a:pt x="328" y="259"/>
                  </a:lnTo>
                  <a:lnTo>
                    <a:pt x="328" y="259"/>
                  </a:lnTo>
                  <a:lnTo>
                    <a:pt x="328" y="259"/>
                  </a:lnTo>
                  <a:lnTo>
                    <a:pt x="318" y="269"/>
                  </a:lnTo>
                  <a:lnTo>
                    <a:pt x="308" y="278"/>
                  </a:lnTo>
                  <a:lnTo>
                    <a:pt x="308" y="278"/>
                  </a:lnTo>
                  <a:lnTo>
                    <a:pt x="318" y="278"/>
                  </a:lnTo>
                  <a:lnTo>
                    <a:pt x="298" y="298"/>
                  </a:lnTo>
                  <a:lnTo>
                    <a:pt x="288" y="289"/>
                  </a:lnTo>
                  <a:lnTo>
                    <a:pt x="288" y="289"/>
                  </a:lnTo>
                  <a:lnTo>
                    <a:pt x="288" y="298"/>
                  </a:lnTo>
                  <a:lnTo>
                    <a:pt x="278" y="308"/>
                  </a:lnTo>
                  <a:lnTo>
                    <a:pt x="268" y="308"/>
                  </a:lnTo>
                  <a:lnTo>
                    <a:pt x="258" y="318"/>
                  </a:lnTo>
                  <a:lnTo>
                    <a:pt x="258" y="298"/>
                  </a:lnTo>
                  <a:lnTo>
                    <a:pt x="248" y="298"/>
                  </a:lnTo>
                  <a:lnTo>
                    <a:pt x="258" y="328"/>
                  </a:lnTo>
                  <a:lnTo>
                    <a:pt x="248" y="328"/>
                  </a:lnTo>
                  <a:lnTo>
                    <a:pt x="248" y="328"/>
                  </a:lnTo>
                  <a:lnTo>
                    <a:pt x="218" y="318"/>
                  </a:lnTo>
                  <a:lnTo>
                    <a:pt x="209" y="308"/>
                  </a:lnTo>
                  <a:lnTo>
                    <a:pt x="209" y="308"/>
                  </a:lnTo>
                  <a:lnTo>
                    <a:pt x="199" y="289"/>
                  </a:lnTo>
                  <a:lnTo>
                    <a:pt x="179" y="308"/>
                  </a:lnTo>
                  <a:lnTo>
                    <a:pt x="169" y="298"/>
                  </a:lnTo>
                  <a:lnTo>
                    <a:pt x="159" y="289"/>
                  </a:lnTo>
                  <a:lnTo>
                    <a:pt x="139" y="318"/>
                  </a:lnTo>
                  <a:lnTo>
                    <a:pt x="139" y="308"/>
                  </a:lnTo>
                  <a:lnTo>
                    <a:pt x="109" y="308"/>
                  </a:lnTo>
                  <a:lnTo>
                    <a:pt x="109" y="308"/>
                  </a:lnTo>
                  <a:lnTo>
                    <a:pt x="99" y="318"/>
                  </a:lnTo>
                  <a:lnTo>
                    <a:pt x="99" y="318"/>
                  </a:lnTo>
                  <a:lnTo>
                    <a:pt x="80" y="318"/>
                  </a:lnTo>
                  <a:lnTo>
                    <a:pt x="80" y="269"/>
                  </a:lnTo>
                  <a:lnTo>
                    <a:pt x="69" y="269"/>
                  </a:lnTo>
                  <a:lnTo>
                    <a:pt x="50" y="259"/>
                  </a:lnTo>
                  <a:lnTo>
                    <a:pt x="50" y="259"/>
                  </a:lnTo>
                  <a:lnTo>
                    <a:pt x="40" y="259"/>
                  </a:lnTo>
                  <a:lnTo>
                    <a:pt x="20" y="23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7" name="Freeform 586">
              <a:extLst>
                <a:ext uri="{FF2B5EF4-FFF2-40B4-BE49-F238E27FC236}">
                  <a16:creationId xmlns:a16="http://schemas.microsoft.com/office/drawing/2014/main" id="{E9DB6FF6-E6FF-B262-A03E-61CF68D15E78}"/>
                </a:ext>
              </a:extLst>
            </p:cNvPr>
            <p:cNvSpPr>
              <a:spLocks/>
            </p:cNvSpPr>
            <p:nvPr/>
          </p:nvSpPr>
          <p:spPr bwMode="auto">
            <a:xfrm>
              <a:off x="13049117" y="3130604"/>
              <a:ext cx="26875" cy="39373"/>
            </a:xfrm>
            <a:custGeom>
              <a:avLst/>
              <a:gdLst/>
              <a:ahLst/>
              <a:cxnLst>
                <a:cxn ang="0">
                  <a:pos x="20" y="10"/>
                </a:cxn>
                <a:cxn ang="0">
                  <a:pos x="20" y="20"/>
                </a:cxn>
                <a:cxn ang="0">
                  <a:pos x="10" y="30"/>
                </a:cxn>
                <a:cxn ang="0">
                  <a:pos x="0" y="30"/>
                </a:cxn>
                <a:cxn ang="0">
                  <a:pos x="0" y="30"/>
                </a:cxn>
                <a:cxn ang="0">
                  <a:pos x="0" y="20"/>
                </a:cxn>
                <a:cxn ang="0">
                  <a:pos x="0" y="10"/>
                </a:cxn>
                <a:cxn ang="0">
                  <a:pos x="0" y="10"/>
                </a:cxn>
                <a:cxn ang="0">
                  <a:pos x="10" y="0"/>
                </a:cxn>
                <a:cxn ang="0">
                  <a:pos x="10" y="0"/>
                </a:cxn>
                <a:cxn ang="0">
                  <a:pos x="20" y="0"/>
                </a:cxn>
                <a:cxn ang="0">
                  <a:pos x="20" y="10"/>
                </a:cxn>
              </a:cxnLst>
              <a:rect l="0" t="0" r="r" b="b"/>
              <a:pathLst>
                <a:path w="20" h="30">
                  <a:moveTo>
                    <a:pt x="20" y="10"/>
                  </a:moveTo>
                  <a:lnTo>
                    <a:pt x="20" y="20"/>
                  </a:lnTo>
                  <a:lnTo>
                    <a:pt x="10" y="30"/>
                  </a:lnTo>
                  <a:lnTo>
                    <a:pt x="0" y="30"/>
                  </a:lnTo>
                  <a:lnTo>
                    <a:pt x="0" y="30"/>
                  </a:lnTo>
                  <a:lnTo>
                    <a:pt x="0" y="20"/>
                  </a:lnTo>
                  <a:lnTo>
                    <a:pt x="0" y="10"/>
                  </a:lnTo>
                  <a:lnTo>
                    <a:pt x="0" y="10"/>
                  </a:lnTo>
                  <a:lnTo>
                    <a:pt x="10" y="0"/>
                  </a:lnTo>
                  <a:lnTo>
                    <a:pt x="10" y="0"/>
                  </a:lnTo>
                  <a:lnTo>
                    <a:pt x="20" y="0"/>
                  </a:lnTo>
                  <a:lnTo>
                    <a:pt x="2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 name="Freeform 587">
              <a:extLst>
                <a:ext uri="{FF2B5EF4-FFF2-40B4-BE49-F238E27FC236}">
                  <a16:creationId xmlns:a16="http://schemas.microsoft.com/office/drawing/2014/main" id="{2994049E-661B-5B2A-CEB1-D69A4176A902}"/>
                </a:ext>
              </a:extLst>
            </p:cNvPr>
            <p:cNvSpPr>
              <a:spLocks/>
            </p:cNvSpPr>
            <p:nvPr/>
          </p:nvSpPr>
          <p:spPr bwMode="auto">
            <a:xfrm>
              <a:off x="12715866" y="3261847"/>
              <a:ext cx="587221" cy="312359"/>
            </a:xfrm>
            <a:custGeom>
              <a:avLst/>
              <a:gdLst/>
              <a:ahLst/>
              <a:cxnLst>
                <a:cxn ang="0">
                  <a:pos x="327" y="198"/>
                </a:cxn>
                <a:cxn ang="0">
                  <a:pos x="308" y="198"/>
                </a:cxn>
                <a:cxn ang="0">
                  <a:pos x="308" y="188"/>
                </a:cxn>
                <a:cxn ang="0">
                  <a:pos x="288" y="198"/>
                </a:cxn>
                <a:cxn ang="0">
                  <a:pos x="278" y="188"/>
                </a:cxn>
                <a:cxn ang="0">
                  <a:pos x="238" y="188"/>
                </a:cxn>
                <a:cxn ang="0">
                  <a:pos x="228" y="188"/>
                </a:cxn>
                <a:cxn ang="0">
                  <a:pos x="218" y="208"/>
                </a:cxn>
                <a:cxn ang="0">
                  <a:pos x="218" y="228"/>
                </a:cxn>
                <a:cxn ang="0">
                  <a:pos x="189" y="218"/>
                </a:cxn>
                <a:cxn ang="0">
                  <a:pos x="159" y="228"/>
                </a:cxn>
                <a:cxn ang="0">
                  <a:pos x="159" y="208"/>
                </a:cxn>
                <a:cxn ang="0">
                  <a:pos x="149" y="198"/>
                </a:cxn>
                <a:cxn ang="0">
                  <a:pos x="129" y="198"/>
                </a:cxn>
                <a:cxn ang="0">
                  <a:pos x="109" y="208"/>
                </a:cxn>
                <a:cxn ang="0">
                  <a:pos x="109" y="198"/>
                </a:cxn>
                <a:cxn ang="0">
                  <a:pos x="99" y="198"/>
                </a:cxn>
                <a:cxn ang="0">
                  <a:pos x="99" y="179"/>
                </a:cxn>
                <a:cxn ang="0">
                  <a:pos x="79" y="169"/>
                </a:cxn>
                <a:cxn ang="0">
                  <a:pos x="69" y="149"/>
                </a:cxn>
                <a:cxn ang="0">
                  <a:pos x="40" y="139"/>
                </a:cxn>
                <a:cxn ang="0">
                  <a:pos x="40" y="119"/>
                </a:cxn>
                <a:cxn ang="0">
                  <a:pos x="20" y="109"/>
                </a:cxn>
                <a:cxn ang="0">
                  <a:pos x="40" y="59"/>
                </a:cxn>
                <a:cxn ang="0">
                  <a:pos x="40" y="39"/>
                </a:cxn>
                <a:cxn ang="0">
                  <a:pos x="49" y="59"/>
                </a:cxn>
                <a:cxn ang="0">
                  <a:pos x="79" y="59"/>
                </a:cxn>
                <a:cxn ang="0">
                  <a:pos x="149" y="39"/>
                </a:cxn>
                <a:cxn ang="0">
                  <a:pos x="208" y="19"/>
                </a:cxn>
                <a:cxn ang="0">
                  <a:pos x="238" y="19"/>
                </a:cxn>
                <a:cxn ang="0">
                  <a:pos x="288" y="19"/>
                </a:cxn>
                <a:cxn ang="0">
                  <a:pos x="308" y="19"/>
                </a:cxn>
                <a:cxn ang="0">
                  <a:pos x="357" y="19"/>
                </a:cxn>
                <a:cxn ang="0">
                  <a:pos x="427" y="0"/>
                </a:cxn>
                <a:cxn ang="0">
                  <a:pos x="427" y="0"/>
                </a:cxn>
                <a:cxn ang="0">
                  <a:pos x="417" y="0"/>
                </a:cxn>
                <a:cxn ang="0">
                  <a:pos x="397" y="19"/>
                </a:cxn>
                <a:cxn ang="0">
                  <a:pos x="397" y="59"/>
                </a:cxn>
                <a:cxn ang="0">
                  <a:pos x="397" y="69"/>
                </a:cxn>
                <a:cxn ang="0">
                  <a:pos x="407" y="79"/>
                </a:cxn>
                <a:cxn ang="0">
                  <a:pos x="407" y="109"/>
                </a:cxn>
                <a:cxn ang="0">
                  <a:pos x="407" y="149"/>
                </a:cxn>
                <a:cxn ang="0">
                  <a:pos x="417" y="188"/>
                </a:cxn>
                <a:cxn ang="0">
                  <a:pos x="417" y="198"/>
                </a:cxn>
                <a:cxn ang="0">
                  <a:pos x="397" y="198"/>
                </a:cxn>
                <a:cxn ang="0">
                  <a:pos x="397" y="208"/>
                </a:cxn>
                <a:cxn ang="0">
                  <a:pos x="387" y="218"/>
                </a:cxn>
                <a:cxn ang="0">
                  <a:pos x="367" y="238"/>
                </a:cxn>
                <a:cxn ang="0">
                  <a:pos x="357" y="238"/>
                </a:cxn>
                <a:cxn ang="0">
                  <a:pos x="367" y="208"/>
                </a:cxn>
                <a:cxn ang="0">
                  <a:pos x="347" y="208"/>
                </a:cxn>
                <a:cxn ang="0">
                  <a:pos x="338" y="198"/>
                </a:cxn>
              </a:cxnLst>
              <a:rect l="0" t="0" r="r" b="b"/>
              <a:pathLst>
                <a:path w="437" h="238">
                  <a:moveTo>
                    <a:pt x="338" y="198"/>
                  </a:moveTo>
                  <a:lnTo>
                    <a:pt x="338" y="198"/>
                  </a:lnTo>
                  <a:lnTo>
                    <a:pt x="327" y="198"/>
                  </a:lnTo>
                  <a:lnTo>
                    <a:pt x="327" y="198"/>
                  </a:lnTo>
                  <a:lnTo>
                    <a:pt x="318" y="188"/>
                  </a:lnTo>
                  <a:lnTo>
                    <a:pt x="308" y="198"/>
                  </a:lnTo>
                  <a:lnTo>
                    <a:pt x="308" y="198"/>
                  </a:lnTo>
                  <a:lnTo>
                    <a:pt x="308" y="188"/>
                  </a:lnTo>
                  <a:lnTo>
                    <a:pt x="308" y="188"/>
                  </a:lnTo>
                  <a:lnTo>
                    <a:pt x="298" y="188"/>
                  </a:lnTo>
                  <a:lnTo>
                    <a:pt x="298" y="198"/>
                  </a:lnTo>
                  <a:lnTo>
                    <a:pt x="288" y="198"/>
                  </a:lnTo>
                  <a:lnTo>
                    <a:pt x="288" y="188"/>
                  </a:lnTo>
                  <a:lnTo>
                    <a:pt x="288" y="188"/>
                  </a:lnTo>
                  <a:lnTo>
                    <a:pt x="278" y="188"/>
                  </a:lnTo>
                  <a:lnTo>
                    <a:pt x="258" y="188"/>
                  </a:lnTo>
                  <a:lnTo>
                    <a:pt x="248" y="188"/>
                  </a:lnTo>
                  <a:lnTo>
                    <a:pt x="238" y="188"/>
                  </a:lnTo>
                  <a:lnTo>
                    <a:pt x="238" y="188"/>
                  </a:lnTo>
                  <a:lnTo>
                    <a:pt x="238" y="188"/>
                  </a:lnTo>
                  <a:lnTo>
                    <a:pt x="228" y="188"/>
                  </a:lnTo>
                  <a:lnTo>
                    <a:pt x="218" y="188"/>
                  </a:lnTo>
                  <a:lnTo>
                    <a:pt x="218" y="198"/>
                  </a:lnTo>
                  <a:lnTo>
                    <a:pt x="218" y="208"/>
                  </a:lnTo>
                  <a:lnTo>
                    <a:pt x="218" y="228"/>
                  </a:lnTo>
                  <a:lnTo>
                    <a:pt x="218" y="228"/>
                  </a:lnTo>
                  <a:lnTo>
                    <a:pt x="218" y="228"/>
                  </a:lnTo>
                  <a:lnTo>
                    <a:pt x="208" y="228"/>
                  </a:lnTo>
                  <a:lnTo>
                    <a:pt x="208" y="218"/>
                  </a:lnTo>
                  <a:lnTo>
                    <a:pt x="189" y="218"/>
                  </a:lnTo>
                  <a:lnTo>
                    <a:pt x="189" y="218"/>
                  </a:lnTo>
                  <a:lnTo>
                    <a:pt x="178" y="218"/>
                  </a:lnTo>
                  <a:lnTo>
                    <a:pt x="159" y="228"/>
                  </a:lnTo>
                  <a:lnTo>
                    <a:pt x="159" y="218"/>
                  </a:lnTo>
                  <a:lnTo>
                    <a:pt x="159" y="208"/>
                  </a:lnTo>
                  <a:lnTo>
                    <a:pt x="159" y="208"/>
                  </a:lnTo>
                  <a:lnTo>
                    <a:pt x="159" y="198"/>
                  </a:lnTo>
                  <a:lnTo>
                    <a:pt x="159" y="198"/>
                  </a:lnTo>
                  <a:lnTo>
                    <a:pt x="149" y="198"/>
                  </a:lnTo>
                  <a:lnTo>
                    <a:pt x="149" y="198"/>
                  </a:lnTo>
                  <a:lnTo>
                    <a:pt x="139" y="198"/>
                  </a:lnTo>
                  <a:lnTo>
                    <a:pt x="129" y="198"/>
                  </a:lnTo>
                  <a:lnTo>
                    <a:pt x="119" y="208"/>
                  </a:lnTo>
                  <a:lnTo>
                    <a:pt x="109" y="208"/>
                  </a:lnTo>
                  <a:lnTo>
                    <a:pt x="109" y="208"/>
                  </a:lnTo>
                  <a:lnTo>
                    <a:pt x="109" y="208"/>
                  </a:lnTo>
                  <a:lnTo>
                    <a:pt x="109" y="208"/>
                  </a:lnTo>
                  <a:lnTo>
                    <a:pt x="109" y="198"/>
                  </a:lnTo>
                  <a:lnTo>
                    <a:pt x="109" y="188"/>
                  </a:lnTo>
                  <a:lnTo>
                    <a:pt x="109" y="188"/>
                  </a:lnTo>
                  <a:lnTo>
                    <a:pt x="99" y="198"/>
                  </a:lnTo>
                  <a:lnTo>
                    <a:pt x="99" y="188"/>
                  </a:lnTo>
                  <a:lnTo>
                    <a:pt x="99" y="188"/>
                  </a:lnTo>
                  <a:lnTo>
                    <a:pt x="99" y="179"/>
                  </a:lnTo>
                  <a:lnTo>
                    <a:pt x="89" y="179"/>
                  </a:lnTo>
                  <a:lnTo>
                    <a:pt x="89" y="179"/>
                  </a:lnTo>
                  <a:lnTo>
                    <a:pt x="79" y="169"/>
                  </a:lnTo>
                  <a:lnTo>
                    <a:pt x="79" y="169"/>
                  </a:lnTo>
                  <a:lnTo>
                    <a:pt x="89" y="169"/>
                  </a:lnTo>
                  <a:lnTo>
                    <a:pt x="69" y="149"/>
                  </a:lnTo>
                  <a:lnTo>
                    <a:pt x="49" y="139"/>
                  </a:lnTo>
                  <a:lnTo>
                    <a:pt x="49" y="139"/>
                  </a:lnTo>
                  <a:lnTo>
                    <a:pt x="40" y="139"/>
                  </a:lnTo>
                  <a:lnTo>
                    <a:pt x="40" y="129"/>
                  </a:lnTo>
                  <a:lnTo>
                    <a:pt x="40" y="129"/>
                  </a:lnTo>
                  <a:lnTo>
                    <a:pt x="40" y="119"/>
                  </a:lnTo>
                  <a:lnTo>
                    <a:pt x="29" y="109"/>
                  </a:lnTo>
                  <a:lnTo>
                    <a:pt x="29" y="109"/>
                  </a:lnTo>
                  <a:lnTo>
                    <a:pt x="20" y="109"/>
                  </a:lnTo>
                  <a:lnTo>
                    <a:pt x="0" y="79"/>
                  </a:lnTo>
                  <a:lnTo>
                    <a:pt x="20" y="69"/>
                  </a:lnTo>
                  <a:lnTo>
                    <a:pt x="40" y="59"/>
                  </a:lnTo>
                  <a:lnTo>
                    <a:pt x="40" y="59"/>
                  </a:lnTo>
                  <a:lnTo>
                    <a:pt x="40" y="59"/>
                  </a:lnTo>
                  <a:lnTo>
                    <a:pt x="40" y="39"/>
                  </a:lnTo>
                  <a:lnTo>
                    <a:pt x="40" y="39"/>
                  </a:lnTo>
                  <a:lnTo>
                    <a:pt x="49" y="49"/>
                  </a:lnTo>
                  <a:lnTo>
                    <a:pt x="49" y="59"/>
                  </a:lnTo>
                  <a:lnTo>
                    <a:pt x="59" y="59"/>
                  </a:lnTo>
                  <a:lnTo>
                    <a:pt x="69" y="59"/>
                  </a:lnTo>
                  <a:lnTo>
                    <a:pt x="79" y="59"/>
                  </a:lnTo>
                  <a:lnTo>
                    <a:pt x="99" y="59"/>
                  </a:lnTo>
                  <a:lnTo>
                    <a:pt x="139" y="39"/>
                  </a:lnTo>
                  <a:lnTo>
                    <a:pt x="149" y="39"/>
                  </a:lnTo>
                  <a:lnTo>
                    <a:pt x="159" y="39"/>
                  </a:lnTo>
                  <a:lnTo>
                    <a:pt x="198" y="30"/>
                  </a:lnTo>
                  <a:lnTo>
                    <a:pt x="208" y="19"/>
                  </a:lnTo>
                  <a:lnTo>
                    <a:pt x="218" y="19"/>
                  </a:lnTo>
                  <a:lnTo>
                    <a:pt x="218" y="19"/>
                  </a:lnTo>
                  <a:lnTo>
                    <a:pt x="238" y="19"/>
                  </a:lnTo>
                  <a:lnTo>
                    <a:pt x="278" y="10"/>
                  </a:lnTo>
                  <a:lnTo>
                    <a:pt x="278" y="10"/>
                  </a:lnTo>
                  <a:lnTo>
                    <a:pt x="288" y="19"/>
                  </a:lnTo>
                  <a:lnTo>
                    <a:pt x="288" y="19"/>
                  </a:lnTo>
                  <a:lnTo>
                    <a:pt x="298" y="19"/>
                  </a:lnTo>
                  <a:lnTo>
                    <a:pt x="308" y="19"/>
                  </a:lnTo>
                  <a:lnTo>
                    <a:pt x="308" y="10"/>
                  </a:lnTo>
                  <a:lnTo>
                    <a:pt x="338" y="10"/>
                  </a:lnTo>
                  <a:lnTo>
                    <a:pt x="357" y="19"/>
                  </a:lnTo>
                  <a:lnTo>
                    <a:pt x="367" y="19"/>
                  </a:lnTo>
                  <a:lnTo>
                    <a:pt x="417" y="0"/>
                  </a:lnTo>
                  <a:lnTo>
                    <a:pt x="427" y="0"/>
                  </a:lnTo>
                  <a:lnTo>
                    <a:pt x="437" y="0"/>
                  </a:lnTo>
                  <a:lnTo>
                    <a:pt x="437" y="0"/>
                  </a:lnTo>
                  <a:lnTo>
                    <a:pt x="427" y="0"/>
                  </a:lnTo>
                  <a:lnTo>
                    <a:pt x="427" y="0"/>
                  </a:lnTo>
                  <a:lnTo>
                    <a:pt x="427" y="0"/>
                  </a:lnTo>
                  <a:lnTo>
                    <a:pt x="417" y="0"/>
                  </a:lnTo>
                  <a:lnTo>
                    <a:pt x="397" y="10"/>
                  </a:lnTo>
                  <a:lnTo>
                    <a:pt x="397" y="10"/>
                  </a:lnTo>
                  <a:lnTo>
                    <a:pt x="397" y="19"/>
                  </a:lnTo>
                  <a:lnTo>
                    <a:pt x="397" y="30"/>
                  </a:lnTo>
                  <a:lnTo>
                    <a:pt x="387" y="49"/>
                  </a:lnTo>
                  <a:lnTo>
                    <a:pt x="397" y="59"/>
                  </a:lnTo>
                  <a:lnTo>
                    <a:pt x="397" y="59"/>
                  </a:lnTo>
                  <a:lnTo>
                    <a:pt x="397" y="59"/>
                  </a:lnTo>
                  <a:lnTo>
                    <a:pt x="397" y="69"/>
                  </a:lnTo>
                  <a:lnTo>
                    <a:pt x="397" y="79"/>
                  </a:lnTo>
                  <a:lnTo>
                    <a:pt x="397" y="79"/>
                  </a:lnTo>
                  <a:lnTo>
                    <a:pt x="407" y="79"/>
                  </a:lnTo>
                  <a:lnTo>
                    <a:pt x="397" y="89"/>
                  </a:lnTo>
                  <a:lnTo>
                    <a:pt x="397" y="99"/>
                  </a:lnTo>
                  <a:lnTo>
                    <a:pt x="407" y="109"/>
                  </a:lnTo>
                  <a:lnTo>
                    <a:pt x="407" y="129"/>
                  </a:lnTo>
                  <a:lnTo>
                    <a:pt x="407" y="139"/>
                  </a:lnTo>
                  <a:lnTo>
                    <a:pt x="407" y="149"/>
                  </a:lnTo>
                  <a:lnTo>
                    <a:pt x="417" y="159"/>
                  </a:lnTo>
                  <a:lnTo>
                    <a:pt x="417" y="169"/>
                  </a:lnTo>
                  <a:lnTo>
                    <a:pt x="417" y="188"/>
                  </a:lnTo>
                  <a:lnTo>
                    <a:pt x="427" y="198"/>
                  </a:lnTo>
                  <a:lnTo>
                    <a:pt x="417" y="198"/>
                  </a:lnTo>
                  <a:lnTo>
                    <a:pt x="417" y="198"/>
                  </a:lnTo>
                  <a:lnTo>
                    <a:pt x="407" y="198"/>
                  </a:lnTo>
                  <a:lnTo>
                    <a:pt x="397" y="198"/>
                  </a:lnTo>
                  <a:lnTo>
                    <a:pt x="397" y="198"/>
                  </a:lnTo>
                  <a:lnTo>
                    <a:pt x="397" y="198"/>
                  </a:lnTo>
                  <a:lnTo>
                    <a:pt x="397" y="198"/>
                  </a:lnTo>
                  <a:lnTo>
                    <a:pt x="397" y="208"/>
                  </a:lnTo>
                  <a:lnTo>
                    <a:pt x="397" y="208"/>
                  </a:lnTo>
                  <a:lnTo>
                    <a:pt x="387" y="208"/>
                  </a:lnTo>
                  <a:lnTo>
                    <a:pt x="387" y="218"/>
                  </a:lnTo>
                  <a:lnTo>
                    <a:pt x="387" y="228"/>
                  </a:lnTo>
                  <a:lnTo>
                    <a:pt x="377" y="228"/>
                  </a:lnTo>
                  <a:lnTo>
                    <a:pt x="367" y="238"/>
                  </a:lnTo>
                  <a:lnTo>
                    <a:pt x="367" y="238"/>
                  </a:lnTo>
                  <a:lnTo>
                    <a:pt x="357" y="238"/>
                  </a:lnTo>
                  <a:lnTo>
                    <a:pt x="357" y="238"/>
                  </a:lnTo>
                  <a:lnTo>
                    <a:pt x="367" y="218"/>
                  </a:lnTo>
                  <a:lnTo>
                    <a:pt x="367" y="218"/>
                  </a:lnTo>
                  <a:lnTo>
                    <a:pt x="367" y="208"/>
                  </a:lnTo>
                  <a:lnTo>
                    <a:pt x="357" y="218"/>
                  </a:lnTo>
                  <a:lnTo>
                    <a:pt x="357" y="218"/>
                  </a:lnTo>
                  <a:lnTo>
                    <a:pt x="347" y="208"/>
                  </a:lnTo>
                  <a:lnTo>
                    <a:pt x="347" y="198"/>
                  </a:lnTo>
                  <a:lnTo>
                    <a:pt x="347" y="198"/>
                  </a:lnTo>
                  <a:lnTo>
                    <a:pt x="338" y="198"/>
                  </a:lnTo>
                  <a:lnTo>
                    <a:pt x="338" y="19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 name="Freeform 588">
              <a:extLst>
                <a:ext uri="{FF2B5EF4-FFF2-40B4-BE49-F238E27FC236}">
                  <a16:creationId xmlns:a16="http://schemas.microsoft.com/office/drawing/2014/main" id="{5C3A6C9B-AFE5-9E93-851E-C808ADF5587F}"/>
                </a:ext>
              </a:extLst>
            </p:cNvPr>
            <p:cNvSpPr>
              <a:spLocks/>
            </p:cNvSpPr>
            <p:nvPr/>
          </p:nvSpPr>
          <p:spPr bwMode="auto">
            <a:xfrm>
              <a:off x="13008804" y="3666075"/>
              <a:ext cx="373564" cy="351731"/>
            </a:xfrm>
            <a:custGeom>
              <a:avLst/>
              <a:gdLst/>
              <a:ahLst/>
              <a:cxnLst>
                <a:cxn ang="0">
                  <a:pos x="249" y="79"/>
                </a:cxn>
                <a:cxn ang="0">
                  <a:pos x="268" y="79"/>
                </a:cxn>
                <a:cxn ang="0">
                  <a:pos x="268" y="109"/>
                </a:cxn>
                <a:cxn ang="0">
                  <a:pos x="268" y="119"/>
                </a:cxn>
                <a:cxn ang="0">
                  <a:pos x="249" y="149"/>
                </a:cxn>
                <a:cxn ang="0">
                  <a:pos x="239" y="149"/>
                </a:cxn>
                <a:cxn ang="0">
                  <a:pos x="229" y="169"/>
                </a:cxn>
                <a:cxn ang="0">
                  <a:pos x="219" y="188"/>
                </a:cxn>
                <a:cxn ang="0">
                  <a:pos x="209" y="218"/>
                </a:cxn>
                <a:cxn ang="0">
                  <a:pos x="189" y="238"/>
                </a:cxn>
                <a:cxn ang="0">
                  <a:pos x="169" y="238"/>
                </a:cxn>
                <a:cxn ang="0">
                  <a:pos x="159" y="248"/>
                </a:cxn>
                <a:cxn ang="0">
                  <a:pos x="129" y="268"/>
                </a:cxn>
                <a:cxn ang="0">
                  <a:pos x="109" y="248"/>
                </a:cxn>
                <a:cxn ang="0">
                  <a:pos x="129" y="198"/>
                </a:cxn>
                <a:cxn ang="0">
                  <a:pos x="120" y="198"/>
                </a:cxn>
                <a:cxn ang="0">
                  <a:pos x="100" y="179"/>
                </a:cxn>
                <a:cxn ang="0">
                  <a:pos x="80" y="149"/>
                </a:cxn>
                <a:cxn ang="0">
                  <a:pos x="80" y="139"/>
                </a:cxn>
                <a:cxn ang="0">
                  <a:pos x="80" y="129"/>
                </a:cxn>
                <a:cxn ang="0">
                  <a:pos x="30" y="89"/>
                </a:cxn>
                <a:cxn ang="0">
                  <a:pos x="10" y="79"/>
                </a:cxn>
                <a:cxn ang="0">
                  <a:pos x="0" y="59"/>
                </a:cxn>
                <a:cxn ang="0">
                  <a:pos x="10" y="59"/>
                </a:cxn>
                <a:cxn ang="0">
                  <a:pos x="20" y="59"/>
                </a:cxn>
                <a:cxn ang="0">
                  <a:pos x="40" y="49"/>
                </a:cxn>
                <a:cxn ang="0">
                  <a:pos x="70" y="49"/>
                </a:cxn>
                <a:cxn ang="0">
                  <a:pos x="109" y="30"/>
                </a:cxn>
                <a:cxn ang="0">
                  <a:pos x="129" y="20"/>
                </a:cxn>
                <a:cxn ang="0">
                  <a:pos x="159" y="10"/>
                </a:cxn>
                <a:cxn ang="0">
                  <a:pos x="169" y="20"/>
                </a:cxn>
                <a:cxn ang="0">
                  <a:pos x="179" y="10"/>
                </a:cxn>
                <a:cxn ang="0">
                  <a:pos x="189" y="10"/>
                </a:cxn>
                <a:cxn ang="0">
                  <a:pos x="209" y="20"/>
                </a:cxn>
                <a:cxn ang="0">
                  <a:pos x="219" y="0"/>
                </a:cxn>
                <a:cxn ang="0">
                  <a:pos x="229" y="0"/>
                </a:cxn>
                <a:cxn ang="0">
                  <a:pos x="258" y="10"/>
                </a:cxn>
                <a:cxn ang="0">
                  <a:pos x="258" y="20"/>
                </a:cxn>
                <a:cxn ang="0">
                  <a:pos x="278" y="30"/>
                </a:cxn>
                <a:cxn ang="0">
                  <a:pos x="278" y="30"/>
                </a:cxn>
                <a:cxn ang="0">
                  <a:pos x="268" y="49"/>
                </a:cxn>
                <a:cxn ang="0">
                  <a:pos x="258" y="59"/>
                </a:cxn>
                <a:cxn ang="0">
                  <a:pos x="258" y="59"/>
                </a:cxn>
                <a:cxn ang="0">
                  <a:pos x="249" y="69"/>
                </a:cxn>
              </a:cxnLst>
              <a:rect l="0" t="0" r="r" b="b"/>
              <a:pathLst>
                <a:path w="278" h="268">
                  <a:moveTo>
                    <a:pt x="249" y="69"/>
                  </a:moveTo>
                  <a:lnTo>
                    <a:pt x="249" y="79"/>
                  </a:lnTo>
                  <a:lnTo>
                    <a:pt x="258" y="79"/>
                  </a:lnTo>
                  <a:lnTo>
                    <a:pt x="268" y="79"/>
                  </a:lnTo>
                  <a:lnTo>
                    <a:pt x="268" y="99"/>
                  </a:lnTo>
                  <a:lnTo>
                    <a:pt x="268" y="109"/>
                  </a:lnTo>
                  <a:lnTo>
                    <a:pt x="268" y="109"/>
                  </a:lnTo>
                  <a:lnTo>
                    <a:pt x="268" y="119"/>
                  </a:lnTo>
                  <a:lnTo>
                    <a:pt x="258" y="139"/>
                  </a:lnTo>
                  <a:lnTo>
                    <a:pt x="249" y="149"/>
                  </a:lnTo>
                  <a:lnTo>
                    <a:pt x="239" y="149"/>
                  </a:lnTo>
                  <a:lnTo>
                    <a:pt x="239" y="149"/>
                  </a:lnTo>
                  <a:lnTo>
                    <a:pt x="229" y="159"/>
                  </a:lnTo>
                  <a:lnTo>
                    <a:pt x="229" y="169"/>
                  </a:lnTo>
                  <a:lnTo>
                    <a:pt x="219" y="188"/>
                  </a:lnTo>
                  <a:lnTo>
                    <a:pt x="219" y="188"/>
                  </a:lnTo>
                  <a:lnTo>
                    <a:pt x="209" y="198"/>
                  </a:lnTo>
                  <a:lnTo>
                    <a:pt x="209" y="218"/>
                  </a:lnTo>
                  <a:lnTo>
                    <a:pt x="209" y="238"/>
                  </a:lnTo>
                  <a:lnTo>
                    <a:pt x="189" y="238"/>
                  </a:lnTo>
                  <a:lnTo>
                    <a:pt x="169" y="258"/>
                  </a:lnTo>
                  <a:lnTo>
                    <a:pt x="169" y="238"/>
                  </a:lnTo>
                  <a:lnTo>
                    <a:pt x="169" y="238"/>
                  </a:lnTo>
                  <a:lnTo>
                    <a:pt x="159" y="248"/>
                  </a:lnTo>
                  <a:lnTo>
                    <a:pt x="139" y="268"/>
                  </a:lnTo>
                  <a:lnTo>
                    <a:pt x="129" y="268"/>
                  </a:lnTo>
                  <a:lnTo>
                    <a:pt x="129" y="258"/>
                  </a:lnTo>
                  <a:lnTo>
                    <a:pt x="109" y="248"/>
                  </a:lnTo>
                  <a:lnTo>
                    <a:pt x="120" y="208"/>
                  </a:lnTo>
                  <a:lnTo>
                    <a:pt x="129" y="198"/>
                  </a:lnTo>
                  <a:lnTo>
                    <a:pt x="120" y="198"/>
                  </a:lnTo>
                  <a:lnTo>
                    <a:pt x="120" y="198"/>
                  </a:lnTo>
                  <a:lnTo>
                    <a:pt x="109" y="188"/>
                  </a:lnTo>
                  <a:lnTo>
                    <a:pt x="100" y="179"/>
                  </a:lnTo>
                  <a:lnTo>
                    <a:pt x="90" y="159"/>
                  </a:lnTo>
                  <a:lnTo>
                    <a:pt x="80" y="149"/>
                  </a:lnTo>
                  <a:lnTo>
                    <a:pt x="80" y="149"/>
                  </a:lnTo>
                  <a:lnTo>
                    <a:pt x="80" y="139"/>
                  </a:lnTo>
                  <a:lnTo>
                    <a:pt x="80" y="139"/>
                  </a:lnTo>
                  <a:lnTo>
                    <a:pt x="80" y="129"/>
                  </a:lnTo>
                  <a:lnTo>
                    <a:pt x="90" y="119"/>
                  </a:lnTo>
                  <a:lnTo>
                    <a:pt x="30" y="89"/>
                  </a:lnTo>
                  <a:lnTo>
                    <a:pt x="10" y="89"/>
                  </a:lnTo>
                  <a:lnTo>
                    <a:pt x="10" y="79"/>
                  </a:lnTo>
                  <a:lnTo>
                    <a:pt x="0" y="59"/>
                  </a:lnTo>
                  <a:lnTo>
                    <a:pt x="0" y="59"/>
                  </a:lnTo>
                  <a:lnTo>
                    <a:pt x="10" y="59"/>
                  </a:lnTo>
                  <a:lnTo>
                    <a:pt x="10" y="59"/>
                  </a:lnTo>
                  <a:lnTo>
                    <a:pt x="10" y="59"/>
                  </a:lnTo>
                  <a:lnTo>
                    <a:pt x="20" y="59"/>
                  </a:lnTo>
                  <a:lnTo>
                    <a:pt x="30" y="59"/>
                  </a:lnTo>
                  <a:lnTo>
                    <a:pt x="40" y="49"/>
                  </a:lnTo>
                  <a:lnTo>
                    <a:pt x="50" y="49"/>
                  </a:lnTo>
                  <a:lnTo>
                    <a:pt x="70" y="49"/>
                  </a:lnTo>
                  <a:lnTo>
                    <a:pt x="100" y="30"/>
                  </a:lnTo>
                  <a:lnTo>
                    <a:pt x="109" y="30"/>
                  </a:lnTo>
                  <a:lnTo>
                    <a:pt x="120" y="20"/>
                  </a:lnTo>
                  <a:lnTo>
                    <a:pt x="129" y="20"/>
                  </a:lnTo>
                  <a:lnTo>
                    <a:pt x="139" y="20"/>
                  </a:lnTo>
                  <a:lnTo>
                    <a:pt x="159" y="10"/>
                  </a:lnTo>
                  <a:lnTo>
                    <a:pt x="159" y="20"/>
                  </a:lnTo>
                  <a:lnTo>
                    <a:pt x="169" y="20"/>
                  </a:lnTo>
                  <a:lnTo>
                    <a:pt x="169" y="10"/>
                  </a:lnTo>
                  <a:lnTo>
                    <a:pt x="179" y="10"/>
                  </a:lnTo>
                  <a:lnTo>
                    <a:pt x="189" y="10"/>
                  </a:lnTo>
                  <a:lnTo>
                    <a:pt x="189" y="10"/>
                  </a:lnTo>
                  <a:lnTo>
                    <a:pt x="199" y="20"/>
                  </a:lnTo>
                  <a:lnTo>
                    <a:pt x="209" y="20"/>
                  </a:lnTo>
                  <a:lnTo>
                    <a:pt x="219" y="10"/>
                  </a:lnTo>
                  <a:lnTo>
                    <a:pt x="219" y="0"/>
                  </a:lnTo>
                  <a:lnTo>
                    <a:pt x="219" y="0"/>
                  </a:lnTo>
                  <a:lnTo>
                    <a:pt x="229" y="0"/>
                  </a:lnTo>
                  <a:lnTo>
                    <a:pt x="229" y="0"/>
                  </a:lnTo>
                  <a:lnTo>
                    <a:pt x="258" y="10"/>
                  </a:lnTo>
                  <a:lnTo>
                    <a:pt x="258" y="20"/>
                  </a:lnTo>
                  <a:lnTo>
                    <a:pt x="258" y="20"/>
                  </a:lnTo>
                  <a:lnTo>
                    <a:pt x="258" y="20"/>
                  </a:lnTo>
                  <a:lnTo>
                    <a:pt x="278" y="30"/>
                  </a:lnTo>
                  <a:lnTo>
                    <a:pt x="278" y="30"/>
                  </a:lnTo>
                  <a:lnTo>
                    <a:pt x="278" y="30"/>
                  </a:lnTo>
                  <a:lnTo>
                    <a:pt x="278" y="39"/>
                  </a:lnTo>
                  <a:lnTo>
                    <a:pt x="268" y="49"/>
                  </a:lnTo>
                  <a:lnTo>
                    <a:pt x="268" y="49"/>
                  </a:lnTo>
                  <a:lnTo>
                    <a:pt x="258" y="59"/>
                  </a:lnTo>
                  <a:lnTo>
                    <a:pt x="258" y="59"/>
                  </a:lnTo>
                  <a:lnTo>
                    <a:pt x="258" y="59"/>
                  </a:lnTo>
                  <a:lnTo>
                    <a:pt x="249" y="69"/>
                  </a:lnTo>
                  <a:lnTo>
                    <a:pt x="249" y="6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 name="Freeform 589">
              <a:extLst>
                <a:ext uri="{FF2B5EF4-FFF2-40B4-BE49-F238E27FC236}">
                  <a16:creationId xmlns:a16="http://schemas.microsoft.com/office/drawing/2014/main" id="{A3B7912A-DE17-CA51-1E8B-40890147FB6F}"/>
                </a:ext>
              </a:extLst>
            </p:cNvPr>
            <p:cNvSpPr>
              <a:spLocks/>
            </p:cNvSpPr>
            <p:nvPr/>
          </p:nvSpPr>
          <p:spPr bwMode="auto">
            <a:xfrm>
              <a:off x="12301989" y="3091231"/>
              <a:ext cx="627534" cy="157492"/>
            </a:xfrm>
            <a:custGeom>
              <a:avLst/>
              <a:gdLst/>
              <a:ahLst/>
              <a:cxnLst>
                <a:cxn ang="0">
                  <a:pos x="188" y="30"/>
                </a:cxn>
                <a:cxn ang="0">
                  <a:pos x="348" y="20"/>
                </a:cxn>
                <a:cxn ang="0">
                  <a:pos x="437" y="11"/>
                </a:cxn>
                <a:cxn ang="0">
                  <a:pos x="467" y="20"/>
                </a:cxn>
                <a:cxn ang="0">
                  <a:pos x="467" y="30"/>
                </a:cxn>
                <a:cxn ang="0">
                  <a:pos x="457" y="40"/>
                </a:cxn>
                <a:cxn ang="0">
                  <a:pos x="407" y="40"/>
                </a:cxn>
                <a:cxn ang="0">
                  <a:pos x="357" y="50"/>
                </a:cxn>
                <a:cxn ang="0">
                  <a:pos x="337" y="60"/>
                </a:cxn>
                <a:cxn ang="0">
                  <a:pos x="328" y="60"/>
                </a:cxn>
                <a:cxn ang="0">
                  <a:pos x="288" y="70"/>
                </a:cxn>
                <a:cxn ang="0">
                  <a:pos x="228" y="80"/>
                </a:cxn>
                <a:cxn ang="0">
                  <a:pos x="208" y="80"/>
                </a:cxn>
                <a:cxn ang="0">
                  <a:pos x="169" y="70"/>
                </a:cxn>
                <a:cxn ang="0">
                  <a:pos x="139" y="70"/>
                </a:cxn>
                <a:cxn ang="0">
                  <a:pos x="129" y="90"/>
                </a:cxn>
                <a:cxn ang="0">
                  <a:pos x="99" y="100"/>
                </a:cxn>
                <a:cxn ang="0">
                  <a:pos x="79" y="110"/>
                </a:cxn>
                <a:cxn ang="0">
                  <a:pos x="79" y="110"/>
                </a:cxn>
                <a:cxn ang="0">
                  <a:pos x="59" y="110"/>
                </a:cxn>
                <a:cxn ang="0">
                  <a:pos x="30" y="100"/>
                </a:cxn>
                <a:cxn ang="0">
                  <a:pos x="0" y="70"/>
                </a:cxn>
                <a:cxn ang="0">
                  <a:pos x="10" y="50"/>
                </a:cxn>
                <a:cxn ang="0">
                  <a:pos x="30" y="20"/>
                </a:cxn>
                <a:cxn ang="0">
                  <a:pos x="59" y="0"/>
                </a:cxn>
                <a:cxn ang="0">
                  <a:pos x="79" y="11"/>
                </a:cxn>
                <a:cxn ang="0">
                  <a:pos x="99" y="20"/>
                </a:cxn>
                <a:cxn ang="0">
                  <a:pos x="89" y="20"/>
                </a:cxn>
                <a:cxn ang="0">
                  <a:pos x="79" y="11"/>
                </a:cxn>
                <a:cxn ang="0">
                  <a:pos x="50" y="11"/>
                </a:cxn>
                <a:cxn ang="0">
                  <a:pos x="59" y="20"/>
                </a:cxn>
                <a:cxn ang="0">
                  <a:pos x="69" y="20"/>
                </a:cxn>
                <a:cxn ang="0">
                  <a:pos x="159" y="30"/>
                </a:cxn>
              </a:cxnLst>
              <a:rect l="0" t="0" r="r" b="b"/>
              <a:pathLst>
                <a:path w="467" h="120">
                  <a:moveTo>
                    <a:pt x="159" y="30"/>
                  </a:moveTo>
                  <a:lnTo>
                    <a:pt x="188" y="30"/>
                  </a:lnTo>
                  <a:lnTo>
                    <a:pt x="218" y="30"/>
                  </a:lnTo>
                  <a:lnTo>
                    <a:pt x="348" y="20"/>
                  </a:lnTo>
                  <a:lnTo>
                    <a:pt x="407" y="11"/>
                  </a:lnTo>
                  <a:lnTo>
                    <a:pt x="437" y="11"/>
                  </a:lnTo>
                  <a:lnTo>
                    <a:pt x="457" y="20"/>
                  </a:lnTo>
                  <a:lnTo>
                    <a:pt x="467" y="20"/>
                  </a:lnTo>
                  <a:lnTo>
                    <a:pt x="467" y="30"/>
                  </a:lnTo>
                  <a:lnTo>
                    <a:pt x="467" y="30"/>
                  </a:lnTo>
                  <a:lnTo>
                    <a:pt x="467" y="40"/>
                  </a:lnTo>
                  <a:lnTo>
                    <a:pt x="457" y="40"/>
                  </a:lnTo>
                  <a:lnTo>
                    <a:pt x="427" y="40"/>
                  </a:lnTo>
                  <a:lnTo>
                    <a:pt x="407" y="40"/>
                  </a:lnTo>
                  <a:lnTo>
                    <a:pt x="377" y="40"/>
                  </a:lnTo>
                  <a:lnTo>
                    <a:pt x="357" y="50"/>
                  </a:lnTo>
                  <a:lnTo>
                    <a:pt x="357" y="50"/>
                  </a:lnTo>
                  <a:lnTo>
                    <a:pt x="337" y="60"/>
                  </a:lnTo>
                  <a:lnTo>
                    <a:pt x="328" y="60"/>
                  </a:lnTo>
                  <a:lnTo>
                    <a:pt x="328" y="60"/>
                  </a:lnTo>
                  <a:lnTo>
                    <a:pt x="328" y="60"/>
                  </a:lnTo>
                  <a:lnTo>
                    <a:pt x="288" y="70"/>
                  </a:lnTo>
                  <a:lnTo>
                    <a:pt x="248" y="80"/>
                  </a:lnTo>
                  <a:lnTo>
                    <a:pt x="228" y="80"/>
                  </a:lnTo>
                  <a:lnTo>
                    <a:pt x="218" y="80"/>
                  </a:lnTo>
                  <a:lnTo>
                    <a:pt x="208" y="80"/>
                  </a:lnTo>
                  <a:lnTo>
                    <a:pt x="179" y="70"/>
                  </a:lnTo>
                  <a:lnTo>
                    <a:pt x="169" y="70"/>
                  </a:lnTo>
                  <a:lnTo>
                    <a:pt x="149" y="70"/>
                  </a:lnTo>
                  <a:lnTo>
                    <a:pt x="139" y="70"/>
                  </a:lnTo>
                  <a:lnTo>
                    <a:pt x="139" y="80"/>
                  </a:lnTo>
                  <a:lnTo>
                    <a:pt x="129" y="90"/>
                  </a:lnTo>
                  <a:lnTo>
                    <a:pt x="119" y="100"/>
                  </a:lnTo>
                  <a:lnTo>
                    <a:pt x="99" y="100"/>
                  </a:lnTo>
                  <a:lnTo>
                    <a:pt x="89" y="110"/>
                  </a:lnTo>
                  <a:lnTo>
                    <a:pt x="79" y="110"/>
                  </a:lnTo>
                  <a:lnTo>
                    <a:pt x="69" y="110"/>
                  </a:lnTo>
                  <a:lnTo>
                    <a:pt x="79" y="110"/>
                  </a:lnTo>
                  <a:lnTo>
                    <a:pt x="69" y="120"/>
                  </a:lnTo>
                  <a:lnTo>
                    <a:pt x="59" y="110"/>
                  </a:lnTo>
                  <a:lnTo>
                    <a:pt x="40" y="110"/>
                  </a:lnTo>
                  <a:lnTo>
                    <a:pt x="30" y="100"/>
                  </a:lnTo>
                  <a:lnTo>
                    <a:pt x="10" y="90"/>
                  </a:lnTo>
                  <a:lnTo>
                    <a:pt x="0" y="70"/>
                  </a:lnTo>
                  <a:lnTo>
                    <a:pt x="0" y="60"/>
                  </a:lnTo>
                  <a:lnTo>
                    <a:pt x="10" y="50"/>
                  </a:lnTo>
                  <a:lnTo>
                    <a:pt x="20" y="30"/>
                  </a:lnTo>
                  <a:lnTo>
                    <a:pt x="30" y="20"/>
                  </a:lnTo>
                  <a:lnTo>
                    <a:pt x="50" y="0"/>
                  </a:lnTo>
                  <a:lnTo>
                    <a:pt x="59" y="0"/>
                  </a:lnTo>
                  <a:lnTo>
                    <a:pt x="69" y="0"/>
                  </a:lnTo>
                  <a:lnTo>
                    <a:pt x="79" y="11"/>
                  </a:lnTo>
                  <a:lnTo>
                    <a:pt x="89" y="11"/>
                  </a:lnTo>
                  <a:lnTo>
                    <a:pt x="99" y="20"/>
                  </a:lnTo>
                  <a:lnTo>
                    <a:pt x="89" y="20"/>
                  </a:lnTo>
                  <a:lnTo>
                    <a:pt x="89" y="20"/>
                  </a:lnTo>
                  <a:lnTo>
                    <a:pt x="79" y="11"/>
                  </a:lnTo>
                  <a:lnTo>
                    <a:pt x="79" y="11"/>
                  </a:lnTo>
                  <a:lnTo>
                    <a:pt x="69" y="11"/>
                  </a:lnTo>
                  <a:lnTo>
                    <a:pt x="50" y="11"/>
                  </a:lnTo>
                  <a:lnTo>
                    <a:pt x="40" y="20"/>
                  </a:lnTo>
                  <a:lnTo>
                    <a:pt x="59" y="20"/>
                  </a:lnTo>
                  <a:lnTo>
                    <a:pt x="69" y="20"/>
                  </a:lnTo>
                  <a:lnTo>
                    <a:pt x="69" y="20"/>
                  </a:lnTo>
                  <a:lnTo>
                    <a:pt x="109" y="30"/>
                  </a:lnTo>
                  <a:lnTo>
                    <a:pt x="15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 name="Freeform 590">
              <a:extLst>
                <a:ext uri="{FF2B5EF4-FFF2-40B4-BE49-F238E27FC236}">
                  <a16:creationId xmlns:a16="http://schemas.microsoft.com/office/drawing/2014/main" id="{92D8FB34-D3BA-B8DB-88A1-410057B23411}"/>
                </a:ext>
              </a:extLst>
            </p:cNvPr>
            <p:cNvSpPr>
              <a:spLocks/>
            </p:cNvSpPr>
            <p:nvPr/>
          </p:nvSpPr>
          <p:spPr bwMode="auto">
            <a:xfrm>
              <a:off x="12181051" y="3483648"/>
              <a:ext cx="361470" cy="312359"/>
            </a:xfrm>
            <a:custGeom>
              <a:avLst/>
              <a:gdLst/>
              <a:ahLst/>
              <a:cxnLst>
                <a:cxn ang="0">
                  <a:pos x="239" y="119"/>
                </a:cxn>
                <a:cxn ang="0">
                  <a:pos x="239" y="139"/>
                </a:cxn>
                <a:cxn ang="0">
                  <a:pos x="249" y="159"/>
                </a:cxn>
                <a:cxn ang="0">
                  <a:pos x="249" y="188"/>
                </a:cxn>
                <a:cxn ang="0">
                  <a:pos x="239" y="188"/>
                </a:cxn>
                <a:cxn ang="0">
                  <a:pos x="219" y="198"/>
                </a:cxn>
                <a:cxn ang="0">
                  <a:pos x="189" y="188"/>
                </a:cxn>
                <a:cxn ang="0">
                  <a:pos x="179" y="198"/>
                </a:cxn>
                <a:cxn ang="0">
                  <a:pos x="159" y="198"/>
                </a:cxn>
                <a:cxn ang="0">
                  <a:pos x="149" y="188"/>
                </a:cxn>
                <a:cxn ang="0">
                  <a:pos x="130" y="178"/>
                </a:cxn>
                <a:cxn ang="0">
                  <a:pos x="120" y="178"/>
                </a:cxn>
                <a:cxn ang="0">
                  <a:pos x="100" y="178"/>
                </a:cxn>
                <a:cxn ang="0">
                  <a:pos x="110" y="208"/>
                </a:cxn>
                <a:cxn ang="0">
                  <a:pos x="100" y="218"/>
                </a:cxn>
                <a:cxn ang="0">
                  <a:pos x="80" y="228"/>
                </a:cxn>
                <a:cxn ang="0">
                  <a:pos x="70" y="238"/>
                </a:cxn>
                <a:cxn ang="0">
                  <a:pos x="20" y="159"/>
                </a:cxn>
                <a:cxn ang="0">
                  <a:pos x="10" y="159"/>
                </a:cxn>
                <a:cxn ang="0">
                  <a:pos x="0" y="149"/>
                </a:cxn>
                <a:cxn ang="0">
                  <a:pos x="10" y="139"/>
                </a:cxn>
                <a:cxn ang="0">
                  <a:pos x="30" y="109"/>
                </a:cxn>
                <a:cxn ang="0">
                  <a:pos x="60" y="79"/>
                </a:cxn>
                <a:cxn ang="0">
                  <a:pos x="100" y="59"/>
                </a:cxn>
                <a:cxn ang="0">
                  <a:pos x="120" y="49"/>
                </a:cxn>
                <a:cxn ang="0">
                  <a:pos x="149" y="29"/>
                </a:cxn>
                <a:cxn ang="0">
                  <a:pos x="229" y="0"/>
                </a:cxn>
                <a:cxn ang="0">
                  <a:pos x="239" y="39"/>
                </a:cxn>
                <a:cxn ang="0">
                  <a:pos x="249" y="39"/>
                </a:cxn>
                <a:cxn ang="0">
                  <a:pos x="269" y="59"/>
                </a:cxn>
                <a:cxn ang="0">
                  <a:pos x="249" y="89"/>
                </a:cxn>
                <a:cxn ang="0">
                  <a:pos x="239" y="99"/>
                </a:cxn>
              </a:cxnLst>
              <a:rect l="0" t="0" r="r" b="b"/>
              <a:pathLst>
                <a:path w="269" h="238">
                  <a:moveTo>
                    <a:pt x="239" y="99"/>
                  </a:moveTo>
                  <a:lnTo>
                    <a:pt x="239" y="119"/>
                  </a:lnTo>
                  <a:lnTo>
                    <a:pt x="229" y="129"/>
                  </a:lnTo>
                  <a:lnTo>
                    <a:pt x="239" y="139"/>
                  </a:lnTo>
                  <a:lnTo>
                    <a:pt x="249" y="149"/>
                  </a:lnTo>
                  <a:lnTo>
                    <a:pt x="249" y="159"/>
                  </a:lnTo>
                  <a:lnTo>
                    <a:pt x="249" y="178"/>
                  </a:lnTo>
                  <a:lnTo>
                    <a:pt x="249" y="188"/>
                  </a:lnTo>
                  <a:lnTo>
                    <a:pt x="249" y="188"/>
                  </a:lnTo>
                  <a:lnTo>
                    <a:pt x="239" y="188"/>
                  </a:lnTo>
                  <a:lnTo>
                    <a:pt x="219" y="198"/>
                  </a:lnTo>
                  <a:lnTo>
                    <a:pt x="219" y="198"/>
                  </a:lnTo>
                  <a:lnTo>
                    <a:pt x="199" y="198"/>
                  </a:lnTo>
                  <a:lnTo>
                    <a:pt x="189" y="188"/>
                  </a:lnTo>
                  <a:lnTo>
                    <a:pt x="189" y="208"/>
                  </a:lnTo>
                  <a:lnTo>
                    <a:pt x="179" y="198"/>
                  </a:lnTo>
                  <a:lnTo>
                    <a:pt x="169" y="198"/>
                  </a:lnTo>
                  <a:lnTo>
                    <a:pt x="159" y="198"/>
                  </a:lnTo>
                  <a:lnTo>
                    <a:pt x="159" y="188"/>
                  </a:lnTo>
                  <a:lnTo>
                    <a:pt x="149" y="188"/>
                  </a:lnTo>
                  <a:lnTo>
                    <a:pt x="149" y="188"/>
                  </a:lnTo>
                  <a:lnTo>
                    <a:pt x="130" y="178"/>
                  </a:lnTo>
                  <a:lnTo>
                    <a:pt x="120" y="178"/>
                  </a:lnTo>
                  <a:lnTo>
                    <a:pt x="120" y="178"/>
                  </a:lnTo>
                  <a:lnTo>
                    <a:pt x="100" y="169"/>
                  </a:lnTo>
                  <a:lnTo>
                    <a:pt x="100" y="178"/>
                  </a:lnTo>
                  <a:lnTo>
                    <a:pt x="100" y="188"/>
                  </a:lnTo>
                  <a:lnTo>
                    <a:pt x="110" y="208"/>
                  </a:lnTo>
                  <a:lnTo>
                    <a:pt x="120" y="208"/>
                  </a:lnTo>
                  <a:lnTo>
                    <a:pt x="100" y="218"/>
                  </a:lnTo>
                  <a:lnTo>
                    <a:pt x="90" y="218"/>
                  </a:lnTo>
                  <a:lnTo>
                    <a:pt x="80" y="228"/>
                  </a:lnTo>
                  <a:lnTo>
                    <a:pt x="70" y="238"/>
                  </a:lnTo>
                  <a:lnTo>
                    <a:pt x="70" y="238"/>
                  </a:lnTo>
                  <a:lnTo>
                    <a:pt x="70" y="238"/>
                  </a:lnTo>
                  <a:lnTo>
                    <a:pt x="20" y="159"/>
                  </a:lnTo>
                  <a:lnTo>
                    <a:pt x="10" y="159"/>
                  </a:lnTo>
                  <a:lnTo>
                    <a:pt x="10" y="159"/>
                  </a:lnTo>
                  <a:lnTo>
                    <a:pt x="0" y="159"/>
                  </a:lnTo>
                  <a:lnTo>
                    <a:pt x="0" y="149"/>
                  </a:lnTo>
                  <a:lnTo>
                    <a:pt x="10" y="149"/>
                  </a:lnTo>
                  <a:lnTo>
                    <a:pt x="10" y="139"/>
                  </a:lnTo>
                  <a:lnTo>
                    <a:pt x="20" y="129"/>
                  </a:lnTo>
                  <a:lnTo>
                    <a:pt x="30" y="109"/>
                  </a:lnTo>
                  <a:lnTo>
                    <a:pt x="50" y="89"/>
                  </a:lnTo>
                  <a:lnTo>
                    <a:pt x="60" y="79"/>
                  </a:lnTo>
                  <a:lnTo>
                    <a:pt x="80" y="69"/>
                  </a:lnTo>
                  <a:lnTo>
                    <a:pt x="100" y="59"/>
                  </a:lnTo>
                  <a:lnTo>
                    <a:pt x="110" y="49"/>
                  </a:lnTo>
                  <a:lnTo>
                    <a:pt x="120" y="49"/>
                  </a:lnTo>
                  <a:lnTo>
                    <a:pt x="140" y="39"/>
                  </a:lnTo>
                  <a:lnTo>
                    <a:pt x="149" y="29"/>
                  </a:lnTo>
                  <a:lnTo>
                    <a:pt x="179" y="29"/>
                  </a:lnTo>
                  <a:lnTo>
                    <a:pt x="229" y="0"/>
                  </a:lnTo>
                  <a:lnTo>
                    <a:pt x="239" y="29"/>
                  </a:lnTo>
                  <a:lnTo>
                    <a:pt x="239" y="39"/>
                  </a:lnTo>
                  <a:lnTo>
                    <a:pt x="229" y="39"/>
                  </a:lnTo>
                  <a:lnTo>
                    <a:pt x="249" y="39"/>
                  </a:lnTo>
                  <a:lnTo>
                    <a:pt x="269" y="49"/>
                  </a:lnTo>
                  <a:lnTo>
                    <a:pt x="269" y="59"/>
                  </a:lnTo>
                  <a:lnTo>
                    <a:pt x="259" y="69"/>
                  </a:lnTo>
                  <a:lnTo>
                    <a:pt x="249" y="89"/>
                  </a:lnTo>
                  <a:lnTo>
                    <a:pt x="249" y="89"/>
                  </a:lnTo>
                  <a:lnTo>
                    <a:pt x="239" y="99"/>
                  </a:lnTo>
                  <a:lnTo>
                    <a:pt x="239" y="9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2" name="Freeform 591">
              <a:extLst>
                <a:ext uri="{FF2B5EF4-FFF2-40B4-BE49-F238E27FC236}">
                  <a16:creationId xmlns:a16="http://schemas.microsoft.com/office/drawing/2014/main" id="{4E4AA352-8760-C2A1-F85F-C7EA11E1DA26}"/>
                </a:ext>
              </a:extLst>
            </p:cNvPr>
            <p:cNvSpPr>
              <a:spLocks/>
            </p:cNvSpPr>
            <p:nvPr/>
          </p:nvSpPr>
          <p:spPr bwMode="auto">
            <a:xfrm>
              <a:off x="12101770" y="4200235"/>
              <a:ext cx="106157" cy="103682"/>
            </a:xfrm>
            <a:custGeom>
              <a:avLst/>
              <a:gdLst/>
              <a:ahLst/>
              <a:cxnLst>
                <a:cxn ang="0">
                  <a:pos x="79" y="20"/>
                </a:cxn>
                <a:cxn ang="0">
                  <a:pos x="79" y="20"/>
                </a:cxn>
                <a:cxn ang="0">
                  <a:pos x="79" y="20"/>
                </a:cxn>
                <a:cxn ang="0">
                  <a:pos x="69" y="50"/>
                </a:cxn>
                <a:cxn ang="0">
                  <a:pos x="79" y="50"/>
                </a:cxn>
                <a:cxn ang="0">
                  <a:pos x="79" y="50"/>
                </a:cxn>
                <a:cxn ang="0">
                  <a:pos x="79" y="60"/>
                </a:cxn>
                <a:cxn ang="0">
                  <a:pos x="79" y="60"/>
                </a:cxn>
                <a:cxn ang="0">
                  <a:pos x="69" y="70"/>
                </a:cxn>
                <a:cxn ang="0">
                  <a:pos x="69" y="70"/>
                </a:cxn>
                <a:cxn ang="0">
                  <a:pos x="59" y="79"/>
                </a:cxn>
                <a:cxn ang="0">
                  <a:pos x="59" y="70"/>
                </a:cxn>
                <a:cxn ang="0">
                  <a:pos x="50" y="70"/>
                </a:cxn>
                <a:cxn ang="0">
                  <a:pos x="40" y="60"/>
                </a:cxn>
                <a:cxn ang="0">
                  <a:pos x="40" y="60"/>
                </a:cxn>
                <a:cxn ang="0">
                  <a:pos x="40" y="50"/>
                </a:cxn>
                <a:cxn ang="0">
                  <a:pos x="30" y="50"/>
                </a:cxn>
                <a:cxn ang="0">
                  <a:pos x="30" y="60"/>
                </a:cxn>
                <a:cxn ang="0">
                  <a:pos x="20" y="60"/>
                </a:cxn>
                <a:cxn ang="0">
                  <a:pos x="10" y="60"/>
                </a:cxn>
                <a:cxn ang="0">
                  <a:pos x="10" y="60"/>
                </a:cxn>
                <a:cxn ang="0">
                  <a:pos x="10" y="50"/>
                </a:cxn>
                <a:cxn ang="0">
                  <a:pos x="10" y="30"/>
                </a:cxn>
                <a:cxn ang="0">
                  <a:pos x="10" y="30"/>
                </a:cxn>
                <a:cxn ang="0">
                  <a:pos x="0" y="20"/>
                </a:cxn>
                <a:cxn ang="0">
                  <a:pos x="10" y="10"/>
                </a:cxn>
                <a:cxn ang="0">
                  <a:pos x="10" y="0"/>
                </a:cxn>
                <a:cxn ang="0">
                  <a:pos x="10" y="0"/>
                </a:cxn>
                <a:cxn ang="0">
                  <a:pos x="40" y="10"/>
                </a:cxn>
                <a:cxn ang="0">
                  <a:pos x="40" y="10"/>
                </a:cxn>
                <a:cxn ang="0">
                  <a:pos x="50" y="20"/>
                </a:cxn>
                <a:cxn ang="0">
                  <a:pos x="59" y="20"/>
                </a:cxn>
                <a:cxn ang="0">
                  <a:pos x="79" y="20"/>
                </a:cxn>
              </a:cxnLst>
              <a:rect l="0" t="0" r="r" b="b"/>
              <a:pathLst>
                <a:path w="79" h="79">
                  <a:moveTo>
                    <a:pt x="79" y="20"/>
                  </a:moveTo>
                  <a:lnTo>
                    <a:pt x="79" y="20"/>
                  </a:lnTo>
                  <a:lnTo>
                    <a:pt x="79" y="20"/>
                  </a:lnTo>
                  <a:lnTo>
                    <a:pt x="69" y="50"/>
                  </a:lnTo>
                  <a:lnTo>
                    <a:pt x="79" y="50"/>
                  </a:lnTo>
                  <a:lnTo>
                    <a:pt x="79" y="50"/>
                  </a:lnTo>
                  <a:lnTo>
                    <a:pt x="79" y="60"/>
                  </a:lnTo>
                  <a:lnTo>
                    <a:pt x="79" y="60"/>
                  </a:lnTo>
                  <a:lnTo>
                    <a:pt x="69" y="70"/>
                  </a:lnTo>
                  <a:lnTo>
                    <a:pt x="69" y="70"/>
                  </a:lnTo>
                  <a:lnTo>
                    <a:pt x="59" y="79"/>
                  </a:lnTo>
                  <a:lnTo>
                    <a:pt x="59" y="70"/>
                  </a:lnTo>
                  <a:lnTo>
                    <a:pt x="50" y="70"/>
                  </a:lnTo>
                  <a:lnTo>
                    <a:pt x="40" y="60"/>
                  </a:lnTo>
                  <a:lnTo>
                    <a:pt x="40" y="60"/>
                  </a:lnTo>
                  <a:lnTo>
                    <a:pt x="40" y="50"/>
                  </a:lnTo>
                  <a:lnTo>
                    <a:pt x="30" y="50"/>
                  </a:lnTo>
                  <a:lnTo>
                    <a:pt x="30" y="60"/>
                  </a:lnTo>
                  <a:lnTo>
                    <a:pt x="20" y="60"/>
                  </a:lnTo>
                  <a:lnTo>
                    <a:pt x="10" y="60"/>
                  </a:lnTo>
                  <a:lnTo>
                    <a:pt x="10" y="60"/>
                  </a:lnTo>
                  <a:lnTo>
                    <a:pt x="10" y="50"/>
                  </a:lnTo>
                  <a:lnTo>
                    <a:pt x="10" y="30"/>
                  </a:lnTo>
                  <a:lnTo>
                    <a:pt x="10" y="30"/>
                  </a:lnTo>
                  <a:lnTo>
                    <a:pt x="0" y="20"/>
                  </a:lnTo>
                  <a:lnTo>
                    <a:pt x="10" y="10"/>
                  </a:lnTo>
                  <a:lnTo>
                    <a:pt x="10" y="0"/>
                  </a:lnTo>
                  <a:lnTo>
                    <a:pt x="10" y="0"/>
                  </a:lnTo>
                  <a:lnTo>
                    <a:pt x="40" y="10"/>
                  </a:lnTo>
                  <a:lnTo>
                    <a:pt x="40" y="10"/>
                  </a:lnTo>
                  <a:lnTo>
                    <a:pt x="50" y="20"/>
                  </a:lnTo>
                  <a:lnTo>
                    <a:pt x="59" y="20"/>
                  </a:lnTo>
                  <a:lnTo>
                    <a:pt x="79" y="2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3" name="Freeform 592">
              <a:extLst>
                <a:ext uri="{FF2B5EF4-FFF2-40B4-BE49-F238E27FC236}">
                  <a16:creationId xmlns:a16="http://schemas.microsoft.com/office/drawing/2014/main" id="{36D1EB2D-54AE-3AA1-C8BD-258D48BA3D29}"/>
                </a:ext>
              </a:extLst>
            </p:cNvPr>
            <p:cNvSpPr>
              <a:spLocks/>
            </p:cNvSpPr>
            <p:nvPr/>
          </p:nvSpPr>
          <p:spPr bwMode="auto">
            <a:xfrm>
              <a:off x="12769616" y="3508584"/>
              <a:ext cx="333251" cy="274298"/>
            </a:xfrm>
            <a:custGeom>
              <a:avLst/>
              <a:gdLst/>
              <a:ahLst/>
              <a:cxnLst>
                <a:cxn ang="0">
                  <a:pos x="218" y="140"/>
                </a:cxn>
                <a:cxn ang="0">
                  <a:pos x="218" y="159"/>
                </a:cxn>
                <a:cxn ang="0">
                  <a:pos x="198" y="179"/>
                </a:cxn>
                <a:cxn ang="0">
                  <a:pos x="188" y="179"/>
                </a:cxn>
                <a:cxn ang="0">
                  <a:pos x="178" y="179"/>
                </a:cxn>
                <a:cxn ang="0">
                  <a:pos x="178" y="179"/>
                </a:cxn>
                <a:cxn ang="0">
                  <a:pos x="138" y="199"/>
                </a:cxn>
                <a:cxn ang="0">
                  <a:pos x="119" y="209"/>
                </a:cxn>
                <a:cxn ang="0">
                  <a:pos x="99" y="209"/>
                </a:cxn>
                <a:cxn ang="0">
                  <a:pos x="89" y="189"/>
                </a:cxn>
                <a:cxn ang="0">
                  <a:pos x="59" y="159"/>
                </a:cxn>
                <a:cxn ang="0">
                  <a:pos x="59" y="150"/>
                </a:cxn>
                <a:cxn ang="0">
                  <a:pos x="29" y="130"/>
                </a:cxn>
                <a:cxn ang="0">
                  <a:pos x="9" y="120"/>
                </a:cxn>
                <a:cxn ang="0">
                  <a:pos x="19" y="100"/>
                </a:cxn>
                <a:cxn ang="0">
                  <a:pos x="29" y="80"/>
                </a:cxn>
                <a:cxn ang="0">
                  <a:pos x="19" y="50"/>
                </a:cxn>
                <a:cxn ang="0">
                  <a:pos x="59" y="30"/>
                </a:cxn>
                <a:cxn ang="0">
                  <a:pos x="69" y="20"/>
                </a:cxn>
                <a:cxn ang="0">
                  <a:pos x="79" y="20"/>
                </a:cxn>
                <a:cxn ang="0">
                  <a:pos x="99" y="10"/>
                </a:cxn>
                <a:cxn ang="0">
                  <a:pos x="109" y="10"/>
                </a:cxn>
                <a:cxn ang="0">
                  <a:pos x="119" y="10"/>
                </a:cxn>
                <a:cxn ang="0">
                  <a:pos x="119" y="20"/>
                </a:cxn>
                <a:cxn ang="0">
                  <a:pos x="119" y="40"/>
                </a:cxn>
                <a:cxn ang="0">
                  <a:pos x="149" y="30"/>
                </a:cxn>
                <a:cxn ang="0">
                  <a:pos x="168" y="30"/>
                </a:cxn>
                <a:cxn ang="0">
                  <a:pos x="178" y="40"/>
                </a:cxn>
                <a:cxn ang="0">
                  <a:pos x="178" y="40"/>
                </a:cxn>
                <a:cxn ang="0">
                  <a:pos x="178" y="10"/>
                </a:cxn>
                <a:cxn ang="0">
                  <a:pos x="188" y="0"/>
                </a:cxn>
                <a:cxn ang="0">
                  <a:pos x="198" y="0"/>
                </a:cxn>
                <a:cxn ang="0">
                  <a:pos x="208" y="0"/>
                </a:cxn>
                <a:cxn ang="0">
                  <a:pos x="238" y="0"/>
                </a:cxn>
                <a:cxn ang="0">
                  <a:pos x="248" y="0"/>
                </a:cxn>
                <a:cxn ang="0">
                  <a:pos x="248" y="10"/>
                </a:cxn>
                <a:cxn ang="0">
                  <a:pos x="248" y="60"/>
                </a:cxn>
                <a:cxn ang="0">
                  <a:pos x="238" y="70"/>
                </a:cxn>
                <a:cxn ang="0">
                  <a:pos x="218" y="130"/>
                </a:cxn>
              </a:cxnLst>
              <a:rect l="0" t="0" r="r" b="b"/>
              <a:pathLst>
                <a:path w="248" h="209">
                  <a:moveTo>
                    <a:pt x="218" y="130"/>
                  </a:moveTo>
                  <a:lnTo>
                    <a:pt x="218" y="140"/>
                  </a:lnTo>
                  <a:lnTo>
                    <a:pt x="218" y="140"/>
                  </a:lnTo>
                  <a:lnTo>
                    <a:pt x="218" y="159"/>
                  </a:lnTo>
                  <a:lnTo>
                    <a:pt x="208" y="179"/>
                  </a:lnTo>
                  <a:lnTo>
                    <a:pt x="198" y="179"/>
                  </a:lnTo>
                  <a:lnTo>
                    <a:pt x="188" y="179"/>
                  </a:lnTo>
                  <a:lnTo>
                    <a:pt x="188" y="179"/>
                  </a:lnTo>
                  <a:lnTo>
                    <a:pt x="188" y="179"/>
                  </a:lnTo>
                  <a:lnTo>
                    <a:pt x="178" y="179"/>
                  </a:lnTo>
                  <a:lnTo>
                    <a:pt x="178" y="179"/>
                  </a:lnTo>
                  <a:lnTo>
                    <a:pt x="178" y="179"/>
                  </a:lnTo>
                  <a:lnTo>
                    <a:pt x="168" y="189"/>
                  </a:lnTo>
                  <a:lnTo>
                    <a:pt x="138" y="199"/>
                  </a:lnTo>
                  <a:lnTo>
                    <a:pt x="129" y="209"/>
                  </a:lnTo>
                  <a:lnTo>
                    <a:pt x="119" y="209"/>
                  </a:lnTo>
                  <a:lnTo>
                    <a:pt x="109" y="209"/>
                  </a:lnTo>
                  <a:lnTo>
                    <a:pt x="99" y="209"/>
                  </a:lnTo>
                  <a:lnTo>
                    <a:pt x="99" y="199"/>
                  </a:lnTo>
                  <a:lnTo>
                    <a:pt x="89" y="189"/>
                  </a:lnTo>
                  <a:lnTo>
                    <a:pt x="79" y="159"/>
                  </a:lnTo>
                  <a:lnTo>
                    <a:pt x="59" y="159"/>
                  </a:lnTo>
                  <a:lnTo>
                    <a:pt x="59" y="150"/>
                  </a:lnTo>
                  <a:lnTo>
                    <a:pt x="59" y="150"/>
                  </a:lnTo>
                  <a:lnTo>
                    <a:pt x="39" y="150"/>
                  </a:lnTo>
                  <a:lnTo>
                    <a:pt x="29" y="130"/>
                  </a:lnTo>
                  <a:lnTo>
                    <a:pt x="19" y="120"/>
                  </a:lnTo>
                  <a:lnTo>
                    <a:pt x="9" y="120"/>
                  </a:lnTo>
                  <a:lnTo>
                    <a:pt x="0" y="110"/>
                  </a:lnTo>
                  <a:lnTo>
                    <a:pt x="19" y="100"/>
                  </a:lnTo>
                  <a:lnTo>
                    <a:pt x="19" y="90"/>
                  </a:lnTo>
                  <a:lnTo>
                    <a:pt x="29" y="80"/>
                  </a:lnTo>
                  <a:lnTo>
                    <a:pt x="29" y="70"/>
                  </a:lnTo>
                  <a:lnTo>
                    <a:pt x="19" y="50"/>
                  </a:lnTo>
                  <a:lnTo>
                    <a:pt x="19" y="50"/>
                  </a:lnTo>
                  <a:lnTo>
                    <a:pt x="59" y="30"/>
                  </a:lnTo>
                  <a:lnTo>
                    <a:pt x="69" y="20"/>
                  </a:lnTo>
                  <a:lnTo>
                    <a:pt x="69" y="20"/>
                  </a:lnTo>
                  <a:lnTo>
                    <a:pt x="69" y="20"/>
                  </a:lnTo>
                  <a:lnTo>
                    <a:pt x="79" y="20"/>
                  </a:lnTo>
                  <a:lnTo>
                    <a:pt x="89" y="10"/>
                  </a:lnTo>
                  <a:lnTo>
                    <a:pt x="99" y="10"/>
                  </a:lnTo>
                  <a:lnTo>
                    <a:pt x="109" y="10"/>
                  </a:lnTo>
                  <a:lnTo>
                    <a:pt x="109" y="10"/>
                  </a:lnTo>
                  <a:lnTo>
                    <a:pt x="119" y="10"/>
                  </a:lnTo>
                  <a:lnTo>
                    <a:pt x="119" y="10"/>
                  </a:lnTo>
                  <a:lnTo>
                    <a:pt x="119" y="20"/>
                  </a:lnTo>
                  <a:lnTo>
                    <a:pt x="119" y="20"/>
                  </a:lnTo>
                  <a:lnTo>
                    <a:pt x="119" y="30"/>
                  </a:lnTo>
                  <a:lnTo>
                    <a:pt x="119" y="40"/>
                  </a:lnTo>
                  <a:lnTo>
                    <a:pt x="138" y="30"/>
                  </a:lnTo>
                  <a:lnTo>
                    <a:pt x="149" y="30"/>
                  </a:lnTo>
                  <a:lnTo>
                    <a:pt x="149" y="30"/>
                  </a:lnTo>
                  <a:lnTo>
                    <a:pt x="168" y="30"/>
                  </a:lnTo>
                  <a:lnTo>
                    <a:pt x="168" y="40"/>
                  </a:lnTo>
                  <a:lnTo>
                    <a:pt x="178" y="40"/>
                  </a:lnTo>
                  <a:lnTo>
                    <a:pt x="178" y="40"/>
                  </a:lnTo>
                  <a:lnTo>
                    <a:pt x="178" y="40"/>
                  </a:lnTo>
                  <a:lnTo>
                    <a:pt x="178" y="20"/>
                  </a:lnTo>
                  <a:lnTo>
                    <a:pt x="178" y="10"/>
                  </a:lnTo>
                  <a:lnTo>
                    <a:pt x="178" y="0"/>
                  </a:lnTo>
                  <a:lnTo>
                    <a:pt x="188" y="0"/>
                  </a:lnTo>
                  <a:lnTo>
                    <a:pt x="198" y="0"/>
                  </a:lnTo>
                  <a:lnTo>
                    <a:pt x="198" y="0"/>
                  </a:lnTo>
                  <a:lnTo>
                    <a:pt x="198" y="0"/>
                  </a:lnTo>
                  <a:lnTo>
                    <a:pt x="208" y="0"/>
                  </a:lnTo>
                  <a:lnTo>
                    <a:pt x="218" y="0"/>
                  </a:lnTo>
                  <a:lnTo>
                    <a:pt x="238" y="0"/>
                  </a:lnTo>
                  <a:lnTo>
                    <a:pt x="248" y="0"/>
                  </a:lnTo>
                  <a:lnTo>
                    <a:pt x="248" y="0"/>
                  </a:lnTo>
                  <a:lnTo>
                    <a:pt x="248" y="10"/>
                  </a:lnTo>
                  <a:lnTo>
                    <a:pt x="248" y="10"/>
                  </a:lnTo>
                  <a:lnTo>
                    <a:pt x="248" y="20"/>
                  </a:lnTo>
                  <a:lnTo>
                    <a:pt x="248" y="60"/>
                  </a:lnTo>
                  <a:lnTo>
                    <a:pt x="248" y="70"/>
                  </a:lnTo>
                  <a:lnTo>
                    <a:pt x="238" y="70"/>
                  </a:lnTo>
                  <a:lnTo>
                    <a:pt x="228" y="70"/>
                  </a:lnTo>
                  <a:lnTo>
                    <a:pt x="218" y="130"/>
                  </a:lnTo>
                  <a:lnTo>
                    <a:pt x="218" y="1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4" name="Freeform 593">
              <a:extLst>
                <a:ext uri="{FF2B5EF4-FFF2-40B4-BE49-F238E27FC236}">
                  <a16:creationId xmlns:a16="http://schemas.microsoft.com/office/drawing/2014/main" id="{1AD70969-CF1F-256C-A268-F47D5A9F133F}"/>
                </a:ext>
              </a:extLst>
            </p:cNvPr>
            <p:cNvSpPr>
              <a:spLocks/>
            </p:cNvSpPr>
            <p:nvPr/>
          </p:nvSpPr>
          <p:spPr bwMode="auto">
            <a:xfrm>
              <a:off x="12007707" y="3679200"/>
              <a:ext cx="321157" cy="391104"/>
            </a:xfrm>
            <a:custGeom>
              <a:avLst/>
              <a:gdLst/>
              <a:ahLst/>
              <a:cxnLst>
                <a:cxn ang="0">
                  <a:pos x="40" y="149"/>
                </a:cxn>
                <a:cxn ang="0">
                  <a:pos x="20" y="139"/>
                </a:cxn>
                <a:cxn ang="0">
                  <a:pos x="10" y="99"/>
                </a:cxn>
                <a:cxn ang="0">
                  <a:pos x="30" y="89"/>
                </a:cxn>
                <a:cxn ang="0">
                  <a:pos x="50" y="59"/>
                </a:cxn>
                <a:cxn ang="0">
                  <a:pos x="70" y="49"/>
                </a:cxn>
                <a:cxn ang="0">
                  <a:pos x="100" y="29"/>
                </a:cxn>
                <a:cxn ang="0">
                  <a:pos x="129" y="10"/>
                </a:cxn>
                <a:cxn ang="0">
                  <a:pos x="129" y="10"/>
                </a:cxn>
                <a:cxn ang="0">
                  <a:pos x="139" y="10"/>
                </a:cxn>
                <a:cxn ang="0">
                  <a:pos x="199" y="89"/>
                </a:cxn>
                <a:cxn ang="0">
                  <a:pos x="199" y="89"/>
                </a:cxn>
                <a:cxn ang="0">
                  <a:pos x="219" y="89"/>
                </a:cxn>
                <a:cxn ang="0">
                  <a:pos x="219" y="99"/>
                </a:cxn>
                <a:cxn ang="0">
                  <a:pos x="219" y="109"/>
                </a:cxn>
                <a:cxn ang="0">
                  <a:pos x="229" y="109"/>
                </a:cxn>
                <a:cxn ang="0">
                  <a:pos x="209" y="129"/>
                </a:cxn>
                <a:cxn ang="0">
                  <a:pos x="219" y="149"/>
                </a:cxn>
                <a:cxn ang="0">
                  <a:pos x="229" y="159"/>
                </a:cxn>
                <a:cxn ang="0">
                  <a:pos x="219" y="169"/>
                </a:cxn>
                <a:cxn ang="0">
                  <a:pos x="209" y="178"/>
                </a:cxn>
                <a:cxn ang="0">
                  <a:pos x="189" y="198"/>
                </a:cxn>
                <a:cxn ang="0">
                  <a:pos x="179" y="208"/>
                </a:cxn>
                <a:cxn ang="0">
                  <a:pos x="179" y="218"/>
                </a:cxn>
                <a:cxn ang="0">
                  <a:pos x="199" y="228"/>
                </a:cxn>
                <a:cxn ang="0">
                  <a:pos x="209" y="248"/>
                </a:cxn>
                <a:cxn ang="0">
                  <a:pos x="209" y="248"/>
                </a:cxn>
                <a:cxn ang="0">
                  <a:pos x="209" y="268"/>
                </a:cxn>
                <a:cxn ang="0">
                  <a:pos x="189" y="278"/>
                </a:cxn>
                <a:cxn ang="0">
                  <a:pos x="199" y="288"/>
                </a:cxn>
                <a:cxn ang="0">
                  <a:pos x="189" y="288"/>
                </a:cxn>
                <a:cxn ang="0">
                  <a:pos x="179" y="288"/>
                </a:cxn>
                <a:cxn ang="0">
                  <a:pos x="169" y="288"/>
                </a:cxn>
                <a:cxn ang="0">
                  <a:pos x="159" y="288"/>
                </a:cxn>
                <a:cxn ang="0">
                  <a:pos x="159" y="288"/>
                </a:cxn>
                <a:cxn ang="0">
                  <a:pos x="149" y="288"/>
                </a:cxn>
                <a:cxn ang="0">
                  <a:pos x="139" y="278"/>
                </a:cxn>
                <a:cxn ang="0">
                  <a:pos x="129" y="258"/>
                </a:cxn>
                <a:cxn ang="0">
                  <a:pos x="110" y="258"/>
                </a:cxn>
                <a:cxn ang="0">
                  <a:pos x="90" y="258"/>
                </a:cxn>
                <a:cxn ang="0">
                  <a:pos x="100" y="268"/>
                </a:cxn>
                <a:cxn ang="0">
                  <a:pos x="100" y="278"/>
                </a:cxn>
                <a:cxn ang="0">
                  <a:pos x="80" y="278"/>
                </a:cxn>
                <a:cxn ang="0">
                  <a:pos x="80" y="268"/>
                </a:cxn>
                <a:cxn ang="0">
                  <a:pos x="60" y="278"/>
                </a:cxn>
                <a:cxn ang="0">
                  <a:pos x="50" y="278"/>
                </a:cxn>
                <a:cxn ang="0">
                  <a:pos x="60" y="268"/>
                </a:cxn>
                <a:cxn ang="0">
                  <a:pos x="50" y="258"/>
                </a:cxn>
                <a:cxn ang="0">
                  <a:pos x="40" y="248"/>
                </a:cxn>
                <a:cxn ang="0">
                  <a:pos x="50" y="248"/>
                </a:cxn>
                <a:cxn ang="0">
                  <a:pos x="60" y="218"/>
                </a:cxn>
                <a:cxn ang="0">
                  <a:pos x="70" y="198"/>
                </a:cxn>
                <a:cxn ang="0">
                  <a:pos x="70" y="198"/>
                </a:cxn>
                <a:cxn ang="0">
                  <a:pos x="70" y="188"/>
                </a:cxn>
                <a:cxn ang="0">
                  <a:pos x="50" y="188"/>
                </a:cxn>
                <a:cxn ang="0">
                  <a:pos x="60" y="178"/>
                </a:cxn>
                <a:cxn ang="0">
                  <a:pos x="60" y="159"/>
                </a:cxn>
                <a:cxn ang="0">
                  <a:pos x="70" y="139"/>
                </a:cxn>
              </a:cxnLst>
              <a:rect l="0" t="0" r="r" b="b"/>
              <a:pathLst>
                <a:path w="239" h="298">
                  <a:moveTo>
                    <a:pt x="50" y="149"/>
                  </a:moveTo>
                  <a:lnTo>
                    <a:pt x="40" y="149"/>
                  </a:lnTo>
                  <a:lnTo>
                    <a:pt x="20" y="139"/>
                  </a:lnTo>
                  <a:lnTo>
                    <a:pt x="20" y="139"/>
                  </a:lnTo>
                  <a:lnTo>
                    <a:pt x="0" y="119"/>
                  </a:lnTo>
                  <a:lnTo>
                    <a:pt x="10" y="99"/>
                  </a:lnTo>
                  <a:lnTo>
                    <a:pt x="20" y="89"/>
                  </a:lnTo>
                  <a:lnTo>
                    <a:pt x="30" y="89"/>
                  </a:lnTo>
                  <a:lnTo>
                    <a:pt x="40" y="69"/>
                  </a:lnTo>
                  <a:lnTo>
                    <a:pt x="50" y="59"/>
                  </a:lnTo>
                  <a:lnTo>
                    <a:pt x="60" y="59"/>
                  </a:lnTo>
                  <a:lnTo>
                    <a:pt x="70" y="49"/>
                  </a:lnTo>
                  <a:lnTo>
                    <a:pt x="90" y="29"/>
                  </a:lnTo>
                  <a:lnTo>
                    <a:pt x="100" y="29"/>
                  </a:lnTo>
                  <a:lnTo>
                    <a:pt x="110" y="20"/>
                  </a:lnTo>
                  <a:lnTo>
                    <a:pt x="129" y="10"/>
                  </a:lnTo>
                  <a:lnTo>
                    <a:pt x="129" y="0"/>
                  </a:lnTo>
                  <a:lnTo>
                    <a:pt x="129" y="10"/>
                  </a:lnTo>
                  <a:lnTo>
                    <a:pt x="139" y="10"/>
                  </a:lnTo>
                  <a:lnTo>
                    <a:pt x="139" y="10"/>
                  </a:lnTo>
                  <a:lnTo>
                    <a:pt x="149" y="10"/>
                  </a:lnTo>
                  <a:lnTo>
                    <a:pt x="199" y="89"/>
                  </a:lnTo>
                  <a:lnTo>
                    <a:pt x="199" y="89"/>
                  </a:lnTo>
                  <a:lnTo>
                    <a:pt x="199" y="89"/>
                  </a:lnTo>
                  <a:lnTo>
                    <a:pt x="209" y="79"/>
                  </a:lnTo>
                  <a:lnTo>
                    <a:pt x="219" y="89"/>
                  </a:lnTo>
                  <a:lnTo>
                    <a:pt x="219" y="99"/>
                  </a:lnTo>
                  <a:lnTo>
                    <a:pt x="219" y="99"/>
                  </a:lnTo>
                  <a:lnTo>
                    <a:pt x="219" y="99"/>
                  </a:lnTo>
                  <a:lnTo>
                    <a:pt x="219" y="109"/>
                  </a:lnTo>
                  <a:lnTo>
                    <a:pt x="219" y="109"/>
                  </a:lnTo>
                  <a:lnTo>
                    <a:pt x="229" y="109"/>
                  </a:lnTo>
                  <a:lnTo>
                    <a:pt x="239" y="129"/>
                  </a:lnTo>
                  <a:lnTo>
                    <a:pt x="209" y="129"/>
                  </a:lnTo>
                  <a:lnTo>
                    <a:pt x="219" y="149"/>
                  </a:lnTo>
                  <a:lnTo>
                    <a:pt x="219" y="149"/>
                  </a:lnTo>
                  <a:lnTo>
                    <a:pt x="219" y="159"/>
                  </a:lnTo>
                  <a:lnTo>
                    <a:pt x="229" y="159"/>
                  </a:lnTo>
                  <a:lnTo>
                    <a:pt x="229" y="159"/>
                  </a:lnTo>
                  <a:lnTo>
                    <a:pt x="219" y="169"/>
                  </a:lnTo>
                  <a:lnTo>
                    <a:pt x="209" y="178"/>
                  </a:lnTo>
                  <a:lnTo>
                    <a:pt x="209" y="178"/>
                  </a:lnTo>
                  <a:lnTo>
                    <a:pt x="199" y="188"/>
                  </a:lnTo>
                  <a:lnTo>
                    <a:pt x="189" y="198"/>
                  </a:lnTo>
                  <a:lnTo>
                    <a:pt x="189" y="198"/>
                  </a:lnTo>
                  <a:lnTo>
                    <a:pt x="179" y="208"/>
                  </a:lnTo>
                  <a:lnTo>
                    <a:pt x="179" y="218"/>
                  </a:lnTo>
                  <a:lnTo>
                    <a:pt x="179" y="218"/>
                  </a:lnTo>
                  <a:lnTo>
                    <a:pt x="189" y="228"/>
                  </a:lnTo>
                  <a:lnTo>
                    <a:pt x="199" y="228"/>
                  </a:lnTo>
                  <a:lnTo>
                    <a:pt x="199" y="248"/>
                  </a:lnTo>
                  <a:lnTo>
                    <a:pt x="209" y="248"/>
                  </a:lnTo>
                  <a:lnTo>
                    <a:pt x="209" y="248"/>
                  </a:lnTo>
                  <a:lnTo>
                    <a:pt x="209" y="248"/>
                  </a:lnTo>
                  <a:lnTo>
                    <a:pt x="219" y="258"/>
                  </a:lnTo>
                  <a:lnTo>
                    <a:pt x="209" y="268"/>
                  </a:lnTo>
                  <a:lnTo>
                    <a:pt x="199" y="268"/>
                  </a:lnTo>
                  <a:lnTo>
                    <a:pt x="189" y="278"/>
                  </a:lnTo>
                  <a:lnTo>
                    <a:pt x="189" y="278"/>
                  </a:lnTo>
                  <a:lnTo>
                    <a:pt x="199" y="288"/>
                  </a:lnTo>
                  <a:lnTo>
                    <a:pt x="199" y="288"/>
                  </a:lnTo>
                  <a:lnTo>
                    <a:pt x="189" y="288"/>
                  </a:lnTo>
                  <a:lnTo>
                    <a:pt x="189" y="288"/>
                  </a:lnTo>
                  <a:lnTo>
                    <a:pt x="179" y="288"/>
                  </a:lnTo>
                  <a:lnTo>
                    <a:pt x="179" y="288"/>
                  </a:lnTo>
                  <a:lnTo>
                    <a:pt x="169" y="288"/>
                  </a:lnTo>
                  <a:lnTo>
                    <a:pt x="159" y="298"/>
                  </a:lnTo>
                  <a:lnTo>
                    <a:pt x="159" y="288"/>
                  </a:lnTo>
                  <a:lnTo>
                    <a:pt x="159" y="288"/>
                  </a:lnTo>
                  <a:lnTo>
                    <a:pt x="159" y="288"/>
                  </a:lnTo>
                  <a:lnTo>
                    <a:pt x="149" y="288"/>
                  </a:lnTo>
                  <a:lnTo>
                    <a:pt x="149" y="288"/>
                  </a:lnTo>
                  <a:lnTo>
                    <a:pt x="149" y="288"/>
                  </a:lnTo>
                  <a:lnTo>
                    <a:pt x="139" y="278"/>
                  </a:lnTo>
                  <a:lnTo>
                    <a:pt x="129" y="268"/>
                  </a:lnTo>
                  <a:lnTo>
                    <a:pt x="129" y="258"/>
                  </a:lnTo>
                  <a:lnTo>
                    <a:pt x="120" y="258"/>
                  </a:lnTo>
                  <a:lnTo>
                    <a:pt x="110" y="258"/>
                  </a:lnTo>
                  <a:lnTo>
                    <a:pt x="90" y="258"/>
                  </a:lnTo>
                  <a:lnTo>
                    <a:pt x="90" y="258"/>
                  </a:lnTo>
                  <a:lnTo>
                    <a:pt x="100" y="268"/>
                  </a:lnTo>
                  <a:lnTo>
                    <a:pt x="100" y="268"/>
                  </a:lnTo>
                  <a:lnTo>
                    <a:pt x="100" y="268"/>
                  </a:lnTo>
                  <a:lnTo>
                    <a:pt x="100" y="278"/>
                  </a:lnTo>
                  <a:lnTo>
                    <a:pt x="90" y="278"/>
                  </a:lnTo>
                  <a:lnTo>
                    <a:pt x="80" y="278"/>
                  </a:lnTo>
                  <a:lnTo>
                    <a:pt x="80" y="278"/>
                  </a:lnTo>
                  <a:lnTo>
                    <a:pt x="80" y="268"/>
                  </a:lnTo>
                  <a:lnTo>
                    <a:pt x="70" y="268"/>
                  </a:lnTo>
                  <a:lnTo>
                    <a:pt x="60" y="278"/>
                  </a:lnTo>
                  <a:lnTo>
                    <a:pt x="60" y="278"/>
                  </a:lnTo>
                  <a:lnTo>
                    <a:pt x="50" y="278"/>
                  </a:lnTo>
                  <a:lnTo>
                    <a:pt x="60" y="278"/>
                  </a:lnTo>
                  <a:lnTo>
                    <a:pt x="60" y="268"/>
                  </a:lnTo>
                  <a:lnTo>
                    <a:pt x="50" y="268"/>
                  </a:lnTo>
                  <a:lnTo>
                    <a:pt x="50" y="258"/>
                  </a:lnTo>
                  <a:lnTo>
                    <a:pt x="40" y="258"/>
                  </a:lnTo>
                  <a:lnTo>
                    <a:pt x="40" y="248"/>
                  </a:lnTo>
                  <a:lnTo>
                    <a:pt x="50" y="248"/>
                  </a:lnTo>
                  <a:lnTo>
                    <a:pt x="50" y="248"/>
                  </a:lnTo>
                  <a:lnTo>
                    <a:pt x="60" y="218"/>
                  </a:lnTo>
                  <a:lnTo>
                    <a:pt x="60" y="218"/>
                  </a:lnTo>
                  <a:lnTo>
                    <a:pt x="60" y="208"/>
                  </a:lnTo>
                  <a:lnTo>
                    <a:pt x="70" y="198"/>
                  </a:lnTo>
                  <a:lnTo>
                    <a:pt x="70" y="198"/>
                  </a:lnTo>
                  <a:lnTo>
                    <a:pt x="70" y="198"/>
                  </a:lnTo>
                  <a:lnTo>
                    <a:pt x="70" y="188"/>
                  </a:lnTo>
                  <a:lnTo>
                    <a:pt x="70" y="188"/>
                  </a:lnTo>
                  <a:lnTo>
                    <a:pt x="50" y="198"/>
                  </a:lnTo>
                  <a:lnTo>
                    <a:pt x="50" y="188"/>
                  </a:lnTo>
                  <a:lnTo>
                    <a:pt x="60" y="178"/>
                  </a:lnTo>
                  <a:lnTo>
                    <a:pt x="60" y="178"/>
                  </a:lnTo>
                  <a:lnTo>
                    <a:pt x="60" y="178"/>
                  </a:lnTo>
                  <a:lnTo>
                    <a:pt x="60" y="159"/>
                  </a:lnTo>
                  <a:lnTo>
                    <a:pt x="70" y="159"/>
                  </a:lnTo>
                  <a:lnTo>
                    <a:pt x="70" y="139"/>
                  </a:lnTo>
                  <a:lnTo>
                    <a:pt x="50" y="14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5" name="Freeform 594">
              <a:extLst>
                <a:ext uri="{FF2B5EF4-FFF2-40B4-BE49-F238E27FC236}">
                  <a16:creationId xmlns:a16="http://schemas.microsoft.com/office/drawing/2014/main" id="{F0AF3DA9-C497-8459-2C8C-6A036F4A63DA}"/>
                </a:ext>
              </a:extLst>
            </p:cNvPr>
            <p:cNvSpPr>
              <a:spLocks/>
            </p:cNvSpPr>
            <p:nvPr/>
          </p:nvSpPr>
          <p:spPr bwMode="auto">
            <a:xfrm>
              <a:off x="11955301" y="3835379"/>
              <a:ext cx="146469" cy="195552"/>
            </a:xfrm>
            <a:custGeom>
              <a:avLst/>
              <a:gdLst/>
              <a:ahLst/>
              <a:cxnLst>
                <a:cxn ang="0">
                  <a:pos x="89" y="79"/>
                </a:cxn>
                <a:cxn ang="0">
                  <a:pos x="109" y="69"/>
                </a:cxn>
                <a:cxn ang="0">
                  <a:pos x="109" y="69"/>
                </a:cxn>
                <a:cxn ang="0">
                  <a:pos x="109" y="79"/>
                </a:cxn>
                <a:cxn ang="0">
                  <a:pos x="109" y="79"/>
                </a:cxn>
                <a:cxn ang="0">
                  <a:pos x="109" y="79"/>
                </a:cxn>
                <a:cxn ang="0">
                  <a:pos x="99" y="89"/>
                </a:cxn>
                <a:cxn ang="0">
                  <a:pos x="99" y="99"/>
                </a:cxn>
                <a:cxn ang="0">
                  <a:pos x="99" y="99"/>
                </a:cxn>
                <a:cxn ang="0">
                  <a:pos x="89" y="129"/>
                </a:cxn>
                <a:cxn ang="0">
                  <a:pos x="89" y="129"/>
                </a:cxn>
                <a:cxn ang="0">
                  <a:pos x="79" y="129"/>
                </a:cxn>
                <a:cxn ang="0">
                  <a:pos x="79" y="139"/>
                </a:cxn>
                <a:cxn ang="0">
                  <a:pos x="79" y="149"/>
                </a:cxn>
                <a:cxn ang="0">
                  <a:pos x="79" y="149"/>
                </a:cxn>
                <a:cxn ang="0">
                  <a:pos x="69" y="139"/>
                </a:cxn>
                <a:cxn ang="0">
                  <a:pos x="69" y="139"/>
                </a:cxn>
                <a:cxn ang="0">
                  <a:pos x="59" y="139"/>
                </a:cxn>
                <a:cxn ang="0">
                  <a:pos x="59" y="139"/>
                </a:cxn>
                <a:cxn ang="0">
                  <a:pos x="59" y="129"/>
                </a:cxn>
                <a:cxn ang="0">
                  <a:pos x="39" y="119"/>
                </a:cxn>
                <a:cxn ang="0">
                  <a:pos x="20" y="119"/>
                </a:cxn>
                <a:cxn ang="0">
                  <a:pos x="20" y="129"/>
                </a:cxn>
                <a:cxn ang="0">
                  <a:pos x="10" y="129"/>
                </a:cxn>
                <a:cxn ang="0">
                  <a:pos x="10" y="129"/>
                </a:cxn>
                <a:cxn ang="0">
                  <a:pos x="0" y="129"/>
                </a:cxn>
                <a:cxn ang="0">
                  <a:pos x="10" y="109"/>
                </a:cxn>
                <a:cxn ang="0">
                  <a:pos x="10" y="89"/>
                </a:cxn>
                <a:cxn ang="0">
                  <a:pos x="10" y="89"/>
                </a:cxn>
                <a:cxn ang="0">
                  <a:pos x="0" y="89"/>
                </a:cxn>
                <a:cxn ang="0">
                  <a:pos x="0" y="79"/>
                </a:cxn>
                <a:cxn ang="0">
                  <a:pos x="0" y="79"/>
                </a:cxn>
                <a:cxn ang="0">
                  <a:pos x="0" y="79"/>
                </a:cxn>
                <a:cxn ang="0">
                  <a:pos x="10" y="69"/>
                </a:cxn>
                <a:cxn ang="0">
                  <a:pos x="10" y="69"/>
                </a:cxn>
                <a:cxn ang="0">
                  <a:pos x="10" y="69"/>
                </a:cxn>
                <a:cxn ang="0">
                  <a:pos x="20" y="59"/>
                </a:cxn>
                <a:cxn ang="0">
                  <a:pos x="29" y="50"/>
                </a:cxn>
                <a:cxn ang="0">
                  <a:pos x="29" y="50"/>
                </a:cxn>
                <a:cxn ang="0">
                  <a:pos x="29" y="50"/>
                </a:cxn>
                <a:cxn ang="0">
                  <a:pos x="20" y="50"/>
                </a:cxn>
                <a:cxn ang="0">
                  <a:pos x="10" y="59"/>
                </a:cxn>
                <a:cxn ang="0">
                  <a:pos x="0" y="69"/>
                </a:cxn>
                <a:cxn ang="0">
                  <a:pos x="10" y="59"/>
                </a:cxn>
                <a:cxn ang="0">
                  <a:pos x="20" y="59"/>
                </a:cxn>
                <a:cxn ang="0">
                  <a:pos x="20" y="40"/>
                </a:cxn>
                <a:cxn ang="0">
                  <a:pos x="29" y="30"/>
                </a:cxn>
                <a:cxn ang="0">
                  <a:pos x="39" y="0"/>
                </a:cxn>
                <a:cxn ang="0">
                  <a:pos x="59" y="20"/>
                </a:cxn>
                <a:cxn ang="0">
                  <a:pos x="59" y="20"/>
                </a:cxn>
                <a:cxn ang="0">
                  <a:pos x="79" y="30"/>
                </a:cxn>
                <a:cxn ang="0">
                  <a:pos x="89" y="30"/>
                </a:cxn>
                <a:cxn ang="0">
                  <a:pos x="109" y="20"/>
                </a:cxn>
                <a:cxn ang="0">
                  <a:pos x="109" y="40"/>
                </a:cxn>
                <a:cxn ang="0">
                  <a:pos x="99" y="40"/>
                </a:cxn>
                <a:cxn ang="0">
                  <a:pos x="99" y="59"/>
                </a:cxn>
                <a:cxn ang="0">
                  <a:pos x="99" y="59"/>
                </a:cxn>
                <a:cxn ang="0">
                  <a:pos x="99" y="59"/>
                </a:cxn>
                <a:cxn ang="0">
                  <a:pos x="89" y="69"/>
                </a:cxn>
                <a:cxn ang="0">
                  <a:pos x="89" y="79"/>
                </a:cxn>
              </a:cxnLst>
              <a:rect l="0" t="0" r="r" b="b"/>
              <a:pathLst>
                <a:path w="109" h="149">
                  <a:moveTo>
                    <a:pt x="89" y="79"/>
                  </a:moveTo>
                  <a:lnTo>
                    <a:pt x="109" y="69"/>
                  </a:lnTo>
                  <a:lnTo>
                    <a:pt x="109" y="69"/>
                  </a:lnTo>
                  <a:lnTo>
                    <a:pt x="109" y="79"/>
                  </a:lnTo>
                  <a:lnTo>
                    <a:pt x="109" y="79"/>
                  </a:lnTo>
                  <a:lnTo>
                    <a:pt x="109" y="79"/>
                  </a:lnTo>
                  <a:lnTo>
                    <a:pt x="99" y="89"/>
                  </a:lnTo>
                  <a:lnTo>
                    <a:pt x="99" y="99"/>
                  </a:lnTo>
                  <a:lnTo>
                    <a:pt x="99" y="99"/>
                  </a:lnTo>
                  <a:lnTo>
                    <a:pt x="89" y="129"/>
                  </a:lnTo>
                  <a:lnTo>
                    <a:pt x="89" y="129"/>
                  </a:lnTo>
                  <a:lnTo>
                    <a:pt x="79" y="129"/>
                  </a:lnTo>
                  <a:lnTo>
                    <a:pt x="79" y="139"/>
                  </a:lnTo>
                  <a:lnTo>
                    <a:pt x="79" y="149"/>
                  </a:lnTo>
                  <a:lnTo>
                    <a:pt x="79" y="149"/>
                  </a:lnTo>
                  <a:lnTo>
                    <a:pt x="69" y="139"/>
                  </a:lnTo>
                  <a:lnTo>
                    <a:pt x="69" y="139"/>
                  </a:lnTo>
                  <a:lnTo>
                    <a:pt x="59" y="139"/>
                  </a:lnTo>
                  <a:lnTo>
                    <a:pt x="59" y="139"/>
                  </a:lnTo>
                  <a:lnTo>
                    <a:pt x="59" y="129"/>
                  </a:lnTo>
                  <a:lnTo>
                    <a:pt x="39" y="119"/>
                  </a:lnTo>
                  <a:lnTo>
                    <a:pt x="20" y="119"/>
                  </a:lnTo>
                  <a:lnTo>
                    <a:pt x="20" y="129"/>
                  </a:lnTo>
                  <a:lnTo>
                    <a:pt x="10" y="129"/>
                  </a:lnTo>
                  <a:lnTo>
                    <a:pt x="10" y="129"/>
                  </a:lnTo>
                  <a:lnTo>
                    <a:pt x="0" y="129"/>
                  </a:lnTo>
                  <a:lnTo>
                    <a:pt x="10" y="109"/>
                  </a:lnTo>
                  <a:lnTo>
                    <a:pt x="10" y="89"/>
                  </a:lnTo>
                  <a:lnTo>
                    <a:pt x="10" y="89"/>
                  </a:lnTo>
                  <a:lnTo>
                    <a:pt x="0" y="89"/>
                  </a:lnTo>
                  <a:lnTo>
                    <a:pt x="0" y="79"/>
                  </a:lnTo>
                  <a:lnTo>
                    <a:pt x="0" y="79"/>
                  </a:lnTo>
                  <a:lnTo>
                    <a:pt x="0" y="79"/>
                  </a:lnTo>
                  <a:lnTo>
                    <a:pt x="10" y="69"/>
                  </a:lnTo>
                  <a:lnTo>
                    <a:pt x="10" y="69"/>
                  </a:lnTo>
                  <a:lnTo>
                    <a:pt x="10" y="69"/>
                  </a:lnTo>
                  <a:lnTo>
                    <a:pt x="20" y="59"/>
                  </a:lnTo>
                  <a:lnTo>
                    <a:pt x="29" y="50"/>
                  </a:lnTo>
                  <a:lnTo>
                    <a:pt x="29" y="50"/>
                  </a:lnTo>
                  <a:lnTo>
                    <a:pt x="29" y="50"/>
                  </a:lnTo>
                  <a:lnTo>
                    <a:pt x="20" y="50"/>
                  </a:lnTo>
                  <a:lnTo>
                    <a:pt x="10" y="59"/>
                  </a:lnTo>
                  <a:lnTo>
                    <a:pt x="0" y="69"/>
                  </a:lnTo>
                  <a:lnTo>
                    <a:pt x="10" y="59"/>
                  </a:lnTo>
                  <a:lnTo>
                    <a:pt x="20" y="59"/>
                  </a:lnTo>
                  <a:lnTo>
                    <a:pt x="20" y="40"/>
                  </a:lnTo>
                  <a:lnTo>
                    <a:pt x="29" y="30"/>
                  </a:lnTo>
                  <a:lnTo>
                    <a:pt x="39" y="0"/>
                  </a:lnTo>
                  <a:lnTo>
                    <a:pt x="59" y="20"/>
                  </a:lnTo>
                  <a:lnTo>
                    <a:pt x="59" y="20"/>
                  </a:lnTo>
                  <a:lnTo>
                    <a:pt x="79" y="30"/>
                  </a:lnTo>
                  <a:lnTo>
                    <a:pt x="89" y="30"/>
                  </a:lnTo>
                  <a:lnTo>
                    <a:pt x="109" y="20"/>
                  </a:lnTo>
                  <a:lnTo>
                    <a:pt x="109" y="40"/>
                  </a:lnTo>
                  <a:lnTo>
                    <a:pt x="99" y="40"/>
                  </a:lnTo>
                  <a:lnTo>
                    <a:pt x="99" y="59"/>
                  </a:lnTo>
                  <a:lnTo>
                    <a:pt x="99" y="59"/>
                  </a:lnTo>
                  <a:lnTo>
                    <a:pt x="99" y="59"/>
                  </a:lnTo>
                  <a:lnTo>
                    <a:pt x="89" y="69"/>
                  </a:lnTo>
                  <a:lnTo>
                    <a:pt x="89" y="7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6" name="Freeform 595">
              <a:extLst>
                <a:ext uri="{FF2B5EF4-FFF2-40B4-BE49-F238E27FC236}">
                  <a16:creationId xmlns:a16="http://schemas.microsoft.com/office/drawing/2014/main" id="{C3706D0F-90F7-F82F-39CF-45E459A594B7}"/>
                </a:ext>
              </a:extLst>
            </p:cNvPr>
            <p:cNvSpPr>
              <a:spLocks/>
            </p:cNvSpPr>
            <p:nvPr/>
          </p:nvSpPr>
          <p:spPr bwMode="auto">
            <a:xfrm>
              <a:off x="12781710" y="4303917"/>
              <a:ext cx="561690" cy="366168"/>
            </a:xfrm>
            <a:custGeom>
              <a:avLst/>
              <a:gdLst/>
              <a:ahLst/>
              <a:cxnLst>
                <a:cxn ang="0">
                  <a:pos x="378" y="40"/>
                </a:cxn>
                <a:cxn ang="0">
                  <a:pos x="408" y="20"/>
                </a:cxn>
                <a:cxn ang="0">
                  <a:pos x="418" y="11"/>
                </a:cxn>
                <a:cxn ang="0">
                  <a:pos x="408" y="110"/>
                </a:cxn>
                <a:cxn ang="0">
                  <a:pos x="378" y="130"/>
                </a:cxn>
                <a:cxn ang="0">
                  <a:pos x="348" y="149"/>
                </a:cxn>
                <a:cxn ang="0">
                  <a:pos x="338" y="160"/>
                </a:cxn>
                <a:cxn ang="0">
                  <a:pos x="298" y="199"/>
                </a:cxn>
                <a:cxn ang="0">
                  <a:pos x="259" y="229"/>
                </a:cxn>
                <a:cxn ang="0">
                  <a:pos x="249" y="239"/>
                </a:cxn>
                <a:cxn ang="0">
                  <a:pos x="219" y="259"/>
                </a:cxn>
                <a:cxn ang="0">
                  <a:pos x="199" y="269"/>
                </a:cxn>
                <a:cxn ang="0">
                  <a:pos x="149" y="229"/>
                </a:cxn>
                <a:cxn ang="0">
                  <a:pos x="140" y="249"/>
                </a:cxn>
                <a:cxn ang="0">
                  <a:pos x="110" y="249"/>
                </a:cxn>
                <a:cxn ang="0">
                  <a:pos x="100" y="249"/>
                </a:cxn>
                <a:cxn ang="0">
                  <a:pos x="80" y="259"/>
                </a:cxn>
                <a:cxn ang="0">
                  <a:pos x="70" y="279"/>
                </a:cxn>
                <a:cxn ang="0">
                  <a:pos x="50" y="249"/>
                </a:cxn>
                <a:cxn ang="0">
                  <a:pos x="40" y="219"/>
                </a:cxn>
                <a:cxn ang="0">
                  <a:pos x="30" y="189"/>
                </a:cxn>
                <a:cxn ang="0">
                  <a:pos x="20" y="169"/>
                </a:cxn>
                <a:cxn ang="0">
                  <a:pos x="0" y="149"/>
                </a:cxn>
                <a:cxn ang="0">
                  <a:pos x="0" y="130"/>
                </a:cxn>
                <a:cxn ang="0">
                  <a:pos x="10" y="120"/>
                </a:cxn>
                <a:cxn ang="0">
                  <a:pos x="0" y="100"/>
                </a:cxn>
                <a:cxn ang="0">
                  <a:pos x="10" y="100"/>
                </a:cxn>
                <a:cxn ang="0">
                  <a:pos x="10" y="70"/>
                </a:cxn>
                <a:cxn ang="0">
                  <a:pos x="0" y="60"/>
                </a:cxn>
                <a:cxn ang="0">
                  <a:pos x="20" y="60"/>
                </a:cxn>
                <a:cxn ang="0">
                  <a:pos x="20" y="50"/>
                </a:cxn>
                <a:cxn ang="0">
                  <a:pos x="20" y="20"/>
                </a:cxn>
                <a:cxn ang="0">
                  <a:pos x="30" y="30"/>
                </a:cxn>
                <a:cxn ang="0">
                  <a:pos x="50" y="20"/>
                </a:cxn>
                <a:cxn ang="0">
                  <a:pos x="50" y="11"/>
                </a:cxn>
                <a:cxn ang="0">
                  <a:pos x="80" y="0"/>
                </a:cxn>
                <a:cxn ang="0">
                  <a:pos x="90" y="11"/>
                </a:cxn>
                <a:cxn ang="0">
                  <a:pos x="120" y="30"/>
                </a:cxn>
                <a:cxn ang="0">
                  <a:pos x="129" y="40"/>
                </a:cxn>
                <a:cxn ang="0">
                  <a:pos x="120" y="70"/>
                </a:cxn>
                <a:cxn ang="0">
                  <a:pos x="120" y="90"/>
                </a:cxn>
                <a:cxn ang="0">
                  <a:pos x="120" y="100"/>
                </a:cxn>
                <a:cxn ang="0">
                  <a:pos x="120" y="110"/>
                </a:cxn>
                <a:cxn ang="0">
                  <a:pos x="100" y="130"/>
                </a:cxn>
                <a:cxn ang="0">
                  <a:pos x="100" y="149"/>
                </a:cxn>
                <a:cxn ang="0">
                  <a:pos x="169" y="160"/>
                </a:cxn>
                <a:cxn ang="0">
                  <a:pos x="189" y="169"/>
                </a:cxn>
                <a:cxn ang="0">
                  <a:pos x="229" y="149"/>
                </a:cxn>
                <a:cxn ang="0">
                  <a:pos x="259" y="130"/>
                </a:cxn>
                <a:cxn ang="0">
                  <a:pos x="269" y="130"/>
                </a:cxn>
                <a:cxn ang="0">
                  <a:pos x="278" y="110"/>
                </a:cxn>
                <a:cxn ang="0">
                  <a:pos x="289" y="90"/>
                </a:cxn>
                <a:cxn ang="0">
                  <a:pos x="308" y="80"/>
                </a:cxn>
                <a:cxn ang="0">
                  <a:pos x="318" y="70"/>
                </a:cxn>
                <a:cxn ang="0">
                  <a:pos x="328" y="60"/>
                </a:cxn>
                <a:cxn ang="0">
                  <a:pos x="358" y="50"/>
                </a:cxn>
              </a:cxnLst>
              <a:rect l="0" t="0" r="r" b="b"/>
              <a:pathLst>
                <a:path w="418" h="279">
                  <a:moveTo>
                    <a:pt x="368" y="50"/>
                  </a:moveTo>
                  <a:lnTo>
                    <a:pt x="378" y="40"/>
                  </a:lnTo>
                  <a:lnTo>
                    <a:pt x="388" y="30"/>
                  </a:lnTo>
                  <a:lnTo>
                    <a:pt x="408" y="20"/>
                  </a:lnTo>
                  <a:lnTo>
                    <a:pt x="408" y="11"/>
                  </a:lnTo>
                  <a:lnTo>
                    <a:pt x="418" y="11"/>
                  </a:lnTo>
                  <a:lnTo>
                    <a:pt x="408" y="110"/>
                  </a:lnTo>
                  <a:lnTo>
                    <a:pt x="408" y="110"/>
                  </a:lnTo>
                  <a:lnTo>
                    <a:pt x="408" y="120"/>
                  </a:lnTo>
                  <a:lnTo>
                    <a:pt x="378" y="130"/>
                  </a:lnTo>
                  <a:lnTo>
                    <a:pt x="358" y="140"/>
                  </a:lnTo>
                  <a:lnTo>
                    <a:pt x="348" y="149"/>
                  </a:lnTo>
                  <a:lnTo>
                    <a:pt x="338" y="160"/>
                  </a:lnTo>
                  <a:lnTo>
                    <a:pt x="338" y="160"/>
                  </a:lnTo>
                  <a:lnTo>
                    <a:pt x="318" y="189"/>
                  </a:lnTo>
                  <a:lnTo>
                    <a:pt x="298" y="199"/>
                  </a:lnTo>
                  <a:lnTo>
                    <a:pt x="269" y="219"/>
                  </a:lnTo>
                  <a:lnTo>
                    <a:pt x="259" y="229"/>
                  </a:lnTo>
                  <a:lnTo>
                    <a:pt x="259" y="229"/>
                  </a:lnTo>
                  <a:lnTo>
                    <a:pt x="249" y="239"/>
                  </a:lnTo>
                  <a:lnTo>
                    <a:pt x="229" y="249"/>
                  </a:lnTo>
                  <a:lnTo>
                    <a:pt x="219" y="259"/>
                  </a:lnTo>
                  <a:lnTo>
                    <a:pt x="209" y="269"/>
                  </a:lnTo>
                  <a:lnTo>
                    <a:pt x="199" y="269"/>
                  </a:lnTo>
                  <a:lnTo>
                    <a:pt x="159" y="239"/>
                  </a:lnTo>
                  <a:lnTo>
                    <a:pt x="149" y="229"/>
                  </a:lnTo>
                  <a:lnTo>
                    <a:pt x="149" y="239"/>
                  </a:lnTo>
                  <a:lnTo>
                    <a:pt x="140" y="249"/>
                  </a:lnTo>
                  <a:lnTo>
                    <a:pt x="120" y="249"/>
                  </a:lnTo>
                  <a:lnTo>
                    <a:pt x="110" y="249"/>
                  </a:lnTo>
                  <a:lnTo>
                    <a:pt x="100" y="249"/>
                  </a:lnTo>
                  <a:lnTo>
                    <a:pt x="100" y="249"/>
                  </a:lnTo>
                  <a:lnTo>
                    <a:pt x="90" y="249"/>
                  </a:lnTo>
                  <a:lnTo>
                    <a:pt x="80" y="259"/>
                  </a:lnTo>
                  <a:lnTo>
                    <a:pt x="80" y="269"/>
                  </a:lnTo>
                  <a:lnTo>
                    <a:pt x="70" y="279"/>
                  </a:lnTo>
                  <a:lnTo>
                    <a:pt x="70" y="279"/>
                  </a:lnTo>
                  <a:lnTo>
                    <a:pt x="50" y="249"/>
                  </a:lnTo>
                  <a:lnTo>
                    <a:pt x="50" y="239"/>
                  </a:lnTo>
                  <a:lnTo>
                    <a:pt x="40" y="219"/>
                  </a:lnTo>
                  <a:lnTo>
                    <a:pt x="40" y="219"/>
                  </a:lnTo>
                  <a:lnTo>
                    <a:pt x="30" y="189"/>
                  </a:lnTo>
                  <a:lnTo>
                    <a:pt x="30" y="189"/>
                  </a:lnTo>
                  <a:lnTo>
                    <a:pt x="20" y="169"/>
                  </a:lnTo>
                  <a:lnTo>
                    <a:pt x="10" y="160"/>
                  </a:lnTo>
                  <a:lnTo>
                    <a:pt x="0" y="149"/>
                  </a:lnTo>
                  <a:lnTo>
                    <a:pt x="0" y="130"/>
                  </a:lnTo>
                  <a:lnTo>
                    <a:pt x="0" y="130"/>
                  </a:lnTo>
                  <a:lnTo>
                    <a:pt x="0" y="120"/>
                  </a:lnTo>
                  <a:lnTo>
                    <a:pt x="10" y="120"/>
                  </a:lnTo>
                  <a:lnTo>
                    <a:pt x="0" y="110"/>
                  </a:lnTo>
                  <a:lnTo>
                    <a:pt x="0" y="100"/>
                  </a:lnTo>
                  <a:lnTo>
                    <a:pt x="10" y="100"/>
                  </a:lnTo>
                  <a:lnTo>
                    <a:pt x="10" y="100"/>
                  </a:lnTo>
                  <a:lnTo>
                    <a:pt x="0" y="80"/>
                  </a:lnTo>
                  <a:lnTo>
                    <a:pt x="10" y="70"/>
                  </a:lnTo>
                  <a:lnTo>
                    <a:pt x="0" y="60"/>
                  </a:lnTo>
                  <a:lnTo>
                    <a:pt x="0" y="60"/>
                  </a:lnTo>
                  <a:lnTo>
                    <a:pt x="0" y="50"/>
                  </a:lnTo>
                  <a:lnTo>
                    <a:pt x="20" y="60"/>
                  </a:lnTo>
                  <a:lnTo>
                    <a:pt x="10" y="50"/>
                  </a:lnTo>
                  <a:lnTo>
                    <a:pt x="20" y="50"/>
                  </a:lnTo>
                  <a:lnTo>
                    <a:pt x="10" y="20"/>
                  </a:lnTo>
                  <a:lnTo>
                    <a:pt x="20" y="20"/>
                  </a:lnTo>
                  <a:lnTo>
                    <a:pt x="20" y="40"/>
                  </a:lnTo>
                  <a:lnTo>
                    <a:pt x="30" y="30"/>
                  </a:lnTo>
                  <a:lnTo>
                    <a:pt x="40" y="30"/>
                  </a:lnTo>
                  <a:lnTo>
                    <a:pt x="50" y="20"/>
                  </a:lnTo>
                  <a:lnTo>
                    <a:pt x="50" y="11"/>
                  </a:lnTo>
                  <a:lnTo>
                    <a:pt x="50" y="11"/>
                  </a:lnTo>
                  <a:lnTo>
                    <a:pt x="60" y="20"/>
                  </a:lnTo>
                  <a:lnTo>
                    <a:pt x="80" y="0"/>
                  </a:lnTo>
                  <a:lnTo>
                    <a:pt x="80" y="11"/>
                  </a:lnTo>
                  <a:lnTo>
                    <a:pt x="90" y="11"/>
                  </a:lnTo>
                  <a:lnTo>
                    <a:pt x="120" y="30"/>
                  </a:lnTo>
                  <a:lnTo>
                    <a:pt x="120" y="30"/>
                  </a:lnTo>
                  <a:lnTo>
                    <a:pt x="129" y="40"/>
                  </a:lnTo>
                  <a:lnTo>
                    <a:pt x="129" y="40"/>
                  </a:lnTo>
                  <a:lnTo>
                    <a:pt x="120" y="60"/>
                  </a:lnTo>
                  <a:lnTo>
                    <a:pt x="120" y="70"/>
                  </a:lnTo>
                  <a:lnTo>
                    <a:pt x="110" y="70"/>
                  </a:lnTo>
                  <a:lnTo>
                    <a:pt x="120" y="90"/>
                  </a:lnTo>
                  <a:lnTo>
                    <a:pt x="120" y="100"/>
                  </a:lnTo>
                  <a:lnTo>
                    <a:pt x="120" y="100"/>
                  </a:lnTo>
                  <a:lnTo>
                    <a:pt x="120" y="110"/>
                  </a:lnTo>
                  <a:lnTo>
                    <a:pt x="120" y="110"/>
                  </a:lnTo>
                  <a:lnTo>
                    <a:pt x="120" y="110"/>
                  </a:lnTo>
                  <a:lnTo>
                    <a:pt x="100" y="130"/>
                  </a:lnTo>
                  <a:lnTo>
                    <a:pt x="100" y="140"/>
                  </a:lnTo>
                  <a:lnTo>
                    <a:pt x="100" y="149"/>
                  </a:lnTo>
                  <a:lnTo>
                    <a:pt x="100" y="149"/>
                  </a:lnTo>
                  <a:lnTo>
                    <a:pt x="169" y="160"/>
                  </a:lnTo>
                  <a:lnTo>
                    <a:pt x="179" y="169"/>
                  </a:lnTo>
                  <a:lnTo>
                    <a:pt x="189" y="169"/>
                  </a:lnTo>
                  <a:lnTo>
                    <a:pt x="209" y="160"/>
                  </a:lnTo>
                  <a:lnTo>
                    <a:pt x="229" y="149"/>
                  </a:lnTo>
                  <a:lnTo>
                    <a:pt x="239" y="149"/>
                  </a:lnTo>
                  <a:lnTo>
                    <a:pt x="259" y="130"/>
                  </a:lnTo>
                  <a:lnTo>
                    <a:pt x="259" y="130"/>
                  </a:lnTo>
                  <a:lnTo>
                    <a:pt x="269" y="130"/>
                  </a:lnTo>
                  <a:lnTo>
                    <a:pt x="278" y="120"/>
                  </a:lnTo>
                  <a:lnTo>
                    <a:pt x="278" y="110"/>
                  </a:lnTo>
                  <a:lnTo>
                    <a:pt x="278" y="110"/>
                  </a:lnTo>
                  <a:lnTo>
                    <a:pt x="289" y="90"/>
                  </a:lnTo>
                  <a:lnTo>
                    <a:pt x="298" y="90"/>
                  </a:lnTo>
                  <a:lnTo>
                    <a:pt x="308" y="80"/>
                  </a:lnTo>
                  <a:lnTo>
                    <a:pt x="318" y="70"/>
                  </a:lnTo>
                  <a:lnTo>
                    <a:pt x="318" y="70"/>
                  </a:lnTo>
                  <a:lnTo>
                    <a:pt x="318" y="70"/>
                  </a:lnTo>
                  <a:lnTo>
                    <a:pt x="328" y="60"/>
                  </a:lnTo>
                  <a:lnTo>
                    <a:pt x="348" y="50"/>
                  </a:lnTo>
                  <a:lnTo>
                    <a:pt x="358" y="50"/>
                  </a:lnTo>
                  <a:lnTo>
                    <a:pt x="368" y="5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7" name="Freeform 596">
              <a:extLst>
                <a:ext uri="{FF2B5EF4-FFF2-40B4-BE49-F238E27FC236}">
                  <a16:creationId xmlns:a16="http://schemas.microsoft.com/office/drawing/2014/main" id="{40E6FD23-83D5-BDDC-6B8F-02ED71DA38A1}"/>
                </a:ext>
              </a:extLst>
            </p:cNvPr>
            <p:cNvSpPr>
              <a:spLocks/>
            </p:cNvSpPr>
            <p:nvPr/>
          </p:nvSpPr>
          <p:spPr bwMode="auto">
            <a:xfrm>
              <a:off x="13049117" y="3418026"/>
              <a:ext cx="427314" cy="325483"/>
            </a:xfrm>
            <a:custGeom>
              <a:avLst/>
              <a:gdLst/>
              <a:ahLst/>
              <a:cxnLst>
                <a:cxn ang="0">
                  <a:pos x="169" y="79"/>
                </a:cxn>
                <a:cxn ang="0">
                  <a:pos x="179" y="69"/>
                </a:cxn>
                <a:cxn ang="0">
                  <a:pos x="169" y="50"/>
                </a:cxn>
                <a:cxn ang="0">
                  <a:pos x="179" y="40"/>
                </a:cxn>
                <a:cxn ang="0">
                  <a:pos x="199" y="50"/>
                </a:cxn>
                <a:cxn ang="0">
                  <a:pos x="199" y="50"/>
                </a:cxn>
                <a:cxn ang="0">
                  <a:pos x="189" y="50"/>
                </a:cxn>
                <a:cxn ang="0">
                  <a:pos x="169" y="20"/>
                </a:cxn>
                <a:cxn ang="0">
                  <a:pos x="199" y="10"/>
                </a:cxn>
                <a:cxn ang="0">
                  <a:pos x="199" y="40"/>
                </a:cxn>
                <a:cxn ang="0">
                  <a:pos x="209" y="10"/>
                </a:cxn>
                <a:cxn ang="0">
                  <a:pos x="228" y="10"/>
                </a:cxn>
                <a:cxn ang="0">
                  <a:pos x="228" y="30"/>
                </a:cxn>
                <a:cxn ang="0">
                  <a:pos x="238" y="50"/>
                </a:cxn>
                <a:cxn ang="0">
                  <a:pos x="238" y="60"/>
                </a:cxn>
                <a:cxn ang="0">
                  <a:pos x="248" y="50"/>
                </a:cxn>
                <a:cxn ang="0">
                  <a:pos x="248" y="40"/>
                </a:cxn>
                <a:cxn ang="0">
                  <a:pos x="228" y="10"/>
                </a:cxn>
                <a:cxn ang="0">
                  <a:pos x="238" y="30"/>
                </a:cxn>
                <a:cxn ang="0">
                  <a:pos x="268" y="20"/>
                </a:cxn>
                <a:cxn ang="0">
                  <a:pos x="298" y="20"/>
                </a:cxn>
                <a:cxn ang="0">
                  <a:pos x="308" y="89"/>
                </a:cxn>
                <a:cxn ang="0">
                  <a:pos x="318" y="99"/>
                </a:cxn>
                <a:cxn ang="0">
                  <a:pos x="298" y="119"/>
                </a:cxn>
                <a:cxn ang="0">
                  <a:pos x="288" y="139"/>
                </a:cxn>
                <a:cxn ang="0">
                  <a:pos x="268" y="159"/>
                </a:cxn>
                <a:cxn ang="0">
                  <a:pos x="278" y="179"/>
                </a:cxn>
                <a:cxn ang="0">
                  <a:pos x="258" y="189"/>
                </a:cxn>
                <a:cxn ang="0">
                  <a:pos x="248" y="209"/>
                </a:cxn>
                <a:cxn ang="0">
                  <a:pos x="248" y="219"/>
                </a:cxn>
                <a:cxn ang="0">
                  <a:pos x="228" y="209"/>
                </a:cxn>
                <a:cxn ang="0">
                  <a:pos x="199" y="189"/>
                </a:cxn>
                <a:cxn ang="0">
                  <a:pos x="189" y="199"/>
                </a:cxn>
                <a:cxn ang="0">
                  <a:pos x="159" y="199"/>
                </a:cxn>
                <a:cxn ang="0">
                  <a:pos x="139" y="199"/>
                </a:cxn>
                <a:cxn ang="0">
                  <a:pos x="129" y="199"/>
                </a:cxn>
                <a:cxn ang="0">
                  <a:pos x="90" y="209"/>
                </a:cxn>
                <a:cxn ang="0">
                  <a:pos x="40" y="238"/>
                </a:cxn>
                <a:cxn ang="0">
                  <a:pos x="0" y="248"/>
                </a:cxn>
                <a:cxn ang="0">
                  <a:pos x="10" y="209"/>
                </a:cxn>
                <a:cxn ang="0">
                  <a:pos x="20" y="139"/>
                </a:cxn>
                <a:cxn ang="0">
                  <a:pos x="40" y="129"/>
                </a:cxn>
                <a:cxn ang="0">
                  <a:pos x="40" y="79"/>
                </a:cxn>
                <a:cxn ang="0">
                  <a:pos x="60" y="69"/>
                </a:cxn>
                <a:cxn ang="0">
                  <a:pos x="60" y="79"/>
                </a:cxn>
                <a:cxn ang="0">
                  <a:pos x="79" y="79"/>
                </a:cxn>
                <a:cxn ang="0">
                  <a:pos x="90" y="79"/>
                </a:cxn>
                <a:cxn ang="0">
                  <a:pos x="99" y="89"/>
                </a:cxn>
                <a:cxn ang="0">
                  <a:pos x="119" y="89"/>
                </a:cxn>
                <a:cxn ang="0">
                  <a:pos x="109" y="119"/>
                </a:cxn>
                <a:cxn ang="0">
                  <a:pos x="119" y="119"/>
                </a:cxn>
                <a:cxn ang="0">
                  <a:pos x="139" y="99"/>
                </a:cxn>
                <a:cxn ang="0">
                  <a:pos x="149" y="89"/>
                </a:cxn>
              </a:cxnLst>
              <a:rect l="0" t="0" r="r" b="b"/>
              <a:pathLst>
                <a:path w="318" h="248">
                  <a:moveTo>
                    <a:pt x="149" y="89"/>
                  </a:moveTo>
                  <a:lnTo>
                    <a:pt x="159" y="79"/>
                  </a:lnTo>
                  <a:lnTo>
                    <a:pt x="169" y="79"/>
                  </a:lnTo>
                  <a:lnTo>
                    <a:pt x="169" y="79"/>
                  </a:lnTo>
                  <a:lnTo>
                    <a:pt x="179" y="79"/>
                  </a:lnTo>
                  <a:lnTo>
                    <a:pt x="179" y="69"/>
                  </a:lnTo>
                  <a:lnTo>
                    <a:pt x="169" y="69"/>
                  </a:lnTo>
                  <a:lnTo>
                    <a:pt x="169" y="60"/>
                  </a:lnTo>
                  <a:lnTo>
                    <a:pt x="169" y="50"/>
                  </a:lnTo>
                  <a:lnTo>
                    <a:pt x="169" y="50"/>
                  </a:lnTo>
                  <a:lnTo>
                    <a:pt x="179" y="40"/>
                  </a:lnTo>
                  <a:lnTo>
                    <a:pt x="179" y="40"/>
                  </a:lnTo>
                  <a:lnTo>
                    <a:pt x="179" y="50"/>
                  </a:lnTo>
                  <a:lnTo>
                    <a:pt x="189" y="50"/>
                  </a:lnTo>
                  <a:lnTo>
                    <a:pt x="199" y="50"/>
                  </a:lnTo>
                  <a:lnTo>
                    <a:pt x="199" y="50"/>
                  </a:lnTo>
                  <a:lnTo>
                    <a:pt x="199" y="50"/>
                  </a:lnTo>
                  <a:lnTo>
                    <a:pt x="199" y="50"/>
                  </a:lnTo>
                  <a:lnTo>
                    <a:pt x="199" y="50"/>
                  </a:lnTo>
                  <a:lnTo>
                    <a:pt x="189" y="50"/>
                  </a:lnTo>
                  <a:lnTo>
                    <a:pt x="189" y="50"/>
                  </a:lnTo>
                  <a:lnTo>
                    <a:pt x="189" y="50"/>
                  </a:lnTo>
                  <a:lnTo>
                    <a:pt x="189" y="40"/>
                  </a:lnTo>
                  <a:lnTo>
                    <a:pt x="169" y="20"/>
                  </a:lnTo>
                  <a:lnTo>
                    <a:pt x="169" y="10"/>
                  </a:lnTo>
                  <a:lnTo>
                    <a:pt x="179" y="0"/>
                  </a:lnTo>
                  <a:lnTo>
                    <a:pt x="199" y="10"/>
                  </a:lnTo>
                  <a:lnTo>
                    <a:pt x="199" y="20"/>
                  </a:lnTo>
                  <a:lnTo>
                    <a:pt x="199" y="30"/>
                  </a:lnTo>
                  <a:lnTo>
                    <a:pt x="199" y="40"/>
                  </a:lnTo>
                  <a:lnTo>
                    <a:pt x="199" y="40"/>
                  </a:lnTo>
                  <a:lnTo>
                    <a:pt x="199" y="30"/>
                  </a:lnTo>
                  <a:lnTo>
                    <a:pt x="209" y="10"/>
                  </a:lnTo>
                  <a:lnTo>
                    <a:pt x="209" y="0"/>
                  </a:lnTo>
                  <a:lnTo>
                    <a:pt x="219" y="10"/>
                  </a:lnTo>
                  <a:lnTo>
                    <a:pt x="228" y="10"/>
                  </a:lnTo>
                  <a:lnTo>
                    <a:pt x="219" y="20"/>
                  </a:lnTo>
                  <a:lnTo>
                    <a:pt x="228" y="20"/>
                  </a:lnTo>
                  <a:lnTo>
                    <a:pt x="228" y="30"/>
                  </a:lnTo>
                  <a:lnTo>
                    <a:pt x="238" y="40"/>
                  </a:lnTo>
                  <a:lnTo>
                    <a:pt x="238" y="40"/>
                  </a:lnTo>
                  <a:lnTo>
                    <a:pt x="238" y="50"/>
                  </a:lnTo>
                  <a:lnTo>
                    <a:pt x="238" y="60"/>
                  </a:lnTo>
                  <a:lnTo>
                    <a:pt x="238" y="60"/>
                  </a:lnTo>
                  <a:lnTo>
                    <a:pt x="238" y="60"/>
                  </a:lnTo>
                  <a:lnTo>
                    <a:pt x="238" y="50"/>
                  </a:lnTo>
                  <a:lnTo>
                    <a:pt x="238" y="50"/>
                  </a:lnTo>
                  <a:lnTo>
                    <a:pt x="248" y="50"/>
                  </a:lnTo>
                  <a:lnTo>
                    <a:pt x="268" y="50"/>
                  </a:lnTo>
                  <a:lnTo>
                    <a:pt x="248" y="50"/>
                  </a:lnTo>
                  <a:lnTo>
                    <a:pt x="248" y="40"/>
                  </a:lnTo>
                  <a:lnTo>
                    <a:pt x="228" y="20"/>
                  </a:lnTo>
                  <a:lnTo>
                    <a:pt x="228" y="20"/>
                  </a:lnTo>
                  <a:lnTo>
                    <a:pt x="228" y="10"/>
                  </a:lnTo>
                  <a:lnTo>
                    <a:pt x="228" y="10"/>
                  </a:lnTo>
                  <a:lnTo>
                    <a:pt x="238" y="30"/>
                  </a:lnTo>
                  <a:lnTo>
                    <a:pt x="238" y="30"/>
                  </a:lnTo>
                  <a:lnTo>
                    <a:pt x="248" y="30"/>
                  </a:lnTo>
                  <a:lnTo>
                    <a:pt x="258" y="30"/>
                  </a:lnTo>
                  <a:lnTo>
                    <a:pt x="268" y="20"/>
                  </a:lnTo>
                  <a:lnTo>
                    <a:pt x="268" y="20"/>
                  </a:lnTo>
                  <a:lnTo>
                    <a:pt x="278" y="20"/>
                  </a:lnTo>
                  <a:lnTo>
                    <a:pt x="298" y="20"/>
                  </a:lnTo>
                  <a:lnTo>
                    <a:pt x="298" y="30"/>
                  </a:lnTo>
                  <a:lnTo>
                    <a:pt x="308" y="30"/>
                  </a:lnTo>
                  <a:lnTo>
                    <a:pt x="308" y="89"/>
                  </a:lnTo>
                  <a:lnTo>
                    <a:pt x="308" y="99"/>
                  </a:lnTo>
                  <a:lnTo>
                    <a:pt x="318" y="99"/>
                  </a:lnTo>
                  <a:lnTo>
                    <a:pt x="318" y="99"/>
                  </a:lnTo>
                  <a:lnTo>
                    <a:pt x="318" y="109"/>
                  </a:lnTo>
                  <a:lnTo>
                    <a:pt x="308" y="109"/>
                  </a:lnTo>
                  <a:lnTo>
                    <a:pt x="298" y="119"/>
                  </a:lnTo>
                  <a:lnTo>
                    <a:pt x="298" y="129"/>
                  </a:lnTo>
                  <a:lnTo>
                    <a:pt x="288" y="139"/>
                  </a:lnTo>
                  <a:lnTo>
                    <a:pt x="288" y="139"/>
                  </a:lnTo>
                  <a:lnTo>
                    <a:pt x="278" y="139"/>
                  </a:lnTo>
                  <a:lnTo>
                    <a:pt x="268" y="149"/>
                  </a:lnTo>
                  <a:lnTo>
                    <a:pt x="268" y="159"/>
                  </a:lnTo>
                  <a:lnTo>
                    <a:pt x="268" y="169"/>
                  </a:lnTo>
                  <a:lnTo>
                    <a:pt x="268" y="179"/>
                  </a:lnTo>
                  <a:lnTo>
                    <a:pt x="278" y="179"/>
                  </a:lnTo>
                  <a:lnTo>
                    <a:pt x="268" y="189"/>
                  </a:lnTo>
                  <a:lnTo>
                    <a:pt x="268" y="189"/>
                  </a:lnTo>
                  <a:lnTo>
                    <a:pt x="258" y="189"/>
                  </a:lnTo>
                  <a:lnTo>
                    <a:pt x="258" y="189"/>
                  </a:lnTo>
                  <a:lnTo>
                    <a:pt x="258" y="199"/>
                  </a:lnTo>
                  <a:lnTo>
                    <a:pt x="248" y="209"/>
                  </a:lnTo>
                  <a:lnTo>
                    <a:pt x="248" y="209"/>
                  </a:lnTo>
                  <a:lnTo>
                    <a:pt x="248" y="209"/>
                  </a:lnTo>
                  <a:lnTo>
                    <a:pt x="248" y="219"/>
                  </a:lnTo>
                  <a:lnTo>
                    <a:pt x="228" y="209"/>
                  </a:lnTo>
                  <a:lnTo>
                    <a:pt x="228" y="209"/>
                  </a:lnTo>
                  <a:lnTo>
                    <a:pt x="228" y="209"/>
                  </a:lnTo>
                  <a:lnTo>
                    <a:pt x="228" y="199"/>
                  </a:lnTo>
                  <a:lnTo>
                    <a:pt x="199" y="189"/>
                  </a:lnTo>
                  <a:lnTo>
                    <a:pt x="199" y="189"/>
                  </a:lnTo>
                  <a:lnTo>
                    <a:pt x="189" y="189"/>
                  </a:lnTo>
                  <a:lnTo>
                    <a:pt x="189" y="189"/>
                  </a:lnTo>
                  <a:lnTo>
                    <a:pt x="189" y="199"/>
                  </a:lnTo>
                  <a:lnTo>
                    <a:pt x="179" y="209"/>
                  </a:lnTo>
                  <a:lnTo>
                    <a:pt x="169" y="209"/>
                  </a:lnTo>
                  <a:lnTo>
                    <a:pt x="159" y="199"/>
                  </a:lnTo>
                  <a:lnTo>
                    <a:pt x="159" y="199"/>
                  </a:lnTo>
                  <a:lnTo>
                    <a:pt x="149" y="199"/>
                  </a:lnTo>
                  <a:lnTo>
                    <a:pt x="139" y="199"/>
                  </a:lnTo>
                  <a:lnTo>
                    <a:pt x="139" y="209"/>
                  </a:lnTo>
                  <a:lnTo>
                    <a:pt x="129" y="209"/>
                  </a:lnTo>
                  <a:lnTo>
                    <a:pt x="129" y="199"/>
                  </a:lnTo>
                  <a:lnTo>
                    <a:pt x="109" y="209"/>
                  </a:lnTo>
                  <a:lnTo>
                    <a:pt x="99" y="209"/>
                  </a:lnTo>
                  <a:lnTo>
                    <a:pt x="90" y="209"/>
                  </a:lnTo>
                  <a:lnTo>
                    <a:pt x="79" y="219"/>
                  </a:lnTo>
                  <a:lnTo>
                    <a:pt x="70" y="219"/>
                  </a:lnTo>
                  <a:lnTo>
                    <a:pt x="40" y="238"/>
                  </a:lnTo>
                  <a:lnTo>
                    <a:pt x="20" y="238"/>
                  </a:lnTo>
                  <a:lnTo>
                    <a:pt x="10" y="238"/>
                  </a:lnTo>
                  <a:lnTo>
                    <a:pt x="0" y="248"/>
                  </a:lnTo>
                  <a:lnTo>
                    <a:pt x="10" y="228"/>
                  </a:lnTo>
                  <a:lnTo>
                    <a:pt x="10" y="209"/>
                  </a:lnTo>
                  <a:lnTo>
                    <a:pt x="10" y="209"/>
                  </a:lnTo>
                  <a:lnTo>
                    <a:pt x="10" y="199"/>
                  </a:lnTo>
                  <a:lnTo>
                    <a:pt x="10" y="199"/>
                  </a:lnTo>
                  <a:lnTo>
                    <a:pt x="20" y="139"/>
                  </a:lnTo>
                  <a:lnTo>
                    <a:pt x="30" y="139"/>
                  </a:lnTo>
                  <a:lnTo>
                    <a:pt x="40" y="139"/>
                  </a:lnTo>
                  <a:lnTo>
                    <a:pt x="40" y="129"/>
                  </a:lnTo>
                  <a:lnTo>
                    <a:pt x="40" y="89"/>
                  </a:lnTo>
                  <a:lnTo>
                    <a:pt x="40" y="79"/>
                  </a:lnTo>
                  <a:lnTo>
                    <a:pt x="40" y="79"/>
                  </a:lnTo>
                  <a:lnTo>
                    <a:pt x="50" y="79"/>
                  </a:lnTo>
                  <a:lnTo>
                    <a:pt x="50" y="69"/>
                  </a:lnTo>
                  <a:lnTo>
                    <a:pt x="60" y="69"/>
                  </a:lnTo>
                  <a:lnTo>
                    <a:pt x="60" y="69"/>
                  </a:lnTo>
                  <a:lnTo>
                    <a:pt x="60" y="79"/>
                  </a:lnTo>
                  <a:lnTo>
                    <a:pt x="60" y="79"/>
                  </a:lnTo>
                  <a:lnTo>
                    <a:pt x="70" y="69"/>
                  </a:lnTo>
                  <a:lnTo>
                    <a:pt x="79" y="79"/>
                  </a:lnTo>
                  <a:lnTo>
                    <a:pt x="79" y="79"/>
                  </a:lnTo>
                  <a:lnTo>
                    <a:pt x="90" y="79"/>
                  </a:lnTo>
                  <a:lnTo>
                    <a:pt x="90" y="79"/>
                  </a:lnTo>
                  <a:lnTo>
                    <a:pt x="90" y="79"/>
                  </a:lnTo>
                  <a:lnTo>
                    <a:pt x="99" y="79"/>
                  </a:lnTo>
                  <a:lnTo>
                    <a:pt x="99" y="79"/>
                  </a:lnTo>
                  <a:lnTo>
                    <a:pt x="99" y="89"/>
                  </a:lnTo>
                  <a:lnTo>
                    <a:pt x="109" y="99"/>
                  </a:lnTo>
                  <a:lnTo>
                    <a:pt x="109" y="99"/>
                  </a:lnTo>
                  <a:lnTo>
                    <a:pt x="119" y="89"/>
                  </a:lnTo>
                  <a:lnTo>
                    <a:pt x="119" y="99"/>
                  </a:lnTo>
                  <a:lnTo>
                    <a:pt x="119" y="99"/>
                  </a:lnTo>
                  <a:lnTo>
                    <a:pt x="109" y="119"/>
                  </a:lnTo>
                  <a:lnTo>
                    <a:pt x="109" y="119"/>
                  </a:lnTo>
                  <a:lnTo>
                    <a:pt x="119" y="119"/>
                  </a:lnTo>
                  <a:lnTo>
                    <a:pt x="119" y="119"/>
                  </a:lnTo>
                  <a:lnTo>
                    <a:pt x="129" y="109"/>
                  </a:lnTo>
                  <a:lnTo>
                    <a:pt x="139" y="109"/>
                  </a:lnTo>
                  <a:lnTo>
                    <a:pt x="139" y="99"/>
                  </a:lnTo>
                  <a:lnTo>
                    <a:pt x="139" y="89"/>
                  </a:lnTo>
                  <a:lnTo>
                    <a:pt x="149" y="89"/>
                  </a:lnTo>
                  <a:lnTo>
                    <a:pt x="149" y="8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8" name="Freeform 597">
              <a:extLst>
                <a:ext uri="{FF2B5EF4-FFF2-40B4-BE49-F238E27FC236}">
                  <a16:creationId xmlns:a16="http://schemas.microsoft.com/office/drawing/2014/main" id="{4721B153-0C25-6CB6-1C14-680DFF029FFC}"/>
                </a:ext>
              </a:extLst>
            </p:cNvPr>
            <p:cNvSpPr>
              <a:spLocks/>
            </p:cNvSpPr>
            <p:nvPr/>
          </p:nvSpPr>
          <p:spPr bwMode="auto">
            <a:xfrm>
              <a:off x="12515646" y="3743509"/>
              <a:ext cx="306376" cy="339920"/>
            </a:xfrm>
            <a:custGeom>
              <a:avLst/>
              <a:gdLst/>
              <a:ahLst/>
              <a:cxnLst>
                <a:cxn ang="0">
                  <a:pos x="40" y="219"/>
                </a:cxn>
                <a:cxn ang="0">
                  <a:pos x="40" y="189"/>
                </a:cxn>
                <a:cxn ang="0">
                  <a:pos x="40" y="179"/>
                </a:cxn>
                <a:cxn ang="0">
                  <a:pos x="40" y="149"/>
                </a:cxn>
                <a:cxn ang="0">
                  <a:pos x="10" y="149"/>
                </a:cxn>
                <a:cxn ang="0">
                  <a:pos x="20" y="129"/>
                </a:cxn>
                <a:cxn ang="0">
                  <a:pos x="10" y="110"/>
                </a:cxn>
                <a:cxn ang="0">
                  <a:pos x="20" y="100"/>
                </a:cxn>
                <a:cxn ang="0">
                  <a:pos x="10" y="80"/>
                </a:cxn>
                <a:cxn ang="0">
                  <a:pos x="0" y="70"/>
                </a:cxn>
                <a:cxn ang="0">
                  <a:pos x="20" y="60"/>
                </a:cxn>
                <a:cxn ang="0">
                  <a:pos x="0" y="60"/>
                </a:cxn>
                <a:cxn ang="0">
                  <a:pos x="0" y="30"/>
                </a:cxn>
                <a:cxn ang="0">
                  <a:pos x="0" y="20"/>
                </a:cxn>
                <a:cxn ang="0">
                  <a:pos x="0" y="10"/>
                </a:cxn>
                <a:cxn ang="0">
                  <a:pos x="10" y="0"/>
                </a:cxn>
                <a:cxn ang="0">
                  <a:pos x="40" y="10"/>
                </a:cxn>
                <a:cxn ang="0">
                  <a:pos x="49" y="20"/>
                </a:cxn>
                <a:cxn ang="0">
                  <a:pos x="59" y="40"/>
                </a:cxn>
                <a:cxn ang="0">
                  <a:pos x="59" y="40"/>
                </a:cxn>
                <a:cxn ang="0">
                  <a:pos x="99" y="40"/>
                </a:cxn>
                <a:cxn ang="0">
                  <a:pos x="109" y="30"/>
                </a:cxn>
                <a:cxn ang="0">
                  <a:pos x="119" y="10"/>
                </a:cxn>
                <a:cxn ang="0">
                  <a:pos x="129" y="10"/>
                </a:cxn>
                <a:cxn ang="0">
                  <a:pos x="159" y="0"/>
                </a:cxn>
                <a:cxn ang="0">
                  <a:pos x="178" y="20"/>
                </a:cxn>
                <a:cxn ang="0">
                  <a:pos x="189" y="40"/>
                </a:cxn>
                <a:cxn ang="0">
                  <a:pos x="208" y="40"/>
                </a:cxn>
                <a:cxn ang="0">
                  <a:pos x="198" y="50"/>
                </a:cxn>
                <a:cxn ang="0">
                  <a:pos x="198" y="50"/>
                </a:cxn>
                <a:cxn ang="0">
                  <a:pos x="208" y="60"/>
                </a:cxn>
                <a:cxn ang="0">
                  <a:pos x="228" y="70"/>
                </a:cxn>
                <a:cxn ang="0">
                  <a:pos x="159" y="80"/>
                </a:cxn>
                <a:cxn ang="0">
                  <a:pos x="159" y="90"/>
                </a:cxn>
                <a:cxn ang="0">
                  <a:pos x="149" y="110"/>
                </a:cxn>
                <a:cxn ang="0">
                  <a:pos x="159" y="129"/>
                </a:cxn>
                <a:cxn ang="0">
                  <a:pos x="149" y="159"/>
                </a:cxn>
                <a:cxn ang="0">
                  <a:pos x="139" y="159"/>
                </a:cxn>
                <a:cxn ang="0">
                  <a:pos x="129" y="169"/>
                </a:cxn>
                <a:cxn ang="0">
                  <a:pos x="119" y="169"/>
                </a:cxn>
                <a:cxn ang="0">
                  <a:pos x="109" y="169"/>
                </a:cxn>
                <a:cxn ang="0">
                  <a:pos x="119" y="189"/>
                </a:cxn>
                <a:cxn ang="0">
                  <a:pos x="129" y="199"/>
                </a:cxn>
                <a:cxn ang="0">
                  <a:pos x="119" y="219"/>
                </a:cxn>
                <a:cxn ang="0">
                  <a:pos x="119" y="229"/>
                </a:cxn>
                <a:cxn ang="0">
                  <a:pos x="109" y="249"/>
                </a:cxn>
                <a:cxn ang="0">
                  <a:pos x="79" y="259"/>
                </a:cxn>
                <a:cxn ang="0">
                  <a:pos x="79" y="259"/>
                </a:cxn>
                <a:cxn ang="0">
                  <a:pos x="69" y="259"/>
                </a:cxn>
                <a:cxn ang="0">
                  <a:pos x="59" y="249"/>
                </a:cxn>
                <a:cxn ang="0">
                  <a:pos x="49" y="259"/>
                </a:cxn>
                <a:cxn ang="0">
                  <a:pos x="29" y="239"/>
                </a:cxn>
              </a:cxnLst>
              <a:rect l="0" t="0" r="r" b="b"/>
              <a:pathLst>
                <a:path w="228" h="259">
                  <a:moveTo>
                    <a:pt x="29" y="239"/>
                  </a:moveTo>
                  <a:lnTo>
                    <a:pt x="40" y="219"/>
                  </a:lnTo>
                  <a:lnTo>
                    <a:pt x="40" y="199"/>
                  </a:lnTo>
                  <a:lnTo>
                    <a:pt x="40" y="189"/>
                  </a:lnTo>
                  <a:lnTo>
                    <a:pt x="40" y="189"/>
                  </a:lnTo>
                  <a:lnTo>
                    <a:pt x="40" y="179"/>
                  </a:lnTo>
                  <a:lnTo>
                    <a:pt x="40" y="159"/>
                  </a:lnTo>
                  <a:lnTo>
                    <a:pt x="40" y="149"/>
                  </a:lnTo>
                  <a:lnTo>
                    <a:pt x="10" y="149"/>
                  </a:lnTo>
                  <a:lnTo>
                    <a:pt x="10" y="149"/>
                  </a:lnTo>
                  <a:lnTo>
                    <a:pt x="10" y="129"/>
                  </a:lnTo>
                  <a:lnTo>
                    <a:pt x="20" y="129"/>
                  </a:lnTo>
                  <a:lnTo>
                    <a:pt x="10" y="120"/>
                  </a:lnTo>
                  <a:lnTo>
                    <a:pt x="10" y="110"/>
                  </a:lnTo>
                  <a:lnTo>
                    <a:pt x="10" y="100"/>
                  </a:lnTo>
                  <a:lnTo>
                    <a:pt x="20" y="100"/>
                  </a:lnTo>
                  <a:lnTo>
                    <a:pt x="10" y="90"/>
                  </a:lnTo>
                  <a:lnTo>
                    <a:pt x="10" y="80"/>
                  </a:lnTo>
                  <a:lnTo>
                    <a:pt x="0" y="80"/>
                  </a:lnTo>
                  <a:lnTo>
                    <a:pt x="0" y="70"/>
                  </a:lnTo>
                  <a:lnTo>
                    <a:pt x="20" y="70"/>
                  </a:lnTo>
                  <a:lnTo>
                    <a:pt x="20" y="60"/>
                  </a:lnTo>
                  <a:lnTo>
                    <a:pt x="20" y="60"/>
                  </a:lnTo>
                  <a:lnTo>
                    <a:pt x="0" y="60"/>
                  </a:lnTo>
                  <a:lnTo>
                    <a:pt x="0" y="50"/>
                  </a:lnTo>
                  <a:lnTo>
                    <a:pt x="0" y="30"/>
                  </a:lnTo>
                  <a:lnTo>
                    <a:pt x="10" y="30"/>
                  </a:lnTo>
                  <a:lnTo>
                    <a:pt x="0" y="20"/>
                  </a:lnTo>
                  <a:lnTo>
                    <a:pt x="0" y="20"/>
                  </a:lnTo>
                  <a:lnTo>
                    <a:pt x="0" y="10"/>
                  </a:lnTo>
                  <a:lnTo>
                    <a:pt x="0" y="10"/>
                  </a:lnTo>
                  <a:lnTo>
                    <a:pt x="10" y="0"/>
                  </a:lnTo>
                  <a:lnTo>
                    <a:pt x="40" y="10"/>
                  </a:lnTo>
                  <a:lnTo>
                    <a:pt x="40" y="10"/>
                  </a:lnTo>
                  <a:lnTo>
                    <a:pt x="40" y="20"/>
                  </a:lnTo>
                  <a:lnTo>
                    <a:pt x="49" y="20"/>
                  </a:lnTo>
                  <a:lnTo>
                    <a:pt x="49" y="30"/>
                  </a:lnTo>
                  <a:lnTo>
                    <a:pt x="59" y="40"/>
                  </a:lnTo>
                  <a:lnTo>
                    <a:pt x="59" y="40"/>
                  </a:lnTo>
                  <a:lnTo>
                    <a:pt x="59" y="40"/>
                  </a:lnTo>
                  <a:lnTo>
                    <a:pt x="69" y="40"/>
                  </a:lnTo>
                  <a:lnTo>
                    <a:pt x="99" y="40"/>
                  </a:lnTo>
                  <a:lnTo>
                    <a:pt x="109" y="40"/>
                  </a:lnTo>
                  <a:lnTo>
                    <a:pt x="109" y="30"/>
                  </a:lnTo>
                  <a:lnTo>
                    <a:pt x="119" y="20"/>
                  </a:lnTo>
                  <a:lnTo>
                    <a:pt x="119" y="10"/>
                  </a:lnTo>
                  <a:lnTo>
                    <a:pt x="119" y="10"/>
                  </a:lnTo>
                  <a:lnTo>
                    <a:pt x="129" y="10"/>
                  </a:lnTo>
                  <a:lnTo>
                    <a:pt x="129" y="0"/>
                  </a:lnTo>
                  <a:lnTo>
                    <a:pt x="159" y="0"/>
                  </a:lnTo>
                  <a:lnTo>
                    <a:pt x="159" y="30"/>
                  </a:lnTo>
                  <a:lnTo>
                    <a:pt x="178" y="20"/>
                  </a:lnTo>
                  <a:lnTo>
                    <a:pt x="189" y="20"/>
                  </a:lnTo>
                  <a:lnTo>
                    <a:pt x="189" y="40"/>
                  </a:lnTo>
                  <a:lnTo>
                    <a:pt x="198" y="40"/>
                  </a:lnTo>
                  <a:lnTo>
                    <a:pt x="208" y="40"/>
                  </a:lnTo>
                  <a:lnTo>
                    <a:pt x="208" y="50"/>
                  </a:lnTo>
                  <a:lnTo>
                    <a:pt x="198" y="50"/>
                  </a:lnTo>
                  <a:lnTo>
                    <a:pt x="198" y="50"/>
                  </a:lnTo>
                  <a:lnTo>
                    <a:pt x="198" y="50"/>
                  </a:lnTo>
                  <a:lnTo>
                    <a:pt x="208" y="60"/>
                  </a:lnTo>
                  <a:lnTo>
                    <a:pt x="208" y="60"/>
                  </a:lnTo>
                  <a:lnTo>
                    <a:pt x="218" y="60"/>
                  </a:lnTo>
                  <a:lnTo>
                    <a:pt x="228" y="70"/>
                  </a:lnTo>
                  <a:lnTo>
                    <a:pt x="208" y="70"/>
                  </a:lnTo>
                  <a:lnTo>
                    <a:pt x="159" y="80"/>
                  </a:lnTo>
                  <a:lnTo>
                    <a:pt x="159" y="80"/>
                  </a:lnTo>
                  <a:lnTo>
                    <a:pt x="159" y="90"/>
                  </a:lnTo>
                  <a:lnTo>
                    <a:pt x="169" y="100"/>
                  </a:lnTo>
                  <a:lnTo>
                    <a:pt x="149" y="110"/>
                  </a:lnTo>
                  <a:lnTo>
                    <a:pt x="159" y="120"/>
                  </a:lnTo>
                  <a:lnTo>
                    <a:pt x="159" y="129"/>
                  </a:lnTo>
                  <a:lnTo>
                    <a:pt x="169" y="149"/>
                  </a:lnTo>
                  <a:lnTo>
                    <a:pt x="149" y="159"/>
                  </a:lnTo>
                  <a:lnTo>
                    <a:pt x="139" y="159"/>
                  </a:lnTo>
                  <a:lnTo>
                    <a:pt x="139" y="159"/>
                  </a:lnTo>
                  <a:lnTo>
                    <a:pt x="139" y="159"/>
                  </a:lnTo>
                  <a:lnTo>
                    <a:pt x="129" y="169"/>
                  </a:lnTo>
                  <a:lnTo>
                    <a:pt x="129" y="169"/>
                  </a:lnTo>
                  <a:lnTo>
                    <a:pt x="119" y="169"/>
                  </a:lnTo>
                  <a:lnTo>
                    <a:pt x="119" y="169"/>
                  </a:lnTo>
                  <a:lnTo>
                    <a:pt x="109" y="169"/>
                  </a:lnTo>
                  <a:lnTo>
                    <a:pt x="119" y="179"/>
                  </a:lnTo>
                  <a:lnTo>
                    <a:pt x="119" y="189"/>
                  </a:lnTo>
                  <a:lnTo>
                    <a:pt x="129" y="189"/>
                  </a:lnTo>
                  <a:lnTo>
                    <a:pt x="129" y="199"/>
                  </a:lnTo>
                  <a:lnTo>
                    <a:pt x="119" y="209"/>
                  </a:lnTo>
                  <a:lnTo>
                    <a:pt x="119" y="219"/>
                  </a:lnTo>
                  <a:lnTo>
                    <a:pt x="119" y="229"/>
                  </a:lnTo>
                  <a:lnTo>
                    <a:pt x="119" y="229"/>
                  </a:lnTo>
                  <a:lnTo>
                    <a:pt x="109" y="229"/>
                  </a:lnTo>
                  <a:lnTo>
                    <a:pt x="109" y="249"/>
                  </a:lnTo>
                  <a:lnTo>
                    <a:pt x="99" y="259"/>
                  </a:lnTo>
                  <a:lnTo>
                    <a:pt x="79" y="259"/>
                  </a:lnTo>
                  <a:lnTo>
                    <a:pt x="79" y="259"/>
                  </a:lnTo>
                  <a:lnTo>
                    <a:pt x="79" y="259"/>
                  </a:lnTo>
                  <a:lnTo>
                    <a:pt x="79" y="259"/>
                  </a:lnTo>
                  <a:lnTo>
                    <a:pt x="69" y="259"/>
                  </a:lnTo>
                  <a:lnTo>
                    <a:pt x="69" y="259"/>
                  </a:lnTo>
                  <a:lnTo>
                    <a:pt x="59" y="249"/>
                  </a:lnTo>
                  <a:lnTo>
                    <a:pt x="49" y="249"/>
                  </a:lnTo>
                  <a:lnTo>
                    <a:pt x="49" y="259"/>
                  </a:lnTo>
                  <a:lnTo>
                    <a:pt x="29" y="259"/>
                  </a:lnTo>
                  <a:lnTo>
                    <a:pt x="29" y="23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9" name="Freeform 598">
              <a:extLst>
                <a:ext uri="{FF2B5EF4-FFF2-40B4-BE49-F238E27FC236}">
                  <a16:creationId xmlns:a16="http://schemas.microsoft.com/office/drawing/2014/main" id="{C7DF5282-518B-F337-7419-22CF4C86E11D}"/>
                </a:ext>
              </a:extLst>
            </p:cNvPr>
            <p:cNvSpPr>
              <a:spLocks/>
            </p:cNvSpPr>
            <p:nvPr/>
          </p:nvSpPr>
          <p:spPr bwMode="auto">
            <a:xfrm>
              <a:off x="12488771" y="3600454"/>
              <a:ext cx="213657" cy="195552"/>
            </a:xfrm>
            <a:custGeom>
              <a:avLst/>
              <a:gdLst/>
              <a:ahLst/>
              <a:cxnLst>
                <a:cxn ang="0">
                  <a:pos x="20" y="0"/>
                </a:cxn>
                <a:cxn ang="0">
                  <a:pos x="49" y="0"/>
                </a:cxn>
                <a:cxn ang="0">
                  <a:pos x="60" y="0"/>
                </a:cxn>
                <a:cxn ang="0">
                  <a:pos x="69" y="10"/>
                </a:cxn>
                <a:cxn ang="0">
                  <a:pos x="109" y="30"/>
                </a:cxn>
                <a:cxn ang="0">
                  <a:pos x="119" y="30"/>
                </a:cxn>
                <a:cxn ang="0">
                  <a:pos x="119" y="30"/>
                </a:cxn>
                <a:cxn ang="0">
                  <a:pos x="119" y="40"/>
                </a:cxn>
                <a:cxn ang="0">
                  <a:pos x="119" y="40"/>
                </a:cxn>
                <a:cxn ang="0">
                  <a:pos x="119" y="40"/>
                </a:cxn>
                <a:cxn ang="0">
                  <a:pos x="129" y="40"/>
                </a:cxn>
                <a:cxn ang="0">
                  <a:pos x="149" y="40"/>
                </a:cxn>
                <a:cxn ang="0">
                  <a:pos x="159" y="40"/>
                </a:cxn>
                <a:cxn ang="0">
                  <a:pos x="149" y="50"/>
                </a:cxn>
                <a:cxn ang="0">
                  <a:pos x="149" y="70"/>
                </a:cxn>
                <a:cxn ang="0">
                  <a:pos x="149" y="80"/>
                </a:cxn>
                <a:cxn ang="0">
                  <a:pos x="149" y="89"/>
                </a:cxn>
                <a:cxn ang="0">
                  <a:pos x="149" y="99"/>
                </a:cxn>
                <a:cxn ang="0">
                  <a:pos x="149" y="99"/>
                </a:cxn>
                <a:cxn ang="0">
                  <a:pos x="149" y="109"/>
                </a:cxn>
                <a:cxn ang="0">
                  <a:pos x="149" y="109"/>
                </a:cxn>
                <a:cxn ang="0">
                  <a:pos x="149" y="119"/>
                </a:cxn>
                <a:cxn ang="0">
                  <a:pos x="139" y="119"/>
                </a:cxn>
                <a:cxn ang="0">
                  <a:pos x="139" y="119"/>
                </a:cxn>
                <a:cxn ang="0">
                  <a:pos x="139" y="129"/>
                </a:cxn>
                <a:cxn ang="0">
                  <a:pos x="129" y="139"/>
                </a:cxn>
                <a:cxn ang="0">
                  <a:pos x="129" y="149"/>
                </a:cxn>
                <a:cxn ang="0">
                  <a:pos x="119" y="149"/>
                </a:cxn>
                <a:cxn ang="0">
                  <a:pos x="89" y="149"/>
                </a:cxn>
                <a:cxn ang="0">
                  <a:pos x="79" y="149"/>
                </a:cxn>
                <a:cxn ang="0">
                  <a:pos x="79" y="149"/>
                </a:cxn>
                <a:cxn ang="0">
                  <a:pos x="79" y="149"/>
                </a:cxn>
                <a:cxn ang="0">
                  <a:pos x="69" y="139"/>
                </a:cxn>
                <a:cxn ang="0">
                  <a:pos x="69" y="129"/>
                </a:cxn>
                <a:cxn ang="0">
                  <a:pos x="60" y="129"/>
                </a:cxn>
                <a:cxn ang="0">
                  <a:pos x="60" y="119"/>
                </a:cxn>
                <a:cxn ang="0">
                  <a:pos x="60" y="119"/>
                </a:cxn>
                <a:cxn ang="0">
                  <a:pos x="30" y="109"/>
                </a:cxn>
                <a:cxn ang="0">
                  <a:pos x="20" y="99"/>
                </a:cxn>
                <a:cxn ang="0">
                  <a:pos x="20" y="99"/>
                </a:cxn>
                <a:cxn ang="0">
                  <a:pos x="20" y="89"/>
                </a:cxn>
                <a:cxn ang="0">
                  <a:pos x="20" y="70"/>
                </a:cxn>
                <a:cxn ang="0">
                  <a:pos x="20" y="60"/>
                </a:cxn>
                <a:cxn ang="0">
                  <a:pos x="10" y="50"/>
                </a:cxn>
                <a:cxn ang="0">
                  <a:pos x="0" y="40"/>
                </a:cxn>
                <a:cxn ang="0">
                  <a:pos x="10" y="30"/>
                </a:cxn>
                <a:cxn ang="0">
                  <a:pos x="10" y="10"/>
                </a:cxn>
                <a:cxn ang="0">
                  <a:pos x="10" y="10"/>
                </a:cxn>
                <a:cxn ang="0">
                  <a:pos x="20" y="0"/>
                </a:cxn>
                <a:cxn ang="0">
                  <a:pos x="20" y="0"/>
                </a:cxn>
                <a:cxn ang="0">
                  <a:pos x="20" y="0"/>
                </a:cxn>
              </a:cxnLst>
              <a:rect l="0" t="0" r="r" b="b"/>
              <a:pathLst>
                <a:path w="159" h="149">
                  <a:moveTo>
                    <a:pt x="20" y="0"/>
                  </a:moveTo>
                  <a:lnTo>
                    <a:pt x="49" y="0"/>
                  </a:lnTo>
                  <a:lnTo>
                    <a:pt x="60" y="0"/>
                  </a:lnTo>
                  <a:lnTo>
                    <a:pt x="69" y="10"/>
                  </a:lnTo>
                  <a:lnTo>
                    <a:pt x="109" y="30"/>
                  </a:lnTo>
                  <a:lnTo>
                    <a:pt x="119" y="30"/>
                  </a:lnTo>
                  <a:lnTo>
                    <a:pt x="119" y="30"/>
                  </a:lnTo>
                  <a:lnTo>
                    <a:pt x="119" y="40"/>
                  </a:lnTo>
                  <a:lnTo>
                    <a:pt x="119" y="40"/>
                  </a:lnTo>
                  <a:lnTo>
                    <a:pt x="119" y="40"/>
                  </a:lnTo>
                  <a:lnTo>
                    <a:pt x="129" y="40"/>
                  </a:lnTo>
                  <a:lnTo>
                    <a:pt x="149" y="40"/>
                  </a:lnTo>
                  <a:lnTo>
                    <a:pt x="159" y="40"/>
                  </a:lnTo>
                  <a:lnTo>
                    <a:pt x="149" y="50"/>
                  </a:lnTo>
                  <a:lnTo>
                    <a:pt x="149" y="70"/>
                  </a:lnTo>
                  <a:lnTo>
                    <a:pt x="149" y="80"/>
                  </a:lnTo>
                  <a:lnTo>
                    <a:pt x="149" y="89"/>
                  </a:lnTo>
                  <a:lnTo>
                    <a:pt x="149" y="99"/>
                  </a:lnTo>
                  <a:lnTo>
                    <a:pt x="149" y="99"/>
                  </a:lnTo>
                  <a:lnTo>
                    <a:pt x="149" y="109"/>
                  </a:lnTo>
                  <a:lnTo>
                    <a:pt x="149" y="109"/>
                  </a:lnTo>
                  <a:lnTo>
                    <a:pt x="149" y="119"/>
                  </a:lnTo>
                  <a:lnTo>
                    <a:pt x="139" y="119"/>
                  </a:lnTo>
                  <a:lnTo>
                    <a:pt x="139" y="119"/>
                  </a:lnTo>
                  <a:lnTo>
                    <a:pt x="139" y="129"/>
                  </a:lnTo>
                  <a:lnTo>
                    <a:pt x="129" y="139"/>
                  </a:lnTo>
                  <a:lnTo>
                    <a:pt x="129" y="149"/>
                  </a:lnTo>
                  <a:lnTo>
                    <a:pt x="119" y="149"/>
                  </a:lnTo>
                  <a:lnTo>
                    <a:pt x="89" y="149"/>
                  </a:lnTo>
                  <a:lnTo>
                    <a:pt x="79" y="149"/>
                  </a:lnTo>
                  <a:lnTo>
                    <a:pt x="79" y="149"/>
                  </a:lnTo>
                  <a:lnTo>
                    <a:pt x="79" y="149"/>
                  </a:lnTo>
                  <a:lnTo>
                    <a:pt x="69" y="139"/>
                  </a:lnTo>
                  <a:lnTo>
                    <a:pt x="69" y="129"/>
                  </a:lnTo>
                  <a:lnTo>
                    <a:pt x="60" y="129"/>
                  </a:lnTo>
                  <a:lnTo>
                    <a:pt x="60" y="119"/>
                  </a:lnTo>
                  <a:lnTo>
                    <a:pt x="60" y="119"/>
                  </a:lnTo>
                  <a:lnTo>
                    <a:pt x="30" y="109"/>
                  </a:lnTo>
                  <a:lnTo>
                    <a:pt x="20" y="99"/>
                  </a:lnTo>
                  <a:lnTo>
                    <a:pt x="20" y="99"/>
                  </a:lnTo>
                  <a:lnTo>
                    <a:pt x="20" y="89"/>
                  </a:lnTo>
                  <a:lnTo>
                    <a:pt x="20" y="70"/>
                  </a:lnTo>
                  <a:lnTo>
                    <a:pt x="20" y="60"/>
                  </a:lnTo>
                  <a:lnTo>
                    <a:pt x="10" y="50"/>
                  </a:lnTo>
                  <a:lnTo>
                    <a:pt x="0" y="40"/>
                  </a:lnTo>
                  <a:lnTo>
                    <a:pt x="10" y="30"/>
                  </a:lnTo>
                  <a:lnTo>
                    <a:pt x="10" y="10"/>
                  </a:lnTo>
                  <a:lnTo>
                    <a:pt x="10" y="10"/>
                  </a:lnTo>
                  <a:lnTo>
                    <a:pt x="20" y="0"/>
                  </a:lnTo>
                  <a:lnTo>
                    <a:pt x="20" y="0"/>
                  </a:lnTo>
                  <a:lnTo>
                    <a:pt x="2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0" name="Freeform 599">
              <a:extLst>
                <a:ext uri="{FF2B5EF4-FFF2-40B4-BE49-F238E27FC236}">
                  <a16:creationId xmlns:a16="http://schemas.microsoft.com/office/drawing/2014/main" id="{D2D2E07D-5D95-979A-E140-1A402A4D40E8}"/>
                </a:ext>
              </a:extLst>
            </p:cNvPr>
            <p:cNvSpPr>
              <a:spLocks/>
            </p:cNvSpPr>
            <p:nvPr/>
          </p:nvSpPr>
          <p:spPr bwMode="auto">
            <a:xfrm>
              <a:off x="12369177" y="4696334"/>
              <a:ext cx="412533" cy="286110"/>
            </a:xfrm>
            <a:custGeom>
              <a:avLst/>
              <a:gdLst/>
              <a:ahLst/>
              <a:cxnLst>
                <a:cxn ang="0">
                  <a:pos x="59" y="129"/>
                </a:cxn>
                <a:cxn ang="0">
                  <a:pos x="49" y="129"/>
                </a:cxn>
                <a:cxn ang="0">
                  <a:pos x="29" y="129"/>
                </a:cxn>
                <a:cxn ang="0">
                  <a:pos x="9" y="129"/>
                </a:cxn>
                <a:cxn ang="0">
                  <a:pos x="9" y="109"/>
                </a:cxn>
                <a:cxn ang="0">
                  <a:pos x="0" y="99"/>
                </a:cxn>
                <a:cxn ang="0">
                  <a:pos x="0" y="89"/>
                </a:cxn>
                <a:cxn ang="0">
                  <a:pos x="0" y="69"/>
                </a:cxn>
                <a:cxn ang="0">
                  <a:pos x="9" y="49"/>
                </a:cxn>
                <a:cxn ang="0">
                  <a:pos x="9" y="39"/>
                </a:cxn>
                <a:cxn ang="0">
                  <a:pos x="39" y="29"/>
                </a:cxn>
                <a:cxn ang="0">
                  <a:pos x="59" y="19"/>
                </a:cxn>
                <a:cxn ang="0">
                  <a:pos x="69" y="10"/>
                </a:cxn>
                <a:cxn ang="0">
                  <a:pos x="109" y="19"/>
                </a:cxn>
                <a:cxn ang="0">
                  <a:pos x="149" y="39"/>
                </a:cxn>
                <a:cxn ang="0">
                  <a:pos x="258" y="0"/>
                </a:cxn>
                <a:cxn ang="0">
                  <a:pos x="287" y="19"/>
                </a:cxn>
                <a:cxn ang="0">
                  <a:pos x="307" y="29"/>
                </a:cxn>
                <a:cxn ang="0">
                  <a:pos x="287" y="59"/>
                </a:cxn>
                <a:cxn ang="0">
                  <a:pos x="278" y="69"/>
                </a:cxn>
                <a:cxn ang="0">
                  <a:pos x="268" y="89"/>
                </a:cxn>
                <a:cxn ang="0">
                  <a:pos x="248" y="129"/>
                </a:cxn>
                <a:cxn ang="0">
                  <a:pos x="248" y="139"/>
                </a:cxn>
                <a:cxn ang="0">
                  <a:pos x="238" y="168"/>
                </a:cxn>
                <a:cxn ang="0">
                  <a:pos x="228" y="178"/>
                </a:cxn>
                <a:cxn ang="0">
                  <a:pos x="218" y="188"/>
                </a:cxn>
                <a:cxn ang="0">
                  <a:pos x="188" y="218"/>
                </a:cxn>
                <a:cxn ang="0">
                  <a:pos x="178" y="188"/>
                </a:cxn>
                <a:cxn ang="0">
                  <a:pos x="129" y="139"/>
                </a:cxn>
                <a:cxn ang="0">
                  <a:pos x="109" y="149"/>
                </a:cxn>
                <a:cxn ang="0">
                  <a:pos x="89" y="139"/>
                </a:cxn>
                <a:cxn ang="0">
                  <a:pos x="89" y="129"/>
                </a:cxn>
                <a:cxn ang="0">
                  <a:pos x="79" y="139"/>
                </a:cxn>
                <a:cxn ang="0">
                  <a:pos x="79" y="139"/>
                </a:cxn>
                <a:cxn ang="0">
                  <a:pos x="69" y="129"/>
                </a:cxn>
              </a:cxnLst>
              <a:rect l="0" t="0" r="r" b="b"/>
              <a:pathLst>
                <a:path w="307" h="218">
                  <a:moveTo>
                    <a:pt x="69" y="129"/>
                  </a:moveTo>
                  <a:lnTo>
                    <a:pt x="59" y="129"/>
                  </a:lnTo>
                  <a:lnTo>
                    <a:pt x="49" y="129"/>
                  </a:lnTo>
                  <a:lnTo>
                    <a:pt x="49" y="129"/>
                  </a:lnTo>
                  <a:lnTo>
                    <a:pt x="29" y="129"/>
                  </a:lnTo>
                  <a:lnTo>
                    <a:pt x="29" y="129"/>
                  </a:lnTo>
                  <a:lnTo>
                    <a:pt x="19" y="129"/>
                  </a:lnTo>
                  <a:lnTo>
                    <a:pt x="9" y="129"/>
                  </a:lnTo>
                  <a:lnTo>
                    <a:pt x="9" y="109"/>
                  </a:lnTo>
                  <a:lnTo>
                    <a:pt x="9" y="109"/>
                  </a:lnTo>
                  <a:lnTo>
                    <a:pt x="9" y="109"/>
                  </a:lnTo>
                  <a:lnTo>
                    <a:pt x="0" y="99"/>
                  </a:lnTo>
                  <a:lnTo>
                    <a:pt x="0" y="99"/>
                  </a:lnTo>
                  <a:lnTo>
                    <a:pt x="0" y="89"/>
                  </a:lnTo>
                  <a:lnTo>
                    <a:pt x="0" y="79"/>
                  </a:lnTo>
                  <a:lnTo>
                    <a:pt x="0" y="69"/>
                  </a:lnTo>
                  <a:lnTo>
                    <a:pt x="0" y="59"/>
                  </a:lnTo>
                  <a:lnTo>
                    <a:pt x="9" y="49"/>
                  </a:lnTo>
                  <a:lnTo>
                    <a:pt x="9" y="39"/>
                  </a:lnTo>
                  <a:lnTo>
                    <a:pt x="9" y="39"/>
                  </a:lnTo>
                  <a:lnTo>
                    <a:pt x="19" y="39"/>
                  </a:lnTo>
                  <a:lnTo>
                    <a:pt x="39" y="29"/>
                  </a:lnTo>
                  <a:lnTo>
                    <a:pt x="49" y="19"/>
                  </a:lnTo>
                  <a:lnTo>
                    <a:pt x="59" y="19"/>
                  </a:lnTo>
                  <a:lnTo>
                    <a:pt x="69" y="19"/>
                  </a:lnTo>
                  <a:lnTo>
                    <a:pt x="69" y="10"/>
                  </a:lnTo>
                  <a:lnTo>
                    <a:pt x="69" y="10"/>
                  </a:lnTo>
                  <a:lnTo>
                    <a:pt x="109" y="19"/>
                  </a:lnTo>
                  <a:lnTo>
                    <a:pt x="138" y="29"/>
                  </a:lnTo>
                  <a:lnTo>
                    <a:pt x="149" y="39"/>
                  </a:lnTo>
                  <a:lnTo>
                    <a:pt x="198" y="19"/>
                  </a:lnTo>
                  <a:lnTo>
                    <a:pt x="258" y="0"/>
                  </a:lnTo>
                  <a:lnTo>
                    <a:pt x="268" y="10"/>
                  </a:lnTo>
                  <a:lnTo>
                    <a:pt x="287" y="19"/>
                  </a:lnTo>
                  <a:lnTo>
                    <a:pt x="307" y="29"/>
                  </a:lnTo>
                  <a:lnTo>
                    <a:pt x="307" y="29"/>
                  </a:lnTo>
                  <a:lnTo>
                    <a:pt x="298" y="39"/>
                  </a:lnTo>
                  <a:lnTo>
                    <a:pt x="287" y="59"/>
                  </a:lnTo>
                  <a:lnTo>
                    <a:pt x="278" y="69"/>
                  </a:lnTo>
                  <a:lnTo>
                    <a:pt x="278" y="69"/>
                  </a:lnTo>
                  <a:lnTo>
                    <a:pt x="278" y="79"/>
                  </a:lnTo>
                  <a:lnTo>
                    <a:pt x="268" y="89"/>
                  </a:lnTo>
                  <a:lnTo>
                    <a:pt x="258" y="109"/>
                  </a:lnTo>
                  <a:lnTo>
                    <a:pt x="248" y="129"/>
                  </a:lnTo>
                  <a:lnTo>
                    <a:pt x="248" y="129"/>
                  </a:lnTo>
                  <a:lnTo>
                    <a:pt x="248" y="139"/>
                  </a:lnTo>
                  <a:lnTo>
                    <a:pt x="238" y="159"/>
                  </a:lnTo>
                  <a:lnTo>
                    <a:pt x="238" y="168"/>
                  </a:lnTo>
                  <a:lnTo>
                    <a:pt x="228" y="178"/>
                  </a:lnTo>
                  <a:lnTo>
                    <a:pt x="228" y="178"/>
                  </a:lnTo>
                  <a:lnTo>
                    <a:pt x="228" y="188"/>
                  </a:lnTo>
                  <a:lnTo>
                    <a:pt x="218" y="188"/>
                  </a:lnTo>
                  <a:lnTo>
                    <a:pt x="198" y="208"/>
                  </a:lnTo>
                  <a:lnTo>
                    <a:pt x="188" y="218"/>
                  </a:lnTo>
                  <a:lnTo>
                    <a:pt x="188" y="208"/>
                  </a:lnTo>
                  <a:lnTo>
                    <a:pt x="178" y="188"/>
                  </a:lnTo>
                  <a:lnTo>
                    <a:pt x="138" y="139"/>
                  </a:lnTo>
                  <a:lnTo>
                    <a:pt x="129" y="139"/>
                  </a:lnTo>
                  <a:lnTo>
                    <a:pt x="99" y="129"/>
                  </a:lnTo>
                  <a:lnTo>
                    <a:pt x="109" y="149"/>
                  </a:lnTo>
                  <a:lnTo>
                    <a:pt x="109" y="149"/>
                  </a:lnTo>
                  <a:lnTo>
                    <a:pt x="89" y="139"/>
                  </a:lnTo>
                  <a:lnTo>
                    <a:pt x="89" y="139"/>
                  </a:lnTo>
                  <a:lnTo>
                    <a:pt x="89" y="129"/>
                  </a:lnTo>
                  <a:lnTo>
                    <a:pt x="89" y="129"/>
                  </a:lnTo>
                  <a:lnTo>
                    <a:pt x="79" y="139"/>
                  </a:lnTo>
                  <a:lnTo>
                    <a:pt x="79" y="149"/>
                  </a:lnTo>
                  <a:lnTo>
                    <a:pt x="79" y="139"/>
                  </a:lnTo>
                  <a:lnTo>
                    <a:pt x="69" y="139"/>
                  </a:lnTo>
                  <a:lnTo>
                    <a:pt x="69" y="129"/>
                  </a:lnTo>
                  <a:lnTo>
                    <a:pt x="69" y="1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1" name="Freeform 600">
              <a:extLst>
                <a:ext uri="{FF2B5EF4-FFF2-40B4-BE49-F238E27FC236}">
                  <a16:creationId xmlns:a16="http://schemas.microsoft.com/office/drawing/2014/main" id="{51FC87BE-5215-63F4-2E1E-ED2A13B0D921}"/>
                </a:ext>
              </a:extLst>
            </p:cNvPr>
            <p:cNvSpPr>
              <a:spLocks/>
            </p:cNvSpPr>
            <p:nvPr/>
          </p:nvSpPr>
          <p:spPr bwMode="auto">
            <a:xfrm>
              <a:off x="12288552" y="3705448"/>
              <a:ext cx="253970" cy="259861"/>
            </a:xfrm>
            <a:custGeom>
              <a:avLst/>
              <a:gdLst/>
              <a:ahLst/>
              <a:cxnLst>
                <a:cxn ang="0">
                  <a:pos x="10" y="129"/>
                </a:cxn>
                <a:cxn ang="0">
                  <a:pos x="0" y="109"/>
                </a:cxn>
                <a:cxn ang="0">
                  <a:pos x="20" y="89"/>
                </a:cxn>
                <a:cxn ang="0">
                  <a:pos x="10" y="89"/>
                </a:cxn>
                <a:cxn ang="0">
                  <a:pos x="10" y="79"/>
                </a:cxn>
                <a:cxn ang="0">
                  <a:pos x="10" y="69"/>
                </a:cxn>
                <a:cxn ang="0">
                  <a:pos x="10" y="49"/>
                </a:cxn>
                <a:cxn ang="0">
                  <a:pos x="40" y="39"/>
                </a:cxn>
                <a:cxn ang="0">
                  <a:pos x="20" y="19"/>
                </a:cxn>
                <a:cxn ang="0">
                  <a:pos x="20" y="0"/>
                </a:cxn>
                <a:cxn ang="0">
                  <a:pos x="40" y="9"/>
                </a:cxn>
                <a:cxn ang="0">
                  <a:pos x="69" y="19"/>
                </a:cxn>
                <a:cxn ang="0">
                  <a:pos x="79" y="19"/>
                </a:cxn>
                <a:cxn ang="0">
                  <a:pos x="89" y="29"/>
                </a:cxn>
                <a:cxn ang="0">
                  <a:pos x="109" y="39"/>
                </a:cxn>
                <a:cxn ang="0">
                  <a:pos x="119" y="29"/>
                </a:cxn>
                <a:cxn ang="0">
                  <a:pos x="139" y="29"/>
                </a:cxn>
                <a:cxn ang="0">
                  <a:pos x="169" y="19"/>
                </a:cxn>
                <a:cxn ang="0">
                  <a:pos x="169" y="39"/>
                </a:cxn>
                <a:cxn ang="0">
                  <a:pos x="169" y="49"/>
                </a:cxn>
                <a:cxn ang="0">
                  <a:pos x="179" y="59"/>
                </a:cxn>
                <a:cxn ang="0">
                  <a:pos x="169" y="79"/>
                </a:cxn>
                <a:cxn ang="0">
                  <a:pos x="189" y="89"/>
                </a:cxn>
                <a:cxn ang="0">
                  <a:pos x="189" y="99"/>
                </a:cxn>
                <a:cxn ang="0">
                  <a:pos x="169" y="109"/>
                </a:cxn>
                <a:cxn ang="0">
                  <a:pos x="179" y="119"/>
                </a:cxn>
                <a:cxn ang="0">
                  <a:pos x="179" y="129"/>
                </a:cxn>
                <a:cxn ang="0">
                  <a:pos x="179" y="149"/>
                </a:cxn>
                <a:cxn ang="0">
                  <a:pos x="179" y="158"/>
                </a:cxn>
                <a:cxn ang="0">
                  <a:pos x="169" y="188"/>
                </a:cxn>
                <a:cxn ang="0">
                  <a:pos x="149" y="188"/>
                </a:cxn>
                <a:cxn ang="0">
                  <a:pos x="139" y="178"/>
                </a:cxn>
                <a:cxn ang="0">
                  <a:pos x="129" y="178"/>
                </a:cxn>
                <a:cxn ang="0">
                  <a:pos x="129" y="168"/>
                </a:cxn>
                <a:cxn ang="0">
                  <a:pos x="109" y="158"/>
                </a:cxn>
                <a:cxn ang="0">
                  <a:pos x="99" y="168"/>
                </a:cxn>
                <a:cxn ang="0">
                  <a:pos x="89" y="178"/>
                </a:cxn>
                <a:cxn ang="0">
                  <a:pos x="79" y="188"/>
                </a:cxn>
                <a:cxn ang="0">
                  <a:pos x="60" y="188"/>
                </a:cxn>
                <a:cxn ang="0">
                  <a:pos x="40" y="188"/>
                </a:cxn>
                <a:cxn ang="0">
                  <a:pos x="20" y="178"/>
                </a:cxn>
                <a:cxn ang="0">
                  <a:pos x="30" y="178"/>
                </a:cxn>
                <a:cxn ang="0">
                  <a:pos x="10" y="158"/>
                </a:cxn>
                <a:cxn ang="0">
                  <a:pos x="10" y="149"/>
                </a:cxn>
                <a:cxn ang="0">
                  <a:pos x="20" y="139"/>
                </a:cxn>
              </a:cxnLst>
              <a:rect l="0" t="0" r="r" b="b"/>
              <a:pathLst>
                <a:path w="189" h="198">
                  <a:moveTo>
                    <a:pt x="10" y="139"/>
                  </a:moveTo>
                  <a:lnTo>
                    <a:pt x="10" y="129"/>
                  </a:lnTo>
                  <a:lnTo>
                    <a:pt x="10" y="129"/>
                  </a:lnTo>
                  <a:lnTo>
                    <a:pt x="0" y="109"/>
                  </a:lnTo>
                  <a:lnTo>
                    <a:pt x="30" y="109"/>
                  </a:lnTo>
                  <a:lnTo>
                    <a:pt x="20" y="89"/>
                  </a:lnTo>
                  <a:lnTo>
                    <a:pt x="10" y="89"/>
                  </a:lnTo>
                  <a:lnTo>
                    <a:pt x="10" y="89"/>
                  </a:lnTo>
                  <a:lnTo>
                    <a:pt x="10" y="79"/>
                  </a:lnTo>
                  <a:lnTo>
                    <a:pt x="10" y="79"/>
                  </a:lnTo>
                  <a:lnTo>
                    <a:pt x="10" y="79"/>
                  </a:lnTo>
                  <a:lnTo>
                    <a:pt x="10" y="69"/>
                  </a:lnTo>
                  <a:lnTo>
                    <a:pt x="0" y="59"/>
                  </a:lnTo>
                  <a:lnTo>
                    <a:pt x="10" y="49"/>
                  </a:lnTo>
                  <a:lnTo>
                    <a:pt x="20" y="49"/>
                  </a:lnTo>
                  <a:lnTo>
                    <a:pt x="40" y="39"/>
                  </a:lnTo>
                  <a:lnTo>
                    <a:pt x="30" y="39"/>
                  </a:lnTo>
                  <a:lnTo>
                    <a:pt x="20" y="19"/>
                  </a:lnTo>
                  <a:lnTo>
                    <a:pt x="20" y="9"/>
                  </a:lnTo>
                  <a:lnTo>
                    <a:pt x="20" y="0"/>
                  </a:lnTo>
                  <a:lnTo>
                    <a:pt x="40" y="9"/>
                  </a:lnTo>
                  <a:lnTo>
                    <a:pt x="40" y="9"/>
                  </a:lnTo>
                  <a:lnTo>
                    <a:pt x="50" y="9"/>
                  </a:lnTo>
                  <a:lnTo>
                    <a:pt x="69" y="19"/>
                  </a:lnTo>
                  <a:lnTo>
                    <a:pt x="69" y="19"/>
                  </a:lnTo>
                  <a:lnTo>
                    <a:pt x="79" y="19"/>
                  </a:lnTo>
                  <a:lnTo>
                    <a:pt x="79" y="29"/>
                  </a:lnTo>
                  <a:lnTo>
                    <a:pt x="89" y="29"/>
                  </a:lnTo>
                  <a:lnTo>
                    <a:pt x="99" y="29"/>
                  </a:lnTo>
                  <a:lnTo>
                    <a:pt x="109" y="39"/>
                  </a:lnTo>
                  <a:lnTo>
                    <a:pt x="109" y="19"/>
                  </a:lnTo>
                  <a:lnTo>
                    <a:pt x="119" y="29"/>
                  </a:lnTo>
                  <a:lnTo>
                    <a:pt x="139" y="29"/>
                  </a:lnTo>
                  <a:lnTo>
                    <a:pt x="139" y="29"/>
                  </a:lnTo>
                  <a:lnTo>
                    <a:pt x="159" y="19"/>
                  </a:lnTo>
                  <a:lnTo>
                    <a:pt x="169" y="19"/>
                  </a:lnTo>
                  <a:lnTo>
                    <a:pt x="179" y="29"/>
                  </a:lnTo>
                  <a:lnTo>
                    <a:pt x="169" y="39"/>
                  </a:lnTo>
                  <a:lnTo>
                    <a:pt x="169" y="39"/>
                  </a:lnTo>
                  <a:lnTo>
                    <a:pt x="169" y="49"/>
                  </a:lnTo>
                  <a:lnTo>
                    <a:pt x="169" y="49"/>
                  </a:lnTo>
                  <a:lnTo>
                    <a:pt x="179" y="59"/>
                  </a:lnTo>
                  <a:lnTo>
                    <a:pt x="169" y="59"/>
                  </a:lnTo>
                  <a:lnTo>
                    <a:pt x="169" y="79"/>
                  </a:lnTo>
                  <a:lnTo>
                    <a:pt x="169" y="89"/>
                  </a:lnTo>
                  <a:lnTo>
                    <a:pt x="189" y="89"/>
                  </a:lnTo>
                  <a:lnTo>
                    <a:pt x="189" y="89"/>
                  </a:lnTo>
                  <a:lnTo>
                    <a:pt x="189" y="99"/>
                  </a:lnTo>
                  <a:lnTo>
                    <a:pt x="169" y="99"/>
                  </a:lnTo>
                  <a:lnTo>
                    <a:pt x="169" y="109"/>
                  </a:lnTo>
                  <a:lnTo>
                    <a:pt x="179" y="109"/>
                  </a:lnTo>
                  <a:lnTo>
                    <a:pt x="179" y="119"/>
                  </a:lnTo>
                  <a:lnTo>
                    <a:pt x="189" y="129"/>
                  </a:lnTo>
                  <a:lnTo>
                    <a:pt x="179" y="129"/>
                  </a:lnTo>
                  <a:lnTo>
                    <a:pt x="179" y="139"/>
                  </a:lnTo>
                  <a:lnTo>
                    <a:pt x="179" y="149"/>
                  </a:lnTo>
                  <a:lnTo>
                    <a:pt x="189" y="158"/>
                  </a:lnTo>
                  <a:lnTo>
                    <a:pt x="179" y="158"/>
                  </a:lnTo>
                  <a:lnTo>
                    <a:pt x="179" y="178"/>
                  </a:lnTo>
                  <a:lnTo>
                    <a:pt x="169" y="188"/>
                  </a:lnTo>
                  <a:lnTo>
                    <a:pt x="159" y="198"/>
                  </a:lnTo>
                  <a:lnTo>
                    <a:pt x="149" y="188"/>
                  </a:lnTo>
                  <a:lnTo>
                    <a:pt x="149" y="178"/>
                  </a:lnTo>
                  <a:lnTo>
                    <a:pt x="139" y="178"/>
                  </a:lnTo>
                  <a:lnTo>
                    <a:pt x="139" y="178"/>
                  </a:lnTo>
                  <a:lnTo>
                    <a:pt x="129" y="178"/>
                  </a:lnTo>
                  <a:lnTo>
                    <a:pt x="129" y="178"/>
                  </a:lnTo>
                  <a:lnTo>
                    <a:pt x="129" y="168"/>
                  </a:lnTo>
                  <a:lnTo>
                    <a:pt x="119" y="168"/>
                  </a:lnTo>
                  <a:lnTo>
                    <a:pt x="109" y="158"/>
                  </a:lnTo>
                  <a:lnTo>
                    <a:pt x="99" y="168"/>
                  </a:lnTo>
                  <a:lnTo>
                    <a:pt x="99" y="168"/>
                  </a:lnTo>
                  <a:lnTo>
                    <a:pt x="89" y="178"/>
                  </a:lnTo>
                  <a:lnTo>
                    <a:pt x="89" y="178"/>
                  </a:lnTo>
                  <a:lnTo>
                    <a:pt x="79" y="178"/>
                  </a:lnTo>
                  <a:lnTo>
                    <a:pt x="79" y="188"/>
                  </a:lnTo>
                  <a:lnTo>
                    <a:pt x="69" y="198"/>
                  </a:lnTo>
                  <a:lnTo>
                    <a:pt x="60" y="188"/>
                  </a:lnTo>
                  <a:lnTo>
                    <a:pt x="50" y="188"/>
                  </a:lnTo>
                  <a:lnTo>
                    <a:pt x="40" y="188"/>
                  </a:lnTo>
                  <a:lnTo>
                    <a:pt x="30" y="188"/>
                  </a:lnTo>
                  <a:lnTo>
                    <a:pt x="20" y="178"/>
                  </a:lnTo>
                  <a:lnTo>
                    <a:pt x="20" y="178"/>
                  </a:lnTo>
                  <a:lnTo>
                    <a:pt x="30" y="178"/>
                  </a:lnTo>
                  <a:lnTo>
                    <a:pt x="10" y="168"/>
                  </a:lnTo>
                  <a:lnTo>
                    <a:pt x="10" y="158"/>
                  </a:lnTo>
                  <a:lnTo>
                    <a:pt x="0" y="158"/>
                  </a:lnTo>
                  <a:lnTo>
                    <a:pt x="10" y="149"/>
                  </a:lnTo>
                  <a:lnTo>
                    <a:pt x="20" y="139"/>
                  </a:lnTo>
                  <a:lnTo>
                    <a:pt x="20" y="139"/>
                  </a:lnTo>
                  <a:lnTo>
                    <a:pt x="10" y="13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2" name="Freeform 601">
              <a:extLst>
                <a:ext uri="{FF2B5EF4-FFF2-40B4-BE49-F238E27FC236}">
                  <a16:creationId xmlns:a16="http://schemas.microsoft.com/office/drawing/2014/main" id="{17296C9C-0827-EFB2-5DEB-0751B8CA7F97}"/>
                </a:ext>
              </a:extLst>
            </p:cNvPr>
            <p:cNvSpPr>
              <a:spLocks/>
            </p:cNvSpPr>
            <p:nvPr/>
          </p:nvSpPr>
          <p:spPr bwMode="auto">
            <a:xfrm>
              <a:off x="13129742" y="4213359"/>
              <a:ext cx="600658" cy="469850"/>
            </a:xfrm>
            <a:custGeom>
              <a:avLst/>
              <a:gdLst/>
              <a:ahLst/>
              <a:cxnLst>
                <a:cxn ang="0">
                  <a:pos x="218" y="50"/>
                </a:cxn>
                <a:cxn ang="0">
                  <a:pos x="218" y="50"/>
                </a:cxn>
                <a:cxn ang="0">
                  <a:pos x="238" y="40"/>
                </a:cxn>
                <a:cxn ang="0">
                  <a:pos x="248" y="30"/>
                </a:cxn>
                <a:cxn ang="0">
                  <a:pos x="248" y="30"/>
                </a:cxn>
                <a:cxn ang="0">
                  <a:pos x="248" y="20"/>
                </a:cxn>
                <a:cxn ang="0">
                  <a:pos x="278" y="10"/>
                </a:cxn>
                <a:cxn ang="0">
                  <a:pos x="317" y="0"/>
                </a:cxn>
                <a:cxn ang="0">
                  <a:pos x="347" y="0"/>
                </a:cxn>
                <a:cxn ang="0">
                  <a:pos x="367" y="10"/>
                </a:cxn>
                <a:cxn ang="0">
                  <a:pos x="357" y="40"/>
                </a:cxn>
                <a:cxn ang="0">
                  <a:pos x="357" y="69"/>
                </a:cxn>
                <a:cxn ang="0">
                  <a:pos x="357" y="80"/>
                </a:cxn>
                <a:cxn ang="0">
                  <a:pos x="377" y="109"/>
                </a:cxn>
                <a:cxn ang="0">
                  <a:pos x="417" y="169"/>
                </a:cxn>
                <a:cxn ang="0">
                  <a:pos x="427" y="189"/>
                </a:cxn>
                <a:cxn ang="0">
                  <a:pos x="437" y="209"/>
                </a:cxn>
                <a:cxn ang="0">
                  <a:pos x="447" y="218"/>
                </a:cxn>
                <a:cxn ang="0">
                  <a:pos x="417" y="268"/>
                </a:cxn>
                <a:cxn ang="0">
                  <a:pos x="417" y="278"/>
                </a:cxn>
                <a:cxn ang="0">
                  <a:pos x="407" y="288"/>
                </a:cxn>
                <a:cxn ang="0">
                  <a:pos x="397" y="298"/>
                </a:cxn>
                <a:cxn ang="0">
                  <a:pos x="367" y="328"/>
                </a:cxn>
                <a:cxn ang="0">
                  <a:pos x="327" y="358"/>
                </a:cxn>
                <a:cxn ang="0">
                  <a:pos x="288" y="318"/>
                </a:cxn>
                <a:cxn ang="0">
                  <a:pos x="258" y="318"/>
                </a:cxn>
                <a:cxn ang="0">
                  <a:pos x="228" y="308"/>
                </a:cxn>
                <a:cxn ang="0">
                  <a:pos x="208" y="318"/>
                </a:cxn>
                <a:cxn ang="0">
                  <a:pos x="168" y="318"/>
                </a:cxn>
                <a:cxn ang="0">
                  <a:pos x="159" y="298"/>
                </a:cxn>
                <a:cxn ang="0">
                  <a:pos x="149" y="288"/>
                </a:cxn>
                <a:cxn ang="0">
                  <a:pos x="159" y="288"/>
                </a:cxn>
                <a:cxn ang="0">
                  <a:pos x="149" y="278"/>
                </a:cxn>
                <a:cxn ang="0">
                  <a:pos x="139" y="288"/>
                </a:cxn>
                <a:cxn ang="0">
                  <a:pos x="129" y="298"/>
                </a:cxn>
                <a:cxn ang="0">
                  <a:pos x="109" y="298"/>
                </a:cxn>
                <a:cxn ang="0">
                  <a:pos x="99" y="308"/>
                </a:cxn>
                <a:cxn ang="0">
                  <a:pos x="79" y="318"/>
                </a:cxn>
                <a:cxn ang="0">
                  <a:pos x="69" y="318"/>
                </a:cxn>
                <a:cxn ang="0">
                  <a:pos x="59" y="328"/>
                </a:cxn>
                <a:cxn ang="0">
                  <a:pos x="39" y="338"/>
                </a:cxn>
                <a:cxn ang="0">
                  <a:pos x="39" y="348"/>
                </a:cxn>
                <a:cxn ang="0">
                  <a:pos x="30" y="338"/>
                </a:cxn>
                <a:cxn ang="0">
                  <a:pos x="19" y="318"/>
                </a:cxn>
                <a:cxn ang="0">
                  <a:pos x="0" y="298"/>
                </a:cxn>
                <a:cxn ang="0">
                  <a:pos x="0" y="298"/>
                </a:cxn>
                <a:cxn ang="0">
                  <a:pos x="10" y="288"/>
                </a:cxn>
                <a:cxn ang="0">
                  <a:pos x="39" y="268"/>
                </a:cxn>
                <a:cxn ang="0">
                  <a:pos x="59" y="258"/>
                </a:cxn>
                <a:cxn ang="0">
                  <a:pos x="79" y="229"/>
                </a:cxn>
                <a:cxn ang="0">
                  <a:pos x="79" y="229"/>
                </a:cxn>
                <a:cxn ang="0">
                  <a:pos x="89" y="218"/>
                </a:cxn>
                <a:cxn ang="0">
                  <a:pos x="99" y="209"/>
                </a:cxn>
                <a:cxn ang="0">
                  <a:pos x="119" y="199"/>
                </a:cxn>
                <a:cxn ang="0">
                  <a:pos x="149" y="189"/>
                </a:cxn>
                <a:cxn ang="0">
                  <a:pos x="149" y="179"/>
                </a:cxn>
                <a:cxn ang="0">
                  <a:pos x="149" y="179"/>
                </a:cxn>
                <a:cxn ang="0">
                  <a:pos x="159" y="80"/>
                </a:cxn>
                <a:cxn ang="0">
                  <a:pos x="168" y="80"/>
                </a:cxn>
                <a:cxn ang="0">
                  <a:pos x="178" y="69"/>
                </a:cxn>
                <a:cxn ang="0">
                  <a:pos x="188" y="69"/>
                </a:cxn>
                <a:cxn ang="0">
                  <a:pos x="218" y="50"/>
                </a:cxn>
              </a:cxnLst>
              <a:rect l="0" t="0" r="r" b="b"/>
              <a:pathLst>
                <a:path w="447" h="358">
                  <a:moveTo>
                    <a:pt x="218" y="50"/>
                  </a:moveTo>
                  <a:lnTo>
                    <a:pt x="218" y="50"/>
                  </a:lnTo>
                  <a:lnTo>
                    <a:pt x="238" y="40"/>
                  </a:lnTo>
                  <a:lnTo>
                    <a:pt x="248" y="30"/>
                  </a:lnTo>
                  <a:lnTo>
                    <a:pt x="248" y="30"/>
                  </a:lnTo>
                  <a:lnTo>
                    <a:pt x="248" y="20"/>
                  </a:lnTo>
                  <a:lnTo>
                    <a:pt x="278" y="10"/>
                  </a:lnTo>
                  <a:lnTo>
                    <a:pt x="317" y="0"/>
                  </a:lnTo>
                  <a:lnTo>
                    <a:pt x="347" y="0"/>
                  </a:lnTo>
                  <a:lnTo>
                    <a:pt x="367" y="10"/>
                  </a:lnTo>
                  <a:lnTo>
                    <a:pt x="357" y="40"/>
                  </a:lnTo>
                  <a:lnTo>
                    <a:pt x="357" y="69"/>
                  </a:lnTo>
                  <a:lnTo>
                    <a:pt x="357" y="80"/>
                  </a:lnTo>
                  <a:lnTo>
                    <a:pt x="377" y="109"/>
                  </a:lnTo>
                  <a:lnTo>
                    <a:pt x="417" y="169"/>
                  </a:lnTo>
                  <a:lnTo>
                    <a:pt x="427" y="189"/>
                  </a:lnTo>
                  <a:lnTo>
                    <a:pt x="437" y="209"/>
                  </a:lnTo>
                  <a:lnTo>
                    <a:pt x="447" y="218"/>
                  </a:lnTo>
                  <a:lnTo>
                    <a:pt x="417" y="268"/>
                  </a:lnTo>
                  <a:lnTo>
                    <a:pt x="417" y="278"/>
                  </a:lnTo>
                  <a:lnTo>
                    <a:pt x="407" y="288"/>
                  </a:lnTo>
                  <a:lnTo>
                    <a:pt x="397" y="298"/>
                  </a:lnTo>
                  <a:lnTo>
                    <a:pt x="367" y="328"/>
                  </a:lnTo>
                  <a:lnTo>
                    <a:pt x="327" y="358"/>
                  </a:lnTo>
                  <a:lnTo>
                    <a:pt x="288" y="318"/>
                  </a:lnTo>
                  <a:lnTo>
                    <a:pt x="258" y="318"/>
                  </a:lnTo>
                  <a:lnTo>
                    <a:pt x="228" y="308"/>
                  </a:lnTo>
                  <a:lnTo>
                    <a:pt x="208" y="318"/>
                  </a:lnTo>
                  <a:lnTo>
                    <a:pt x="168" y="318"/>
                  </a:lnTo>
                  <a:lnTo>
                    <a:pt x="159" y="298"/>
                  </a:lnTo>
                  <a:lnTo>
                    <a:pt x="149" y="288"/>
                  </a:lnTo>
                  <a:lnTo>
                    <a:pt x="159" y="288"/>
                  </a:lnTo>
                  <a:lnTo>
                    <a:pt x="149" y="278"/>
                  </a:lnTo>
                  <a:lnTo>
                    <a:pt x="139" y="288"/>
                  </a:lnTo>
                  <a:lnTo>
                    <a:pt x="129" y="298"/>
                  </a:lnTo>
                  <a:lnTo>
                    <a:pt x="109" y="298"/>
                  </a:lnTo>
                  <a:lnTo>
                    <a:pt x="99" y="308"/>
                  </a:lnTo>
                  <a:lnTo>
                    <a:pt x="79" y="318"/>
                  </a:lnTo>
                  <a:lnTo>
                    <a:pt x="69" y="318"/>
                  </a:lnTo>
                  <a:lnTo>
                    <a:pt x="59" y="328"/>
                  </a:lnTo>
                  <a:lnTo>
                    <a:pt x="39" y="338"/>
                  </a:lnTo>
                  <a:lnTo>
                    <a:pt x="39" y="348"/>
                  </a:lnTo>
                  <a:lnTo>
                    <a:pt x="30" y="338"/>
                  </a:lnTo>
                  <a:lnTo>
                    <a:pt x="19" y="318"/>
                  </a:lnTo>
                  <a:lnTo>
                    <a:pt x="0" y="298"/>
                  </a:lnTo>
                  <a:lnTo>
                    <a:pt x="0" y="298"/>
                  </a:lnTo>
                  <a:lnTo>
                    <a:pt x="10" y="288"/>
                  </a:lnTo>
                  <a:lnTo>
                    <a:pt x="39" y="268"/>
                  </a:lnTo>
                  <a:lnTo>
                    <a:pt x="59" y="258"/>
                  </a:lnTo>
                  <a:lnTo>
                    <a:pt x="79" y="229"/>
                  </a:lnTo>
                  <a:lnTo>
                    <a:pt x="79" y="229"/>
                  </a:lnTo>
                  <a:lnTo>
                    <a:pt x="89" y="218"/>
                  </a:lnTo>
                  <a:lnTo>
                    <a:pt x="99" y="209"/>
                  </a:lnTo>
                  <a:lnTo>
                    <a:pt x="119" y="199"/>
                  </a:lnTo>
                  <a:lnTo>
                    <a:pt x="149" y="189"/>
                  </a:lnTo>
                  <a:lnTo>
                    <a:pt x="149" y="179"/>
                  </a:lnTo>
                  <a:lnTo>
                    <a:pt x="149" y="179"/>
                  </a:lnTo>
                  <a:lnTo>
                    <a:pt x="159" y="80"/>
                  </a:lnTo>
                  <a:lnTo>
                    <a:pt x="168" y="80"/>
                  </a:lnTo>
                  <a:lnTo>
                    <a:pt x="178" y="69"/>
                  </a:lnTo>
                  <a:lnTo>
                    <a:pt x="188" y="69"/>
                  </a:lnTo>
                  <a:lnTo>
                    <a:pt x="218" y="5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3" name="Freeform 602">
              <a:extLst>
                <a:ext uri="{FF2B5EF4-FFF2-40B4-BE49-F238E27FC236}">
                  <a16:creationId xmlns:a16="http://schemas.microsoft.com/office/drawing/2014/main" id="{504632FB-8D5C-2933-C1A5-B7439AB5440D}"/>
                </a:ext>
              </a:extLst>
            </p:cNvPr>
            <p:cNvSpPr>
              <a:spLocks/>
            </p:cNvSpPr>
            <p:nvPr/>
          </p:nvSpPr>
          <p:spPr bwMode="auto">
            <a:xfrm>
              <a:off x="12862335" y="4057180"/>
              <a:ext cx="693378" cy="468538"/>
            </a:xfrm>
            <a:custGeom>
              <a:avLst/>
              <a:gdLst/>
              <a:ahLst/>
              <a:cxnLst>
                <a:cxn ang="0">
                  <a:pos x="179" y="129"/>
                </a:cxn>
                <a:cxn ang="0">
                  <a:pos x="199" y="129"/>
                </a:cxn>
                <a:cxn ang="0">
                  <a:pos x="199" y="129"/>
                </a:cxn>
                <a:cxn ang="0">
                  <a:pos x="229" y="99"/>
                </a:cxn>
                <a:cxn ang="0">
                  <a:pos x="248" y="69"/>
                </a:cxn>
                <a:cxn ang="0">
                  <a:pos x="258" y="59"/>
                </a:cxn>
                <a:cxn ang="0">
                  <a:pos x="268" y="50"/>
                </a:cxn>
                <a:cxn ang="0">
                  <a:pos x="298" y="20"/>
                </a:cxn>
                <a:cxn ang="0">
                  <a:pos x="338" y="10"/>
                </a:cxn>
                <a:cxn ang="0">
                  <a:pos x="348" y="30"/>
                </a:cxn>
                <a:cxn ang="0">
                  <a:pos x="358" y="30"/>
                </a:cxn>
                <a:cxn ang="0">
                  <a:pos x="397" y="30"/>
                </a:cxn>
                <a:cxn ang="0">
                  <a:pos x="427" y="30"/>
                </a:cxn>
                <a:cxn ang="0">
                  <a:pos x="457" y="50"/>
                </a:cxn>
                <a:cxn ang="0">
                  <a:pos x="467" y="59"/>
                </a:cxn>
                <a:cxn ang="0">
                  <a:pos x="497" y="79"/>
                </a:cxn>
                <a:cxn ang="0">
                  <a:pos x="516" y="119"/>
                </a:cxn>
                <a:cxn ang="0">
                  <a:pos x="447" y="139"/>
                </a:cxn>
                <a:cxn ang="0">
                  <a:pos x="447" y="149"/>
                </a:cxn>
                <a:cxn ang="0">
                  <a:pos x="417" y="169"/>
                </a:cxn>
                <a:cxn ang="0">
                  <a:pos x="387" y="188"/>
                </a:cxn>
                <a:cxn ang="0">
                  <a:pos x="367" y="199"/>
                </a:cxn>
                <a:cxn ang="0">
                  <a:pos x="348" y="199"/>
                </a:cxn>
                <a:cxn ang="0">
                  <a:pos x="328" y="218"/>
                </a:cxn>
                <a:cxn ang="0">
                  <a:pos x="308" y="238"/>
                </a:cxn>
                <a:cxn ang="0">
                  <a:pos x="288" y="238"/>
                </a:cxn>
                <a:cxn ang="0">
                  <a:pos x="258" y="258"/>
                </a:cxn>
                <a:cxn ang="0">
                  <a:pos x="258" y="258"/>
                </a:cxn>
                <a:cxn ang="0">
                  <a:pos x="238" y="278"/>
                </a:cxn>
                <a:cxn ang="0">
                  <a:pos x="218" y="298"/>
                </a:cxn>
                <a:cxn ang="0">
                  <a:pos x="218" y="308"/>
                </a:cxn>
                <a:cxn ang="0">
                  <a:pos x="199" y="318"/>
                </a:cxn>
                <a:cxn ang="0">
                  <a:pos x="179" y="337"/>
                </a:cxn>
                <a:cxn ang="0">
                  <a:pos x="149" y="348"/>
                </a:cxn>
                <a:cxn ang="0">
                  <a:pos x="119" y="357"/>
                </a:cxn>
                <a:cxn ang="0">
                  <a:pos x="40" y="337"/>
                </a:cxn>
                <a:cxn ang="0">
                  <a:pos x="40" y="328"/>
                </a:cxn>
                <a:cxn ang="0">
                  <a:pos x="60" y="298"/>
                </a:cxn>
                <a:cxn ang="0">
                  <a:pos x="60" y="298"/>
                </a:cxn>
                <a:cxn ang="0">
                  <a:pos x="60" y="288"/>
                </a:cxn>
                <a:cxn ang="0">
                  <a:pos x="50" y="258"/>
                </a:cxn>
                <a:cxn ang="0">
                  <a:pos x="60" y="248"/>
                </a:cxn>
                <a:cxn ang="0">
                  <a:pos x="69" y="228"/>
                </a:cxn>
                <a:cxn ang="0">
                  <a:pos x="60" y="218"/>
                </a:cxn>
                <a:cxn ang="0">
                  <a:pos x="20" y="199"/>
                </a:cxn>
                <a:cxn ang="0">
                  <a:pos x="10" y="188"/>
                </a:cxn>
                <a:cxn ang="0">
                  <a:pos x="20" y="179"/>
                </a:cxn>
                <a:cxn ang="0">
                  <a:pos x="30" y="169"/>
                </a:cxn>
                <a:cxn ang="0">
                  <a:pos x="20" y="169"/>
                </a:cxn>
                <a:cxn ang="0">
                  <a:pos x="20" y="139"/>
                </a:cxn>
                <a:cxn ang="0">
                  <a:pos x="10" y="139"/>
                </a:cxn>
                <a:cxn ang="0">
                  <a:pos x="0" y="129"/>
                </a:cxn>
                <a:cxn ang="0">
                  <a:pos x="0" y="109"/>
                </a:cxn>
                <a:cxn ang="0">
                  <a:pos x="0" y="109"/>
                </a:cxn>
                <a:cxn ang="0">
                  <a:pos x="69" y="119"/>
                </a:cxn>
                <a:cxn ang="0">
                  <a:pos x="89" y="109"/>
                </a:cxn>
                <a:cxn ang="0">
                  <a:pos x="119" y="119"/>
                </a:cxn>
                <a:cxn ang="0">
                  <a:pos x="149" y="119"/>
                </a:cxn>
              </a:cxnLst>
              <a:rect l="0" t="0" r="r" b="b"/>
              <a:pathLst>
                <a:path w="516" h="357">
                  <a:moveTo>
                    <a:pt x="149" y="119"/>
                  </a:moveTo>
                  <a:lnTo>
                    <a:pt x="179" y="129"/>
                  </a:lnTo>
                  <a:lnTo>
                    <a:pt x="189" y="129"/>
                  </a:lnTo>
                  <a:lnTo>
                    <a:pt x="199" y="129"/>
                  </a:lnTo>
                  <a:lnTo>
                    <a:pt x="199" y="129"/>
                  </a:lnTo>
                  <a:lnTo>
                    <a:pt x="199" y="129"/>
                  </a:lnTo>
                  <a:lnTo>
                    <a:pt x="229" y="109"/>
                  </a:lnTo>
                  <a:lnTo>
                    <a:pt x="229" y="99"/>
                  </a:lnTo>
                  <a:lnTo>
                    <a:pt x="238" y="99"/>
                  </a:lnTo>
                  <a:lnTo>
                    <a:pt x="248" y="69"/>
                  </a:lnTo>
                  <a:lnTo>
                    <a:pt x="248" y="59"/>
                  </a:lnTo>
                  <a:lnTo>
                    <a:pt x="258" y="59"/>
                  </a:lnTo>
                  <a:lnTo>
                    <a:pt x="258" y="59"/>
                  </a:lnTo>
                  <a:lnTo>
                    <a:pt x="268" y="50"/>
                  </a:lnTo>
                  <a:lnTo>
                    <a:pt x="278" y="39"/>
                  </a:lnTo>
                  <a:lnTo>
                    <a:pt x="298" y="20"/>
                  </a:lnTo>
                  <a:lnTo>
                    <a:pt x="328" y="0"/>
                  </a:lnTo>
                  <a:lnTo>
                    <a:pt x="338" y="10"/>
                  </a:lnTo>
                  <a:lnTo>
                    <a:pt x="348" y="30"/>
                  </a:lnTo>
                  <a:lnTo>
                    <a:pt x="348" y="30"/>
                  </a:lnTo>
                  <a:lnTo>
                    <a:pt x="358" y="30"/>
                  </a:lnTo>
                  <a:lnTo>
                    <a:pt x="358" y="30"/>
                  </a:lnTo>
                  <a:lnTo>
                    <a:pt x="377" y="30"/>
                  </a:lnTo>
                  <a:lnTo>
                    <a:pt x="397" y="30"/>
                  </a:lnTo>
                  <a:lnTo>
                    <a:pt x="417" y="30"/>
                  </a:lnTo>
                  <a:lnTo>
                    <a:pt x="427" y="30"/>
                  </a:lnTo>
                  <a:lnTo>
                    <a:pt x="437" y="39"/>
                  </a:lnTo>
                  <a:lnTo>
                    <a:pt x="457" y="50"/>
                  </a:lnTo>
                  <a:lnTo>
                    <a:pt x="467" y="59"/>
                  </a:lnTo>
                  <a:lnTo>
                    <a:pt x="467" y="59"/>
                  </a:lnTo>
                  <a:lnTo>
                    <a:pt x="467" y="69"/>
                  </a:lnTo>
                  <a:lnTo>
                    <a:pt x="497" y="79"/>
                  </a:lnTo>
                  <a:lnTo>
                    <a:pt x="487" y="99"/>
                  </a:lnTo>
                  <a:lnTo>
                    <a:pt x="516" y="119"/>
                  </a:lnTo>
                  <a:lnTo>
                    <a:pt x="477" y="129"/>
                  </a:lnTo>
                  <a:lnTo>
                    <a:pt x="447" y="139"/>
                  </a:lnTo>
                  <a:lnTo>
                    <a:pt x="447" y="149"/>
                  </a:lnTo>
                  <a:lnTo>
                    <a:pt x="447" y="149"/>
                  </a:lnTo>
                  <a:lnTo>
                    <a:pt x="437" y="159"/>
                  </a:lnTo>
                  <a:lnTo>
                    <a:pt x="417" y="169"/>
                  </a:lnTo>
                  <a:lnTo>
                    <a:pt x="417" y="169"/>
                  </a:lnTo>
                  <a:lnTo>
                    <a:pt x="387" y="188"/>
                  </a:lnTo>
                  <a:lnTo>
                    <a:pt x="377" y="188"/>
                  </a:lnTo>
                  <a:lnTo>
                    <a:pt x="367" y="199"/>
                  </a:lnTo>
                  <a:lnTo>
                    <a:pt x="358" y="199"/>
                  </a:lnTo>
                  <a:lnTo>
                    <a:pt x="348" y="199"/>
                  </a:lnTo>
                  <a:lnTo>
                    <a:pt x="348" y="208"/>
                  </a:lnTo>
                  <a:lnTo>
                    <a:pt x="328" y="218"/>
                  </a:lnTo>
                  <a:lnTo>
                    <a:pt x="318" y="228"/>
                  </a:lnTo>
                  <a:lnTo>
                    <a:pt x="308" y="238"/>
                  </a:lnTo>
                  <a:lnTo>
                    <a:pt x="298" y="238"/>
                  </a:lnTo>
                  <a:lnTo>
                    <a:pt x="288" y="238"/>
                  </a:lnTo>
                  <a:lnTo>
                    <a:pt x="268" y="248"/>
                  </a:lnTo>
                  <a:lnTo>
                    <a:pt x="258" y="258"/>
                  </a:lnTo>
                  <a:lnTo>
                    <a:pt x="258" y="258"/>
                  </a:lnTo>
                  <a:lnTo>
                    <a:pt x="258" y="258"/>
                  </a:lnTo>
                  <a:lnTo>
                    <a:pt x="248" y="268"/>
                  </a:lnTo>
                  <a:lnTo>
                    <a:pt x="238" y="278"/>
                  </a:lnTo>
                  <a:lnTo>
                    <a:pt x="229" y="278"/>
                  </a:lnTo>
                  <a:lnTo>
                    <a:pt x="218" y="298"/>
                  </a:lnTo>
                  <a:lnTo>
                    <a:pt x="218" y="298"/>
                  </a:lnTo>
                  <a:lnTo>
                    <a:pt x="218" y="308"/>
                  </a:lnTo>
                  <a:lnTo>
                    <a:pt x="209" y="318"/>
                  </a:lnTo>
                  <a:lnTo>
                    <a:pt x="199" y="318"/>
                  </a:lnTo>
                  <a:lnTo>
                    <a:pt x="199" y="318"/>
                  </a:lnTo>
                  <a:lnTo>
                    <a:pt x="179" y="337"/>
                  </a:lnTo>
                  <a:lnTo>
                    <a:pt x="169" y="337"/>
                  </a:lnTo>
                  <a:lnTo>
                    <a:pt x="149" y="348"/>
                  </a:lnTo>
                  <a:lnTo>
                    <a:pt x="129" y="357"/>
                  </a:lnTo>
                  <a:lnTo>
                    <a:pt x="119" y="357"/>
                  </a:lnTo>
                  <a:lnTo>
                    <a:pt x="109" y="348"/>
                  </a:lnTo>
                  <a:lnTo>
                    <a:pt x="40" y="337"/>
                  </a:lnTo>
                  <a:lnTo>
                    <a:pt x="40" y="337"/>
                  </a:lnTo>
                  <a:lnTo>
                    <a:pt x="40" y="328"/>
                  </a:lnTo>
                  <a:lnTo>
                    <a:pt x="40" y="318"/>
                  </a:lnTo>
                  <a:lnTo>
                    <a:pt x="60" y="298"/>
                  </a:lnTo>
                  <a:lnTo>
                    <a:pt x="60" y="298"/>
                  </a:lnTo>
                  <a:lnTo>
                    <a:pt x="60" y="298"/>
                  </a:lnTo>
                  <a:lnTo>
                    <a:pt x="60" y="288"/>
                  </a:lnTo>
                  <a:lnTo>
                    <a:pt x="60" y="288"/>
                  </a:lnTo>
                  <a:lnTo>
                    <a:pt x="60" y="278"/>
                  </a:lnTo>
                  <a:lnTo>
                    <a:pt x="50" y="258"/>
                  </a:lnTo>
                  <a:lnTo>
                    <a:pt x="60" y="258"/>
                  </a:lnTo>
                  <a:lnTo>
                    <a:pt x="60" y="248"/>
                  </a:lnTo>
                  <a:lnTo>
                    <a:pt x="69" y="228"/>
                  </a:lnTo>
                  <a:lnTo>
                    <a:pt x="69" y="228"/>
                  </a:lnTo>
                  <a:lnTo>
                    <a:pt x="60" y="218"/>
                  </a:lnTo>
                  <a:lnTo>
                    <a:pt x="60" y="218"/>
                  </a:lnTo>
                  <a:lnTo>
                    <a:pt x="30" y="199"/>
                  </a:lnTo>
                  <a:lnTo>
                    <a:pt x="20" y="199"/>
                  </a:lnTo>
                  <a:lnTo>
                    <a:pt x="20" y="188"/>
                  </a:lnTo>
                  <a:lnTo>
                    <a:pt x="10" y="188"/>
                  </a:lnTo>
                  <a:lnTo>
                    <a:pt x="10" y="188"/>
                  </a:lnTo>
                  <a:lnTo>
                    <a:pt x="20" y="179"/>
                  </a:lnTo>
                  <a:lnTo>
                    <a:pt x="30" y="169"/>
                  </a:lnTo>
                  <a:lnTo>
                    <a:pt x="30" y="169"/>
                  </a:lnTo>
                  <a:lnTo>
                    <a:pt x="30" y="169"/>
                  </a:lnTo>
                  <a:lnTo>
                    <a:pt x="20" y="169"/>
                  </a:lnTo>
                  <a:lnTo>
                    <a:pt x="20" y="149"/>
                  </a:lnTo>
                  <a:lnTo>
                    <a:pt x="20" y="139"/>
                  </a:lnTo>
                  <a:lnTo>
                    <a:pt x="10" y="149"/>
                  </a:lnTo>
                  <a:lnTo>
                    <a:pt x="10" y="139"/>
                  </a:lnTo>
                  <a:lnTo>
                    <a:pt x="0" y="129"/>
                  </a:lnTo>
                  <a:lnTo>
                    <a:pt x="0" y="129"/>
                  </a:lnTo>
                  <a:lnTo>
                    <a:pt x="10" y="119"/>
                  </a:lnTo>
                  <a:lnTo>
                    <a:pt x="0" y="109"/>
                  </a:lnTo>
                  <a:lnTo>
                    <a:pt x="0" y="109"/>
                  </a:lnTo>
                  <a:lnTo>
                    <a:pt x="0" y="109"/>
                  </a:lnTo>
                  <a:lnTo>
                    <a:pt x="0" y="109"/>
                  </a:lnTo>
                  <a:lnTo>
                    <a:pt x="69" y="119"/>
                  </a:lnTo>
                  <a:lnTo>
                    <a:pt x="69" y="109"/>
                  </a:lnTo>
                  <a:lnTo>
                    <a:pt x="89" y="109"/>
                  </a:lnTo>
                  <a:lnTo>
                    <a:pt x="119" y="119"/>
                  </a:lnTo>
                  <a:lnTo>
                    <a:pt x="119" y="119"/>
                  </a:lnTo>
                  <a:lnTo>
                    <a:pt x="129" y="119"/>
                  </a:lnTo>
                  <a:lnTo>
                    <a:pt x="149" y="11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4" name="Freeform 603">
              <a:extLst>
                <a:ext uri="{FF2B5EF4-FFF2-40B4-BE49-F238E27FC236}">
                  <a16:creationId xmlns:a16="http://schemas.microsoft.com/office/drawing/2014/main" id="{EAD4530D-E8D5-8147-5516-54F6DCBAE875}"/>
                </a:ext>
              </a:extLst>
            </p:cNvPr>
            <p:cNvSpPr>
              <a:spLocks/>
            </p:cNvSpPr>
            <p:nvPr/>
          </p:nvSpPr>
          <p:spPr bwMode="auto">
            <a:xfrm>
              <a:off x="13182149" y="2974424"/>
              <a:ext cx="387001" cy="182428"/>
            </a:xfrm>
            <a:custGeom>
              <a:avLst/>
              <a:gdLst/>
              <a:ahLst/>
              <a:cxnLst>
                <a:cxn ang="0">
                  <a:pos x="288" y="10"/>
                </a:cxn>
                <a:cxn ang="0">
                  <a:pos x="288" y="30"/>
                </a:cxn>
                <a:cxn ang="0">
                  <a:pos x="278" y="30"/>
                </a:cxn>
                <a:cxn ang="0">
                  <a:pos x="269" y="30"/>
                </a:cxn>
                <a:cxn ang="0">
                  <a:pos x="259" y="30"/>
                </a:cxn>
                <a:cxn ang="0">
                  <a:pos x="249" y="30"/>
                </a:cxn>
                <a:cxn ang="0">
                  <a:pos x="229" y="40"/>
                </a:cxn>
                <a:cxn ang="0">
                  <a:pos x="229" y="40"/>
                </a:cxn>
                <a:cxn ang="0">
                  <a:pos x="199" y="50"/>
                </a:cxn>
                <a:cxn ang="0">
                  <a:pos x="189" y="60"/>
                </a:cxn>
                <a:cxn ang="0">
                  <a:pos x="189" y="70"/>
                </a:cxn>
                <a:cxn ang="0">
                  <a:pos x="169" y="80"/>
                </a:cxn>
                <a:cxn ang="0">
                  <a:pos x="159" y="80"/>
                </a:cxn>
                <a:cxn ang="0">
                  <a:pos x="139" y="80"/>
                </a:cxn>
                <a:cxn ang="0">
                  <a:pos x="139" y="80"/>
                </a:cxn>
                <a:cxn ang="0">
                  <a:pos x="129" y="80"/>
                </a:cxn>
                <a:cxn ang="0">
                  <a:pos x="129" y="80"/>
                </a:cxn>
                <a:cxn ang="0">
                  <a:pos x="100" y="89"/>
                </a:cxn>
                <a:cxn ang="0">
                  <a:pos x="90" y="89"/>
                </a:cxn>
                <a:cxn ang="0">
                  <a:pos x="90" y="89"/>
                </a:cxn>
                <a:cxn ang="0">
                  <a:pos x="60" y="89"/>
                </a:cxn>
                <a:cxn ang="0">
                  <a:pos x="50" y="89"/>
                </a:cxn>
                <a:cxn ang="0">
                  <a:pos x="40" y="109"/>
                </a:cxn>
                <a:cxn ang="0">
                  <a:pos x="40" y="119"/>
                </a:cxn>
                <a:cxn ang="0">
                  <a:pos x="30" y="119"/>
                </a:cxn>
                <a:cxn ang="0">
                  <a:pos x="30" y="129"/>
                </a:cxn>
                <a:cxn ang="0">
                  <a:pos x="30" y="129"/>
                </a:cxn>
                <a:cxn ang="0">
                  <a:pos x="20" y="129"/>
                </a:cxn>
                <a:cxn ang="0">
                  <a:pos x="20" y="129"/>
                </a:cxn>
                <a:cxn ang="0">
                  <a:pos x="10" y="129"/>
                </a:cxn>
                <a:cxn ang="0">
                  <a:pos x="10" y="139"/>
                </a:cxn>
                <a:cxn ang="0">
                  <a:pos x="10" y="139"/>
                </a:cxn>
                <a:cxn ang="0">
                  <a:pos x="0" y="119"/>
                </a:cxn>
                <a:cxn ang="0">
                  <a:pos x="0" y="119"/>
                </a:cxn>
                <a:cxn ang="0">
                  <a:pos x="0" y="109"/>
                </a:cxn>
                <a:cxn ang="0">
                  <a:pos x="10" y="109"/>
                </a:cxn>
                <a:cxn ang="0">
                  <a:pos x="20" y="100"/>
                </a:cxn>
                <a:cxn ang="0">
                  <a:pos x="10" y="89"/>
                </a:cxn>
                <a:cxn ang="0">
                  <a:pos x="10" y="80"/>
                </a:cxn>
                <a:cxn ang="0">
                  <a:pos x="10" y="60"/>
                </a:cxn>
                <a:cxn ang="0">
                  <a:pos x="20" y="50"/>
                </a:cxn>
                <a:cxn ang="0">
                  <a:pos x="40" y="40"/>
                </a:cxn>
                <a:cxn ang="0">
                  <a:pos x="40" y="30"/>
                </a:cxn>
                <a:cxn ang="0">
                  <a:pos x="40" y="30"/>
                </a:cxn>
                <a:cxn ang="0">
                  <a:pos x="30" y="30"/>
                </a:cxn>
                <a:cxn ang="0">
                  <a:pos x="20" y="30"/>
                </a:cxn>
                <a:cxn ang="0">
                  <a:pos x="10" y="30"/>
                </a:cxn>
                <a:cxn ang="0">
                  <a:pos x="10" y="30"/>
                </a:cxn>
                <a:cxn ang="0">
                  <a:pos x="0" y="30"/>
                </a:cxn>
                <a:cxn ang="0">
                  <a:pos x="10" y="30"/>
                </a:cxn>
                <a:cxn ang="0">
                  <a:pos x="10" y="30"/>
                </a:cxn>
                <a:cxn ang="0">
                  <a:pos x="20" y="20"/>
                </a:cxn>
                <a:cxn ang="0">
                  <a:pos x="40" y="30"/>
                </a:cxn>
                <a:cxn ang="0">
                  <a:pos x="70" y="30"/>
                </a:cxn>
                <a:cxn ang="0">
                  <a:pos x="169" y="20"/>
                </a:cxn>
                <a:cxn ang="0">
                  <a:pos x="199" y="20"/>
                </a:cxn>
                <a:cxn ang="0">
                  <a:pos x="259" y="10"/>
                </a:cxn>
                <a:cxn ang="0">
                  <a:pos x="278" y="0"/>
                </a:cxn>
                <a:cxn ang="0">
                  <a:pos x="288" y="10"/>
                </a:cxn>
              </a:cxnLst>
              <a:rect l="0" t="0" r="r" b="b"/>
              <a:pathLst>
                <a:path w="288" h="139">
                  <a:moveTo>
                    <a:pt x="288" y="10"/>
                  </a:moveTo>
                  <a:lnTo>
                    <a:pt x="288" y="30"/>
                  </a:lnTo>
                  <a:lnTo>
                    <a:pt x="278" y="30"/>
                  </a:lnTo>
                  <a:lnTo>
                    <a:pt x="269" y="30"/>
                  </a:lnTo>
                  <a:lnTo>
                    <a:pt x="259" y="30"/>
                  </a:lnTo>
                  <a:lnTo>
                    <a:pt x="249" y="30"/>
                  </a:lnTo>
                  <a:lnTo>
                    <a:pt x="229" y="40"/>
                  </a:lnTo>
                  <a:lnTo>
                    <a:pt x="229" y="40"/>
                  </a:lnTo>
                  <a:lnTo>
                    <a:pt x="199" y="50"/>
                  </a:lnTo>
                  <a:lnTo>
                    <a:pt x="189" y="60"/>
                  </a:lnTo>
                  <a:lnTo>
                    <a:pt x="189" y="70"/>
                  </a:lnTo>
                  <a:lnTo>
                    <a:pt x="169" y="80"/>
                  </a:lnTo>
                  <a:lnTo>
                    <a:pt x="159" y="80"/>
                  </a:lnTo>
                  <a:lnTo>
                    <a:pt x="139" y="80"/>
                  </a:lnTo>
                  <a:lnTo>
                    <a:pt x="139" y="80"/>
                  </a:lnTo>
                  <a:lnTo>
                    <a:pt x="129" y="80"/>
                  </a:lnTo>
                  <a:lnTo>
                    <a:pt x="129" y="80"/>
                  </a:lnTo>
                  <a:lnTo>
                    <a:pt x="100" y="89"/>
                  </a:lnTo>
                  <a:lnTo>
                    <a:pt x="90" y="89"/>
                  </a:lnTo>
                  <a:lnTo>
                    <a:pt x="90" y="89"/>
                  </a:lnTo>
                  <a:lnTo>
                    <a:pt x="60" y="89"/>
                  </a:lnTo>
                  <a:lnTo>
                    <a:pt x="50" y="89"/>
                  </a:lnTo>
                  <a:lnTo>
                    <a:pt x="40" y="109"/>
                  </a:lnTo>
                  <a:lnTo>
                    <a:pt x="40" y="119"/>
                  </a:lnTo>
                  <a:lnTo>
                    <a:pt x="30" y="119"/>
                  </a:lnTo>
                  <a:lnTo>
                    <a:pt x="30" y="129"/>
                  </a:lnTo>
                  <a:lnTo>
                    <a:pt x="30" y="129"/>
                  </a:lnTo>
                  <a:lnTo>
                    <a:pt x="20" y="129"/>
                  </a:lnTo>
                  <a:lnTo>
                    <a:pt x="20" y="129"/>
                  </a:lnTo>
                  <a:lnTo>
                    <a:pt x="10" y="129"/>
                  </a:lnTo>
                  <a:lnTo>
                    <a:pt x="10" y="139"/>
                  </a:lnTo>
                  <a:lnTo>
                    <a:pt x="10" y="139"/>
                  </a:lnTo>
                  <a:lnTo>
                    <a:pt x="0" y="119"/>
                  </a:lnTo>
                  <a:lnTo>
                    <a:pt x="0" y="119"/>
                  </a:lnTo>
                  <a:lnTo>
                    <a:pt x="0" y="109"/>
                  </a:lnTo>
                  <a:lnTo>
                    <a:pt x="10" y="109"/>
                  </a:lnTo>
                  <a:lnTo>
                    <a:pt x="20" y="100"/>
                  </a:lnTo>
                  <a:lnTo>
                    <a:pt x="10" y="89"/>
                  </a:lnTo>
                  <a:lnTo>
                    <a:pt x="10" y="80"/>
                  </a:lnTo>
                  <a:lnTo>
                    <a:pt x="10" y="60"/>
                  </a:lnTo>
                  <a:lnTo>
                    <a:pt x="20" y="50"/>
                  </a:lnTo>
                  <a:lnTo>
                    <a:pt x="40" y="40"/>
                  </a:lnTo>
                  <a:lnTo>
                    <a:pt x="40" y="30"/>
                  </a:lnTo>
                  <a:lnTo>
                    <a:pt x="40" y="30"/>
                  </a:lnTo>
                  <a:lnTo>
                    <a:pt x="30" y="30"/>
                  </a:lnTo>
                  <a:lnTo>
                    <a:pt x="20" y="30"/>
                  </a:lnTo>
                  <a:lnTo>
                    <a:pt x="10" y="30"/>
                  </a:lnTo>
                  <a:lnTo>
                    <a:pt x="10" y="30"/>
                  </a:lnTo>
                  <a:lnTo>
                    <a:pt x="0" y="30"/>
                  </a:lnTo>
                  <a:lnTo>
                    <a:pt x="10" y="30"/>
                  </a:lnTo>
                  <a:lnTo>
                    <a:pt x="10" y="30"/>
                  </a:lnTo>
                  <a:lnTo>
                    <a:pt x="20" y="20"/>
                  </a:lnTo>
                  <a:lnTo>
                    <a:pt x="40" y="30"/>
                  </a:lnTo>
                  <a:lnTo>
                    <a:pt x="70" y="30"/>
                  </a:lnTo>
                  <a:lnTo>
                    <a:pt x="169" y="20"/>
                  </a:lnTo>
                  <a:lnTo>
                    <a:pt x="199" y="20"/>
                  </a:lnTo>
                  <a:lnTo>
                    <a:pt x="259" y="10"/>
                  </a:lnTo>
                  <a:lnTo>
                    <a:pt x="278" y="0"/>
                  </a:lnTo>
                  <a:lnTo>
                    <a:pt x="288"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5" name="Freeform 604">
              <a:extLst>
                <a:ext uri="{FF2B5EF4-FFF2-40B4-BE49-F238E27FC236}">
                  <a16:creationId xmlns:a16="http://schemas.microsoft.com/office/drawing/2014/main" id="{D784E8F2-5814-559E-96C1-60D680A41544}"/>
                </a:ext>
              </a:extLst>
            </p:cNvPr>
            <p:cNvSpPr>
              <a:spLocks/>
            </p:cNvSpPr>
            <p:nvPr/>
          </p:nvSpPr>
          <p:spPr bwMode="auto">
            <a:xfrm>
              <a:off x="12754835" y="3978434"/>
              <a:ext cx="548252" cy="248049"/>
            </a:xfrm>
            <a:custGeom>
              <a:avLst/>
              <a:gdLst/>
              <a:ahLst/>
              <a:cxnLst>
                <a:cxn ang="0">
                  <a:pos x="50" y="169"/>
                </a:cxn>
                <a:cxn ang="0">
                  <a:pos x="40" y="169"/>
                </a:cxn>
                <a:cxn ang="0">
                  <a:pos x="30" y="179"/>
                </a:cxn>
                <a:cxn ang="0">
                  <a:pos x="0" y="179"/>
                </a:cxn>
                <a:cxn ang="0">
                  <a:pos x="0" y="159"/>
                </a:cxn>
                <a:cxn ang="0">
                  <a:pos x="11" y="159"/>
                </a:cxn>
                <a:cxn ang="0">
                  <a:pos x="20" y="149"/>
                </a:cxn>
                <a:cxn ang="0">
                  <a:pos x="11" y="149"/>
                </a:cxn>
                <a:cxn ang="0">
                  <a:pos x="20" y="139"/>
                </a:cxn>
                <a:cxn ang="0">
                  <a:pos x="20" y="110"/>
                </a:cxn>
                <a:cxn ang="0">
                  <a:pos x="80" y="110"/>
                </a:cxn>
                <a:cxn ang="0">
                  <a:pos x="100" y="119"/>
                </a:cxn>
                <a:cxn ang="0">
                  <a:pos x="90" y="80"/>
                </a:cxn>
                <a:cxn ang="0">
                  <a:pos x="120" y="60"/>
                </a:cxn>
                <a:cxn ang="0">
                  <a:pos x="149" y="40"/>
                </a:cxn>
                <a:cxn ang="0">
                  <a:pos x="169" y="20"/>
                </a:cxn>
                <a:cxn ang="0">
                  <a:pos x="229" y="0"/>
                </a:cxn>
                <a:cxn ang="0">
                  <a:pos x="249" y="0"/>
                </a:cxn>
                <a:cxn ang="0">
                  <a:pos x="289" y="0"/>
                </a:cxn>
                <a:cxn ang="0">
                  <a:pos x="298" y="10"/>
                </a:cxn>
                <a:cxn ang="0">
                  <a:pos x="318" y="30"/>
                </a:cxn>
                <a:cxn ang="0">
                  <a:pos x="348" y="10"/>
                </a:cxn>
                <a:cxn ang="0">
                  <a:pos x="358" y="0"/>
                </a:cxn>
                <a:cxn ang="0">
                  <a:pos x="378" y="0"/>
                </a:cxn>
                <a:cxn ang="0">
                  <a:pos x="398" y="10"/>
                </a:cxn>
                <a:cxn ang="0">
                  <a:pos x="408" y="60"/>
                </a:cxn>
                <a:cxn ang="0">
                  <a:pos x="358" y="99"/>
                </a:cxn>
                <a:cxn ang="0">
                  <a:pos x="338" y="119"/>
                </a:cxn>
                <a:cxn ang="0">
                  <a:pos x="328" y="119"/>
                </a:cxn>
                <a:cxn ang="0">
                  <a:pos x="318" y="159"/>
                </a:cxn>
                <a:cxn ang="0">
                  <a:pos x="309" y="169"/>
                </a:cxn>
                <a:cxn ang="0">
                  <a:pos x="279" y="189"/>
                </a:cxn>
                <a:cxn ang="0">
                  <a:pos x="269" y="189"/>
                </a:cxn>
                <a:cxn ang="0">
                  <a:pos x="229" y="179"/>
                </a:cxn>
                <a:cxn ang="0">
                  <a:pos x="199" y="179"/>
                </a:cxn>
                <a:cxn ang="0">
                  <a:pos x="169" y="169"/>
                </a:cxn>
                <a:cxn ang="0">
                  <a:pos x="149" y="179"/>
                </a:cxn>
                <a:cxn ang="0">
                  <a:pos x="80" y="169"/>
                </a:cxn>
                <a:cxn ang="0">
                  <a:pos x="70" y="169"/>
                </a:cxn>
              </a:cxnLst>
              <a:rect l="0" t="0" r="r" b="b"/>
              <a:pathLst>
                <a:path w="408" h="189">
                  <a:moveTo>
                    <a:pt x="70" y="169"/>
                  </a:moveTo>
                  <a:lnTo>
                    <a:pt x="50" y="169"/>
                  </a:lnTo>
                  <a:lnTo>
                    <a:pt x="40" y="169"/>
                  </a:lnTo>
                  <a:lnTo>
                    <a:pt x="40" y="169"/>
                  </a:lnTo>
                  <a:lnTo>
                    <a:pt x="30" y="169"/>
                  </a:lnTo>
                  <a:lnTo>
                    <a:pt x="30" y="179"/>
                  </a:lnTo>
                  <a:lnTo>
                    <a:pt x="0" y="179"/>
                  </a:lnTo>
                  <a:lnTo>
                    <a:pt x="0" y="179"/>
                  </a:lnTo>
                  <a:lnTo>
                    <a:pt x="0" y="169"/>
                  </a:lnTo>
                  <a:lnTo>
                    <a:pt x="0" y="159"/>
                  </a:lnTo>
                  <a:lnTo>
                    <a:pt x="0" y="159"/>
                  </a:lnTo>
                  <a:lnTo>
                    <a:pt x="11" y="159"/>
                  </a:lnTo>
                  <a:lnTo>
                    <a:pt x="20" y="149"/>
                  </a:lnTo>
                  <a:lnTo>
                    <a:pt x="20" y="149"/>
                  </a:lnTo>
                  <a:lnTo>
                    <a:pt x="11" y="149"/>
                  </a:lnTo>
                  <a:lnTo>
                    <a:pt x="11" y="149"/>
                  </a:lnTo>
                  <a:lnTo>
                    <a:pt x="11" y="139"/>
                  </a:lnTo>
                  <a:lnTo>
                    <a:pt x="20" y="139"/>
                  </a:lnTo>
                  <a:lnTo>
                    <a:pt x="20" y="129"/>
                  </a:lnTo>
                  <a:lnTo>
                    <a:pt x="20" y="110"/>
                  </a:lnTo>
                  <a:lnTo>
                    <a:pt x="60" y="110"/>
                  </a:lnTo>
                  <a:lnTo>
                    <a:pt x="80" y="110"/>
                  </a:lnTo>
                  <a:lnTo>
                    <a:pt x="100" y="119"/>
                  </a:lnTo>
                  <a:lnTo>
                    <a:pt x="100" y="119"/>
                  </a:lnTo>
                  <a:lnTo>
                    <a:pt x="100" y="119"/>
                  </a:lnTo>
                  <a:lnTo>
                    <a:pt x="90" y="80"/>
                  </a:lnTo>
                  <a:lnTo>
                    <a:pt x="90" y="70"/>
                  </a:lnTo>
                  <a:lnTo>
                    <a:pt x="120" y="60"/>
                  </a:lnTo>
                  <a:lnTo>
                    <a:pt x="130" y="50"/>
                  </a:lnTo>
                  <a:lnTo>
                    <a:pt x="149" y="40"/>
                  </a:lnTo>
                  <a:lnTo>
                    <a:pt x="169" y="20"/>
                  </a:lnTo>
                  <a:lnTo>
                    <a:pt x="169" y="20"/>
                  </a:lnTo>
                  <a:lnTo>
                    <a:pt x="179" y="10"/>
                  </a:lnTo>
                  <a:lnTo>
                    <a:pt x="229" y="0"/>
                  </a:lnTo>
                  <a:lnTo>
                    <a:pt x="229" y="0"/>
                  </a:lnTo>
                  <a:lnTo>
                    <a:pt x="249" y="0"/>
                  </a:lnTo>
                  <a:lnTo>
                    <a:pt x="269" y="0"/>
                  </a:lnTo>
                  <a:lnTo>
                    <a:pt x="289" y="0"/>
                  </a:lnTo>
                  <a:lnTo>
                    <a:pt x="298" y="20"/>
                  </a:lnTo>
                  <a:lnTo>
                    <a:pt x="298" y="10"/>
                  </a:lnTo>
                  <a:lnTo>
                    <a:pt x="318" y="20"/>
                  </a:lnTo>
                  <a:lnTo>
                    <a:pt x="318" y="30"/>
                  </a:lnTo>
                  <a:lnTo>
                    <a:pt x="328" y="30"/>
                  </a:lnTo>
                  <a:lnTo>
                    <a:pt x="348" y="10"/>
                  </a:lnTo>
                  <a:lnTo>
                    <a:pt x="358" y="0"/>
                  </a:lnTo>
                  <a:lnTo>
                    <a:pt x="358" y="0"/>
                  </a:lnTo>
                  <a:lnTo>
                    <a:pt x="358" y="20"/>
                  </a:lnTo>
                  <a:lnTo>
                    <a:pt x="378" y="0"/>
                  </a:lnTo>
                  <a:lnTo>
                    <a:pt x="398" y="0"/>
                  </a:lnTo>
                  <a:lnTo>
                    <a:pt x="398" y="10"/>
                  </a:lnTo>
                  <a:lnTo>
                    <a:pt x="398" y="50"/>
                  </a:lnTo>
                  <a:lnTo>
                    <a:pt x="408" y="60"/>
                  </a:lnTo>
                  <a:lnTo>
                    <a:pt x="378" y="80"/>
                  </a:lnTo>
                  <a:lnTo>
                    <a:pt x="358" y="99"/>
                  </a:lnTo>
                  <a:lnTo>
                    <a:pt x="348" y="110"/>
                  </a:lnTo>
                  <a:lnTo>
                    <a:pt x="338" y="119"/>
                  </a:lnTo>
                  <a:lnTo>
                    <a:pt x="338" y="119"/>
                  </a:lnTo>
                  <a:lnTo>
                    <a:pt x="328" y="119"/>
                  </a:lnTo>
                  <a:lnTo>
                    <a:pt x="328" y="129"/>
                  </a:lnTo>
                  <a:lnTo>
                    <a:pt x="318" y="159"/>
                  </a:lnTo>
                  <a:lnTo>
                    <a:pt x="309" y="159"/>
                  </a:lnTo>
                  <a:lnTo>
                    <a:pt x="309" y="169"/>
                  </a:lnTo>
                  <a:lnTo>
                    <a:pt x="279" y="189"/>
                  </a:lnTo>
                  <a:lnTo>
                    <a:pt x="279" y="189"/>
                  </a:lnTo>
                  <a:lnTo>
                    <a:pt x="279" y="189"/>
                  </a:lnTo>
                  <a:lnTo>
                    <a:pt x="269" y="189"/>
                  </a:lnTo>
                  <a:lnTo>
                    <a:pt x="259" y="189"/>
                  </a:lnTo>
                  <a:lnTo>
                    <a:pt x="229" y="179"/>
                  </a:lnTo>
                  <a:lnTo>
                    <a:pt x="209" y="179"/>
                  </a:lnTo>
                  <a:lnTo>
                    <a:pt x="199" y="179"/>
                  </a:lnTo>
                  <a:lnTo>
                    <a:pt x="199" y="179"/>
                  </a:lnTo>
                  <a:lnTo>
                    <a:pt x="169" y="169"/>
                  </a:lnTo>
                  <a:lnTo>
                    <a:pt x="149" y="169"/>
                  </a:lnTo>
                  <a:lnTo>
                    <a:pt x="149" y="179"/>
                  </a:lnTo>
                  <a:lnTo>
                    <a:pt x="80" y="169"/>
                  </a:lnTo>
                  <a:lnTo>
                    <a:pt x="80" y="169"/>
                  </a:lnTo>
                  <a:lnTo>
                    <a:pt x="80" y="169"/>
                  </a:lnTo>
                  <a:lnTo>
                    <a:pt x="70" y="16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26" name="Freeform 605">
              <a:extLst>
                <a:ext uri="{FF2B5EF4-FFF2-40B4-BE49-F238E27FC236}">
                  <a16:creationId xmlns:a16="http://schemas.microsoft.com/office/drawing/2014/main" id="{61B62629-5DB9-2FB9-E2E3-D62407BFA489}"/>
                </a:ext>
              </a:extLst>
            </p:cNvPr>
            <p:cNvSpPr>
              <a:spLocks/>
            </p:cNvSpPr>
            <p:nvPr/>
          </p:nvSpPr>
          <p:spPr bwMode="auto">
            <a:xfrm>
              <a:off x="12315427" y="4252732"/>
              <a:ext cx="239188" cy="169304"/>
            </a:xfrm>
            <a:custGeom>
              <a:avLst/>
              <a:gdLst/>
              <a:ahLst/>
              <a:cxnLst>
                <a:cxn ang="0">
                  <a:pos x="139" y="30"/>
                </a:cxn>
                <a:cxn ang="0">
                  <a:pos x="149" y="20"/>
                </a:cxn>
                <a:cxn ang="0">
                  <a:pos x="159" y="20"/>
                </a:cxn>
                <a:cxn ang="0">
                  <a:pos x="159" y="20"/>
                </a:cxn>
                <a:cxn ang="0">
                  <a:pos x="178" y="30"/>
                </a:cxn>
                <a:cxn ang="0">
                  <a:pos x="178" y="30"/>
                </a:cxn>
                <a:cxn ang="0">
                  <a:pos x="159" y="69"/>
                </a:cxn>
                <a:cxn ang="0">
                  <a:pos x="149" y="99"/>
                </a:cxn>
                <a:cxn ang="0">
                  <a:pos x="139" y="99"/>
                </a:cxn>
                <a:cxn ang="0">
                  <a:pos x="139" y="99"/>
                </a:cxn>
                <a:cxn ang="0">
                  <a:pos x="119" y="99"/>
                </a:cxn>
                <a:cxn ang="0">
                  <a:pos x="119" y="99"/>
                </a:cxn>
                <a:cxn ang="0">
                  <a:pos x="109" y="99"/>
                </a:cxn>
                <a:cxn ang="0">
                  <a:pos x="99" y="99"/>
                </a:cxn>
                <a:cxn ang="0">
                  <a:pos x="89" y="99"/>
                </a:cxn>
                <a:cxn ang="0">
                  <a:pos x="79" y="109"/>
                </a:cxn>
                <a:cxn ang="0">
                  <a:pos x="79" y="119"/>
                </a:cxn>
                <a:cxn ang="0">
                  <a:pos x="79" y="119"/>
                </a:cxn>
                <a:cxn ang="0">
                  <a:pos x="59" y="129"/>
                </a:cxn>
                <a:cxn ang="0">
                  <a:pos x="49" y="119"/>
                </a:cxn>
                <a:cxn ang="0">
                  <a:pos x="49" y="119"/>
                </a:cxn>
                <a:cxn ang="0">
                  <a:pos x="40" y="109"/>
                </a:cxn>
                <a:cxn ang="0">
                  <a:pos x="30" y="89"/>
                </a:cxn>
                <a:cxn ang="0">
                  <a:pos x="30" y="89"/>
                </a:cxn>
                <a:cxn ang="0">
                  <a:pos x="20" y="89"/>
                </a:cxn>
                <a:cxn ang="0">
                  <a:pos x="20" y="79"/>
                </a:cxn>
                <a:cxn ang="0">
                  <a:pos x="10" y="69"/>
                </a:cxn>
                <a:cxn ang="0">
                  <a:pos x="0" y="59"/>
                </a:cxn>
                <a:cxn ang="0">
                  <a:pos x="0" y="59"/>
                </a:cxn>
                <a:cxn ang="0">
                  <a:pos x="0" y="50"/>
                </a:cxn>
                <a:cxn ang="0">
                  <a:pos x="10" y="39"/>
                </a:cxn>
                <a:cxn ang="0">
                  <a:pos x="10" y="30"/>
                </a:cxn>
                <a:cxn ang="0">
                  <a:pos x="10" y="30"/>
                </a:cxn>
                <a:cxn ang="0">
                  <a:pos x="20" y="30"/>
                </a:cxn>
                <a:cxn ang="0">
                  <a:pos x="20" y="20"/>
                </a:cxn>
                <a:cxn ang="0">
                  <a:pos x="20" y="10"/>
                </a:cxn>
                <a:cxn ang="0">
                  <a:pos x="30" y="10"/>
                </a:cxn>
                <a:cxn ang="0">
                  <a:pos x="30" y="10"/>
                </a:cxn>
                <a:cxn ang="0">
                  <a:pos x="30" y="0"/>
                </a:cxn>
                <a:cxn ang="0">
                  <a:pos x="40" y="0"/>
                </a:cxn>
                <a:cxn ang="0">
                  <a:pos x="49" y="20"/>
                </a:cxn>
                <a:cxn ang="0">
                  <a:pos x="69" y="10"/>
                </a:cxn>
                <a:cxn ang="0">
                  <a:pos x="69" y="10"/>
                </a:cxn>
                <a:cxn ang="0">
                  <a:pos x="79" y="20"/>
                </a:cxn>
                <a:cxn ang="0">
                  <a:pos x="89" y="20"/>
                </a:cxn>
                <a:cxn ang="0">
                  <a:pos x="89" y="20"/>
                </a:cxn>
                <a:cxn ang="0">
                  <a:pos x="99" y="30"/>
                </a:cxn>
                <a:cxn ang="0">
                  <a:pos x="109" y="39"/>
                </a:cxn>
                <a:cxn ang="0">
                  <a:pos x="109" y="39"/>
                </a:cxn>
                <a:cxn ang="0">
                  <a:pos x="119" y="50"/>
                </a:cxn>
                <a:cxn ang="0">
                  <a:pos x="119" y="50"/>
                </a:cxn>
                <a:cxn ang="0">
                  <a:pos x="139" y="30"/>
                </a:cxn>
              </a:cxnLst>
              <a:rect l="0" t="0" r="r" b="b"/>
              <a:pathLst>
                <a:path w="178" h="129">
                  <a:moveTo>
                    <a:pt x="139" y="30"/>
                  </a:moveTo>
                  <a:lnTo>
                    <a:pt x="149" y="20"/>
                  </a:lnTo>
                  <a:lnTo>
                    <a:pt x="159" y="20"/>
                  </a:lnTo>
                  <a:lnTo>
                    <a:pt x="159" y="20"/>
                  </a:lnTo>
                  <a:lnTo>
                    <a:pt x="178" y="30"/>
                  </a:lnTo>
                  <a:lnTo>
                    <a:pt x="178" y="30"/>
                  </a:lnTo>
                  <a:lnTo>
                    <a:pt x="159" y="69"/>
                  </a:lnTo>
                  <a:lnTo>
                    <a:pt x="149" y="99"/>
                  </a:lnTo>
                  <a:lnTo>
                    <a:pt x="139" y="99"/>
                  </a:lnTo>
                  <a:lnTo>
                    <a:pt x="139" y="99"/>
                  </a:lnTo>
                  <a:lnTo>
                    <a:pt x="119" y="99"/>
                  </a:lnTo>
                  <a:lnTo>
                    <a:pt x="119" y="99"/>
                  </a:lnTo>
                  <a:lnTo>
                    <a:pt x="109" y="99"/>
                  </a:lnTo>
                  <a:lnTo>
                    <a:pt x="99" y="99"/>
                  </a:lnTo>
                  <a:lnTo>
                    <a:pt x="89" y="99"/>
                  </a:lnTo>
                  <a:lnTo>
                    <a:pt x="79" y="109"/>
                  </a:lnTo>
                  <a:lnTo>
                    <a:pt x="79" y="119"/>
                  </a:lnTo>
                  <a:lnTo>
                    <a:pt x="79" y="119"/>
                  </a:lnTo>
                  <a:lnTo>
                    <a:pt x="59" y="129"/>
                  </a:lnTo>
                  <a:lnTo>
                    <a:pt x="49" y="119"/>
                  </a:lnTo>
                  <a:lnTo>
                    <a:pt x="49" y="119"/>
                  </a:lnTo>
                  <a:lnTo>
                    <a:pt x="40" y="109"/>
                  </a:lnTo>
                  <a:lnTo>
                    <a:pt x="30" y="89"/>
                  </a:lnTo>
                  <a:lnTo>
                    <a:pt x="30" y="89"/>
                  </a:lnTo>
                  <a:lnTo>
                    <a:pt x="20" y="89"/>
                  </a:lnTo>
                  <a:lnTo>
                    <a:pt x="20" y="79"/>
                  </a:lnTo>
                  <a:lnTo>
                    <a:pt x="10" y="69"/>
                  </a:lnTo>
                  <a:lnTo>
                    <a:pt x="0" y="59"/>
                  </a:lnTo>
                  <a:lnTo>
                    <a:pt x="0" y="59"/>
                  </a:lnTo>
                  <a:lnTo>
                    <a:pt x="0" y="50"/>
                  </a:lnTo>
                  <a:lnTo>
                    <a:pt x="10" y="39"/>
                  </a:lnTo>
                  <a:lnTo>
                    <a:pt x="10" y="30"/>
                  </a:lnTo>
                  <a:lnTo>
                    <a:pt x="10" y="30"/>
                  </a:lnTo>
                  <a:lnTo>
                    <a:pt x="20" y="30"/>
                  </a:lnTo>
                  <a:lnTo>
                    <a:pt x="20" y="20"/>
                  </a:lnTo>
                  <a:lnTo>
                    <a:pt x="20" y="10"/>
                  </a:lnTo>
                  <a:lnTo>
                    <a:pt x="30" y="10"/>
                  </a:lnTo>
                  <a:lnTo>
                    <a:pt x="30" y="10"/>
                  </a:lnTo>
                  <a:lnTo>
                    <a:pt x="30" y="0"/>
                  </a:lnTo>
                  <a:lnTo>
                    <a:pt x="40" y="0"/>
                  </a:lnTo>
                  <a:lnTo>
                    <a:pt x="49" y="20"/>
                  </a:lnTo>
                  <a:lnTo>
                    <a:pt x="69" y="10"/>
                  </a:lnTo>
                  <a:lnTo>
                    <a:pt x="69" y="10"/>
                  </a:lnTo>
                  <a:lnTo>
                    <a:pt x="79" y="20"/>
                  </a:lnTo>
                  <a:lnTo>
                    <a:pt x="89" y="20"/>
                  </a:lnTo>
                  <a:lnTo>
                    <a:pt x="89" y="20"/>
                  </a:lnTo>
                  <a:lnTo>
                    <a:pt x="99" y="30"/>
                  </a:lnTo>
                  <a:lnTo>
                    <a:pt x="109" y="39"/>
                  </a:lnTo>
                  <a:lnTo>
                    <a:pt x="109" y="39"/>
                  </a:lnTo>
                  <a:lnTo>
                    <a:pt x="119" y="50"/>
                  </a:lnTo>
                  <a:lnTo>
                    <a:pt x="119" y="50"/>
                  </a:lnTo>
                  <a:lnTo>
                    <a:pt x="13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7" name="Freeform 606">
              <a:extLst>
                <a:ext uri="{FF2B5EF4-FFF2-40B4-BE49-F238E27FC236}">
                  <a16:creationId xmlns:a16="http://schemas.microsoft.com/office/drawing/2014/main" id="{BDE6D1E9-73B3-AA47-67CA-1AFCA815C0DD}"/>
                </a:ext>
              </a:extLst>
            </p:cNvPr>
            <p:cNvSpPr>
              <a:spLocks/>
            </p:cNvSpPr>
            <p:nvPr/>
          </p:nvSpPr>
          <p:spPr bwMode="auto">
            <a:xfrm>
              <a:off x="11661018" y="3717260"/>
              <a:ext cx="53750" cy="13124"/>
            </a:xfrm>
            <a:custGeom>
              <a:avLst/>
              <a:gdLst/>
              <a:ahLst/>
              <a:cxnLst>
                <a:cxn ang="0">
                  <a:pos x="10" y="10"/>
                </a:cxn>
                <a:cxn ang="0">
                  <a:pos x="10" y="10"/>
                </a:cxn>
                <a:cxn ang="0">
                  <a:pos x="10" y="10"/>
                </a:cxn>
                <a:cxn ang="0">
                  <a:pos x="0" y="0"/>
                </a:cxn>
                <a:cxn ang="0">
                  <a:pos x="10" y="0"/>
                </a:cxn>
                <a:cxn ang="0">
                  <a:pos x="10" y="0"/>
                </a:cxn>
                <a:cxn ang="0">
                  <a:pos x="30" y="0"/>
                </a:cxn>
                <a:cxn ang="0">
                  <a:pos x="40" y="0"/>
                </a:cxn>
                <a:cxn ang="0">
                  <a:pos x="40" y="0"/>
                </a:cxn>
                <a:cxn ang="0">
                  <a:pos x="30" y="0"/>
                </a:cxn>
                <a:cxn ang="0">
                  <a:pos x="30" y="10"/>
                </a:cxn>
                <a:cxn ang="0">
                  <a:pos x="20" y="10"/>
                </a:cxn>
                <a:cxn ang="0">
                  <a:pos x="20" y="10"/>
                </a:cxn>
                <a:cxn ang="0">
                  <a:pos x="10" y="10"/>
                </a:cxn>
                <a:cxn ang="0">
                  <a:pos x="10" y="0"/>
                </a:cxn>
                <a:cxn ang="0">
                  <a:pos x="10" y="0"/>
                </a:cxn>
                <a:cxn ang="0">
                  <a:pos x="10" y="0"/>
                </a:cxn>
                <a:cxn ang="0">
                  <a:pos x="10" y="0"/>
                </a:cxn>
                <a:cxn ang="0">
                  <a:pos x="10" y="10"/>
                </a:cxn>
              </a:cxnLst>
              <a:rect l="0" t="0" r="r" b="b"/>
              <a:pathLst>
                <a:path w="40" h="10">
                  <a:moveTo>
                    <a:pt x="10" y="10"/>
                  </a:moveTo>
                  <a:lnTo>
                    <a:pt x="10" y="10"/>
                  </a:lnTo>
                  <a:lnTo>
                    <a:pt x="10" y="10"/>
                  </a:lnTo>
                  <a:lnTo>
                    <a:pt x="0" y="0"/>
                  </a:lnTo>
                  <a:lnTo>
                    <a:pt x="10" y="0"/>
                  </a:lnTo>
                  <a:lnTo>
                    <a:pt x="10" y="0"/>
                  </a:lnTo>
                  <a:lnTo>
                    <a:pt x="30" y="0"/>
                  </a:lnTo>
                  <a:lnTo>
                    <a:pt x="40" y="0"/>
                  </a:lnTo>
                  <a:lnTo>
                    <a:pt x="40" y="0"/>
                  </a:lnTo>
                  <a:lnTo>
                    <a:pt x="30" y="0"/>
                  </a:lnTo>
                  <a:lnTo>
                    <a:pt x="30" y="10"/>
                  </a:lnTo>
                  <a:lnTo>
                    <a:pt x="20" y="10"/>
                  </a:lnTo>
                  <a:lnTo>
                    <a:pt x="20" y="10"/>
                  </a:lnTo>
                  <a:lnTo>
                    <a:pt x="10" y="10"/>
                  </a:lnTo>
                  <a:lnTo>
                    <a:pt x="10" y="0"/>
                  </a:lnTo>
                  <a:lnTo>
                    <a:pt x="10" y="0"/>
                  </a:lnTo>
                  <a:lnTo>
                    <a:pt x="10" y="0"/>
                  </a:lnTo>
                  <a:lnTo>
                    <a:pt x="10" y="0"/>
                  </a:lnTo>
                  <a:lnTo>
                    <a:pt x="1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8" name="Freeform 607">
              <a:extLst>
                <a:ext uri="{FF2B5EF4-FFF2-40B4-BE49-F238E27FC236}">
                  <a16:creationId xmlns:a16="http://schemas.microsoft.com/office/drawing/2014/main" id="{A6C446A7-3E62-9329-8A0A-C2F380558551}"/>
                </a:ext>
              </a:extLst>
            </p:cNvPr>
            <p:cNvSpPr>
              <a:spLocks/>
            </p:cNvSpPr>
            <p:nvPr/>
          </p:nvSpPr>
          <p:spPr bwMode="auto">
            <a:xfrm>
              <a:off x="11514549" y="3156852"/>
              <a:ext cx="693378" cy="300547"/>
            </a:xfrm>
            <a:custGeom>
              <a:avLst/>
              <a:gdLst/>
              <a:ahLst/>
              <a:cxnLst>
                <a:cxn ang="0">
                  <a:pos x="318" y="99"/>
                </a:cxn>
                <a:cxn ang="0">
                  <a:pos x="288" y="110"/>
                </a:cxn>
                <a:cxn ang="0">
                  <a:pos x="278" y="119"/>
                </a:cxn>
                <a:cxn ang="0">
                  <a:pos x="248" y="149"/>
                </a:cxn>
                <a:cxn ang="0">
                  <a:pos x="238" y="149"/>
                </a:cxn>
                <a:cxn ang="0">
                  <a:pos x="228" y="159"/>
                </a:cxn>
                <a:cxn ang="0">
                  <a:pos x="208" y="149"/>
                </a:cxn>
                <a:cxn ang="0">
                  <a:pos x="199" y="159"/>
                </a:cxn>
                <a:cxn ang="0">
                  <a:pos x="189" y="169"/>
                </a:cxn>
                <a:cxn ang="0">
                  <a:pos x="179" y="169"/>
                </a:cxn>
                <a:cxn ang="0">
                  <a:pos x="179" y="179"/>
                </a:cxn>
                <a:cxn ang="0">
                  <a:pos x="159" y="169"/>
                </a:cxn>
                <a:cxn ang="0">
                  <a:pos x="149" y="169"/>
                </a:cxn>
                <a:cxn ang="0">
                  <a:pos x="139" y="169"/>
                </a:cxn>
                <a:cxn ang="0">
                  <a:pos x="119" y="189"/>
                </a:cxn>
                <a:cxn ang="0">
                  <a:pos x="99" y="189"/>
                </a:cxn>
                <a:cxn ang="0">
                  <a:pos x="79" y="199"/>
                </a:cxn>
                <a:cxn ang="0">
                  <a:pos x="79" y="209"/>
                </a:cxn>
                <a:cxn ang="0">
                  <a:pos x="69" y="209"/>
                </a:cxn>
                <a:cxn ang="0">
                  <a:pos x="59" y="219"/>
                </a:cxn>
                <a:cxn ang="0">
                  <a:pos x="40" y="229"/>
                </a:cxn>
                <a:cxn ang="0">
                  <a:pos x="10" y="209"/>
                </a:cxn>
                <a:cxn ang="0">
                  <a:pos x="0" y="209"/>
                </a:cxn>
                <a:cxn ang="0">
                  <a:pos x="10" y="189"/>
                </a:cxn>
                <a:cxn ang="0">
                  <a:pos x="50" y="129"/>
                </a:cxn>
                <a:cxn ang="0">
                  <a:pos x="69" y="119"/>
                </a:cxn>
                <a:cxn ang="0">
                  <a:pos x="129" y="99"/>
                </a:cxn>
                <a:cxn ang="0">
                  <a:pos x="208" y="90"/>
                </a:cxn>
                <a:cxn ang="0">
                  <a:pos x="318" y="50"/>
                </a:cxn>
                <a:cxn ang="0">
                  <a:pos x="457" y="10"/>
                </a:cxn>
                <a:cxn ang="0">
                  <a:pos x="496" y="10"/>
                </a:cxn>
                <a:cxn ang="0">
                  <a:pos x="516" y="20"/>
                </a:cxn>
                <a:cxn ang="0">
                  <a:pos x="516" y="40"/>
                </a:cxn>
                <a:cxn ang="0">
                  <a:pos x="516" y="50"/>
                </a:cxn>
                <a:cxn ang="0">
                  <a:pos x="516" y="30"/>
                </a:cxn>
                <a:cxn ang="0">
                  <a:pos x="506" y="20"/>
                </a:cxn>
                <a:cxn ang="0">
                  <a:pos x="496" y="40"/>
                </a:cxn>
                <a:cxn ang="0">
                  <a:pos x="487" y="50"/>
                </a:cxn>
                <a:cxn ang="0">
                  <a:pos x="457" y="50"/>
                </a:cxn>
                <a:cxn ang="0">
                  <a:pos x="437" y="60"/>
                </a:cxn>
                <a:cxn ang="0">
                  <a:pos x="427" y="50"/>
                </a:cxn>
                <a:cxn ang="0">
                  <a:pos x="427" y="50"/>
                </a:cxn>
                <a:cxn ang="0">
                  <a:pos x="427" y="60"/>
                </a:cxn>
                <a:cxn ang="0">
                  <a:pos x="427" y="70"/>
                </a:cxn>
                <a:cxn ang="0">
                  <a:pos x="417" y="70"/>
                </a:cxn>
                <a:cxn ang="0">
                  <a:pos x="407" y="60"/>
                </a:cxn>
                <a:cxn ang="0">
                  <a:pos x="397" y="60"/>
                </a:cxn>
                <a:cxn ang="0">
                  <a:pos x="407" y="80"/>
                </a:cxn>
                <a:cxn ang="0">
                  <a:pos x="387" y="80"/>
                </a:cxn>
                <a:cxn ang="0">
                  <a:pos x="377" y="70"/>
                </a:cxn>
                <a:cxn ang="0">
                  <a:pos x="377" y="70"/>
                </a:cxn>
                <a:cxn ang="0">
                  <a:pos x="397" y="90"/>
                </a:cxn>
                <a:cxn ang="0">
                  <a:pos x="417" y="90"/>
                </a:cxn>
                <a:cxn ang="0">
                  <a:pos x="407" y="99"/>
                </a:cxn>
                <a:cxn ang="0">
                  <a:pos x="367" y="99"/>
                </a:cxn>
              </a:cxnLst>
              <a:rect l="0" t="0" r="r" b="b"/>
              <a:pathLst>
                <a:path w="516" h="229">
                  <a:moveTo>
                    <a:pt x="357" y="99"/>
                  </a:moveTo>
                  <a:lnTo>
                    <a:pt x="318" y="99"/>
                  </a:lnTo>
                  <a:lnTo>
                    <a:pt x="298" y="110"/>
                  </a:lnTo>
                  <a:lnTo>
                    <a:pt x="288" y="110"/>
                  </a:lnTo>
                  <a:lnTo>
                    <a:pt x="278" y="119"/>
                  </a:lnTo>
                  <a:lnTo>
                    <a:pt x="278" y="119"/>
                  </a:lnTo>
                  <a:lnTo>
                    <a:pt x="258" y="139"/>
                  </a:lnTo>
                  <a:lnTo>
                    <a:pt x="248" y="149"/>
                  </a:lnTo>
                  <a:lnTo>
                    <a:pt x="248" y="149"/>
                  </a:lnTo>
                  <a:lnTo>
                    <a:pt x="238" y="149"/>
                  </a:lnTo>
                  <a:lnTo>
                    <a:pt x="228" y="149"/>
                  </a:lnTo>
                  <a:lnTo>
                    <a:pt x="228" y="159"/>
                  </a:lnTo>
                  <a:lnTo>
                    <a:pt x="218" y="159"/>
                  </a:lnTo>
                  <a:lnTo>
                    <a:pt x="208" y="149"/>
                  </a:lnTo>
                  <a:lnTo>
                    <a:pt x="208" y="159"/>
                  </a:lnTo>
                  <a:lnTo>
                    <a:pt x="199" y="159"/>
                  </a:lnTo>
                  <a:lnTo>
                    <a:pt x="189" y="169"/>
                  </a:lnTo>
                  <a:lnTo>
                    <a:pt x="189" y="169"/>
                  </a:lnTo>
                  <a:lnTo>
                    <a:pt x="189" y="169"/>
                  </a:lnTo>
                  <a:lnTo>
                    <a:pt x="179" y="169"/>
                  </a:lnTo>
                  <a:lnTo>
                    <a:pt x="179" y="179"/>
                  </a:lnTo>
                  <a:lnTo>
                    <a:pt x="179" y="179"/>
                  </a:lnTo>
                  <a:lnTo>
                    <a:pt x="169" y="169"/>
                  </a:lnTo>
                  <a:lnTo>
                    <a:pt x="159" y="169"/>
                  </a:lnTo>
                  <a:lnTo>
                    <a:pt x="159" y="169"/>
                  </a:lnTo>
                  <a:lnTo>
                    <a:pt x="149" y="169"/>
                  </a:lnTo>
                  <a:lnTo>
                    <a:pt x="139" y="169"/>
                  </a:lnTo>
                  <a:lnTo>
                    <a:pt x="139" y="169"/>
                  </a:lnTo>
                  <a:lnTo>
                    <a:pt x="129" y="179"/>
                  </a:lnTo>
                  <a:lnTo>
                    <a:pt x="119" y="189"/>
                  </a:lnTo>
                  <a:lnTo>
                    <a:pt x="109" y="179"/>
                  </a:lnTo>
                  <a:lnTo>
                    <a:pt x="99" y="189"/>
                  </a:lnTo>
                  <a:lnTo>
                    <a:pt x="89" y="189"/>
                  </a:lnTo>
                  <a:lnTo>
                    <a:pt x="79" y="199"/>
                  </a:lnTo>
                  <a:lnTo>
                    <a:pt x="79" y="209"/>
                  </a:lnTo>
                  <a:lnTo>
                    <a:pt x="79" y="209"/>
                  </a:lnTo>
                  <a:lnTo>
                    <a:pt x="79" y="209"/>
                  </a:lnTo>
                  <a:lnTo>
                    <a:pt x="69" y="209"/>
                  </a:lnTo>
                  <a:lnTo>
                    <a:pt x="50" y="219"/>
                  </a:lnTo>
                  <a:lnTo>
                    <a:pt x="59" y="219"/>
                  </a:lnTo>
                  <a:lnTo>
                    <a:pt x="50" y="229"/>
                  </a:lnTo>
                  <a:lnTo>
                    <a:pt x="40" y="229"/>
                  </a:lnTo>
                  <a:lnTo>
                    <a:pt x="20" y="229"/>
                  </a:lnTo>
                  <a:lnTo>
                    <a:pt x="10" y="209"/>
                  </a:lnTo>
                  <a:lnTo>
                    <a:pt x="0" y="209"/>
                  </a:lnTo>
                  <a:lnTo>
                    <a:pt x="0" y="209"/>
                  </a:lnTo>
                  <a:lnTo>
                    <a:pt x="0" y="199"/>
                  </a:lnTo>
                  <a:lnTo>
                    <a:pt x="10" y="189"/>
                  </a:lnTo>
                  <a:lnTo>
                    <a:pt x="30" y="159"/>
                  </a:lnTo>
                  <a:lnTo>
                    <a:pt x="50" y="129"/>
                  </a:lnTo>
                  <a:lnTo>
                    <a:pt x="50" y="129"/>
                  </a:lnTo>
                  <a:lnTo>
                    <a:pt x="69" y="119"/>
                  </a:lnTo>
                  <a:lnTo>
                    <a:pt x="89" y="110"/>
                  </a:lnTo>
                  <a:lnTo>
                    <a:pt x="129" y="99"/>
                  </a:lnTo>
                  <a:lnTo>
                    <a:pt x="189" y="90"/>
                  </a:lnTo>
                  <a:lnTo>
                    <a:pt x="208" y="90"/>
                  </a:lnTo>
                  <a:lnTo>
                    <a:pt x="268" y="70"/>
                  </a:lnTo>
                  <a:lnTo>
                    <a:pt x="318" y="50"/>
                  </a:lnTo>
                  <a:lnTo>
                    <a:pt x="427" y="10"/>
                  </a:lnTo>
                  <a:lnTo>
                    <a:pt x="457" y="10"/>
                  </a:lnTo>
                  <a:lnTo>
                    <a:pt x="487" y="0"/>
                  </a:lnTo>
                  <a:lnTo>
                    <a:pt x="496" y="10"/>
                  </a:lnTo>
                  <a:lnTo>
                    <a:pt x="506" y="10"/>
                  </a:lnTo>
                  <a:lnTo>
                    <a:pt x="516" y="20"/>
                  </a:lnTo>
                  <a:lnTo>
                    <a:pt x="516" y="20"/>
                  </a:lnTo>
                  <a:lnTo>
                    <a:pt x="516" y="40"/>
                  </a:lnTo>
                  <a:lnTo>
                    <a:pt x="516" y="50"/>
                  </a:lnTo>
                  <a:lnTo>
                    <a:pt x="516" y="50"/>
                  </a:lnTo>
                  <a:lnTo>
                    <a:pt x="516" y="40"/>
                  </a:lnTo>
                  <a:lnTo>
                    <a:pt x="516" y="30"/>
                  </a:lnTo>
                  <a:lnTo>
                    <a:pt x="506" y="20"/>
                  </a:lnTo>
                  <a:lnTo>
                    <a:pt x="506" y="20"/>
                  </a:lnTo>
                  <a:lnTo>
                    <a:pt x="506" y="30"/>
                  </a:lnTo>
                  <a:lnTo>
                    <a:pt x="496" y="40"/>
                  </a:lnTo>
                  <a:lnTo>
                    <a:pt x="496" y="40"/>
                  </a:lnTo>
                  <a:lnTo>
                    <a:pt x="487" y="50"/>
                  </a:lnTo>
                  <a:lnTo>
                    <a:pt x="467" y="50"/>
                  </a:lnTo>
                  <a:lnTo>
                    <a:pt x="457" y="50"/>
                  </a:lnTo>
                  <a:lnTo>
                    <a:pt x="437" y="60"/>
                  </a:lnTo>
                  <a:lnTo>
                    <a:pt x="437" y="60"/>
                  </a:lnTo>
                  <a:lnTo>
                    <a:pt x="437" y="60"/>
                  </a:lnTo>
                  <a:lnTo>
                    <a:pt x="427" y="50"/>
                  </a:lnTo>
                  <a:lnTo>
                    <a:pt x="427" y="50"/>
                  </a:lnTo>
                  <a:lnTo>
                    <a:pt x="427" y="50"/>
                  </a:lnTo>
                  <a:lnTo>
                    <a:pt x="427" y="50"/>
                  </a:lnTo>
                  <a:lnTo>
                    <a:pt x="427" y="60"/>
                  </a:lnTo>
                  <a:lnTo>
                    <a:pt x="437" y="60"/>
                  </a:lnTo>
                  <a:lnTo>
                    <a:pt x="427" y="70"/>
                  </a:lnTo>
                  <a:lnTo>
                    <a:pt x="417" y="70"/>
                  </a:lnTo>
                  <a:lnTo>
                    <a:pt x="417" y="70"/>
                  </a:lnTo>
                  <a:lnTo>
                    <a:pt x="407" y="70"/>
                  </a:lnTo>
                  <a:lnTo>
                    <a:pt x="407" y="60"/>
                  </a:lnTo>
                  <a:lnTo>
                    <a:pt x="397" y="60"/>
                  </a:lnTo>
                  <a:lnTo>
                    <a:pt x="397" y="60"/>
                  </a:lnTo>
                  <a:lnTo>
                    <a:pt x="407" y="70"/>
                  </a:lnTo>
                  <a:lnTo>
                    <a:pt x="407" y="80"/>
                  </a:lnTo>
                  <a:lnTo>
                    <a:pt x="397" y="80"/>
                  </a:lnTo>
                  <a:lnTo>
                    <a:pt x="387" y="80"/>
                  </a:lnTo>
                  <a:lnTo>
                    <a:pt x="387" y="80"/>
                  </a:lnTo>
                  <a:lnTo>
                    <a:pt x="377" y="70"/>
                  </a:lnTo>
                  <a:lnTo>
                    <a:pt x="377" y="70"/>
                  </a:lnTo>
                  <a:lnTo>
                    <a:pt x="377" y="70"/>
                  </a:lnTo>
                  <a:lnTo>
                    <a:pt x="387" y="80"/>
                  </a:lnTo>
                  <a:lnTo>
                    <a:pt x="397" y="90"/>
                  </a:lnTo>
                  <a:lnTo>
                    <a:pt x="407" y="90"/>
                  </a:lnTo>
                  <a:lnTo>
                    <a:pt x="417" y="90"/>
                  </a:lnTo>
                  <a:lnTo>
                    <a:pt x="417" y="90"/>
                  </a:lnTo>
                  <a:lnTo>
                    <a:pt x="407" y="99"/>
                  </a:lnTo>
                  <a:lnTo>
                    <a:pt x="387" y="99"/>
                  </a:lnTo>
                  <a:lnTo>
                    <a:pt x="367" y="99"/>
                  </a:lnTo>
                  <a:lnTo>
                    <a:pt x="357" y="9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29" name="Freeform 608">
              <a:extLst>
                <a:ext uri="{FF2B5EF4-FFF2-40B4-BE49-F238E27FC236}">
                  <a16:creationId xmlns:a16="http://schemas.microsoft.com/office/drawing/2014/main" id="{F5024C81-72F3-4597-E595-0049FA5A22DB}"/>
                </a:ext>
              </a:extLst>
            </p:cNvPr>
            <p:cNvSpPr>
              <a:spLocks/>
            </p:cNvSpPr>
            <p:nvPr/>
          </p:nvSpPr>
          <p:spPr bwMode="auto">
            <a:xfrm>
              <a:off x="11447361" y="3587330"/>
              <a:ext cx="80625" cy="39373"/>
            </a:xfrm>
            <a:custGeom>
              <a:avLst/>
              <a:gdLst/>
              <a:ahLst/>
              <a:cxnLst>
                <a:cxn ang="0">
                  <a:pos x="60" y="0"/>
                </a:cxn>
                <a:cxn ang="0">
                  <a:pos x="60" y="0"/>
                </a:cxn>
                <a:cxn ang="0">
                  <a:pos x="50" y="10"/>
                </a:cxn>
                <a:cxn ang="0">
                  <a:pos x="40" y="20"/>
                </a:cxn>
                <a:cxn ang="0">
                  <a:pos x="30" y="20"/>
                </a:cxn>
                <a:cxn ang="0">
                  <a:pos x="20" y="20"/>
                </a:cxn>
                <a:cxn ang="0">
                  <a:pos x="10" y="20"/>
                </a:cxn>
                <a:cxn ang="0">
                  <a:pos x="10" y="20"/>
                </a:cxn>
                <a:cxn ang="0">
                  <a:pos x="10" y="30"/>
                </a:cxn>
                <a:cxn ang="0">
                  <a:pos x="10" y="30"/>
                </a:cxn>
                <a:cxn ang="0">
                  <a:pos x="0" y="30"/>
                </a:cxn>
                <a:cxn ang="0">
                  <a:pos x="0" y="30"/>
                </a:cxn>
                <a:cxn ang="0">
                  <a:pos x="0" y="20"/>
                </a:cxn>
                <a:cxn ang="0">
                  <a:pos x="0" y="20"/>
                </a:cxn>
                <a:cxn ang="0">
                  <a:pos x="10" y="20"/>
                </a:cxn>
                <a:cxn ang="0">
                  <a:pos x="0" y="20"/>
                </a:cxn>
                <a:cxn ang="0">
                  <a:pos x="10" y="10"/>
                </a:cxn>
                <a:cxn ang="0">
                  <a:pos x="20" y="0"/>
                </a:cxn>
                <a:cxn ang="0">
                  <a:pos x="40" y="0"/>
                </a:cxn>
                <a:cxn ang="0">
                  <a:pos x="60" y="0"/>
                </a:cxn>
                <a:cxn ang="0">
                  <a:pos x="60" y="0"/>
                </a:cxn>
              </a:cxnLst>
              <a:rect l="0" t="0" r="r" b="b"/>
              <a:pathLst>
                <a:path w="60" h="30">
                  <a:moveTo>
                    <a:pt x="60" y="0"/>
                  </a:moveTo>
                  <a:lnTo>
                    <a:pt x="60" y="0"/>
                  </a:lnTo>
                  <a:lnTo>
                    <a:pt x="50" y="10"/>
                  </a:lnTo>
                  <a:lnTo>
                    <a:pt x="40" y="20"/>
                  </a:lnTo>
                  <a:lnTo>
                    <a:pt x="30" y="20"/>
                  </a:lnTo>
                  <a:lnTo>
                    <a:pt x="20" y="20"/>
                  </a:lnTo>
                  <a:lnTo>
                    <a:pt x="10" y="20"/>
                  </a:lnTo>
                  <a:lnTo>
                    <a:pt x="10" y="20"/>
                  </a:lnTo>
                  <a:lnTo>
                    <a:pt x="10" y="30"/>
                  </a:lnTo>
                  <a:lnTo>
                    <a:pt x="10" y="30"/>
                  </a:lnTo>
                  <a:lnTo>
                    <a:pt x="0" y="30"/>
                  </a:lnTo>
                  <a:lnTo>
                    <a:pt x="0" y="30"/>
                  </a:lnTo>
                  <a:lnTo>
                    <a:pt x="0" y="20"/>
                  </a:lnTo>
                  <a:lnTo>
                    <a:pt x="0" y="20"/>
                  </a:lnTo>
                  <a:lnTo>
                    <a:pt x="10" y="20"/>
                  </a:lnTo>
                  <a:lnTo>
                    <a:pt x="0" y="20"/>
                  </a:lnTo>
                  <a:lnTo>
                    <a:pt x="10" y="10"/>
                  </a:lnTo>
                  <a:lnTo>
                    <a:pt x="20" y="0"/>
                  </a:lnTo>
                  <a:lnTo>
                    <a:pt x="40" y="0"/>
                  </a:lnTo>
                  <a:lnTo>
                    <a:pt x="60" y="0"/>
                  </a:lnTo>
                  <a:lnTo>
                    <a:pt x="6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0" name="Freeform 609">
              <a:extLst>
                <a:ext uri="{FF2B5EF4-FFF2-40B4-BE49-F238E27FC236}">
                  <a16:creationId xmlns:a16="http://schemas.microsoft.com/office/drawing/2014/main" id="{6919DFB7-D058-D526-588E-CADD46305F9A}"/>
                </a:ext>
              </a:extLst>
            </p:cNvPr>
            <p:cNvSpPr>
              <a:spLocks/>
            </p:cNvSpPr>
            <p:nvPr/>
          </p:nvSpPr>
          <p:spPr bwMode="auto">
            <a:xfrm>
              <a:off x="10993172" y="3561081"/>
              <a:ext cx="427314" cy="287422"/>
            </a:xfrm>
            <a:custGeom>
              <a:avLst/>
              <a:gdLst/>
              <a:ahLst/>
              <a:cxnLst>
                <a:cxn ang="0">
                  <a:pos x="269" y="30"/>
                </a:cxn>
                <a:cxn ang="0">
                  <a:pos x="269" y="40"/>
                </a:cxn>
                <a:cxn ang="0">
                  <a:pos x="259" y="50"/>
                </a:cxn>
                <a:cxn ang="0">
                  <a:pos x="239" y="60"/>
                </a:cxn>
                <a:cxn ang="0">
                  <a:pos x="179" y="80"/>
                </a:cxn>
                <a:cxn ang="0">
                  <a:pos x="160" y="90"/>
                </a:cxn>
                <a:cxn ang="0">
                  <a:pos x="160" y="100"/>
                </a:cxn>
                <a:cxn ang="0">
                  <a:pos x="160" y="119"/>
                </a:cxn>
                <a:cxn ang="0">
                  <a:pos x="169" y="119"/>
                </a:cxn>
                <a:cxn ang="0">
                  <a:pos x="169" y="110"/>
                </a:cxn>
                <a:cxn ang="0">
                  <a:pos x="169" y="110"/>
                </a:cxn>
                <a:cxn ang="0">
                  <a:pos x="169" y="110"/>
                </a:cxn>
                <a:cxn ang="0">
                  <a:pos x="169" y="110"/>
                </a:cxn>
                <a:cxn ang="0">
                  <a:pos x="179" y="110"/>
                </a:cxn>
                <a:cxn ang="0">
                  <a:pos x="169" y="119"/>
                </a:cxn>
                <a:cxn ang="0">
                  <a:pos x="160" y="139"/>
                </a:cxn>
                <a:cxn ang="0">
                  <a:pos x="160" y="139"/>
                </a:cxn>
                <a:cxn ang="0">
                  <a:pos x="160" y="139"/>
                </a:cxn>
                <a:cxn ang="0">
                  <a:pos x="130" y="159"/>
                </a:cxn>
                <a:cxn ang="0">
                  <a:pos x="120" y="169"/>
                </a:cxn>
                <a:cxn ang="0">
                  <a:pos x="110" y="169"/>
                </a:cxn>
                <a:cxn ang="0">
                  <a:pos x="110" y="179"/>
                </a:cxn>
                <a:cxn ang="0">
                  <a:pos x="100" y="189"/>
                </a:cxn>
                <a:cxn ang="0">
                  <a:pos x="80" y="199"/>
                </a:cxn>
                <a:cxn ang="0">
                  <a:pos x="80" y="199"/>
                </a:cxn>
                <a:cxn ang="0">
                  <a:pos x="80" y="199"/>
                </a:cxn>
                <a:cxn ang="0">
                  <a:pos x="70" y="199"/>
                </a:cxn>
                <a:cxn ang="0">
                  <a:pos x="50" y="199"/>
                </a:cxn>
                <a:cxn ang="0">
                  <a:pos x="20" y="199"/>
                </a:cxn>
                <a:cxn ang="0">
                  <a:pos x="11" y="209"/>
                </a:cxn>
                <a:cxn ang="0">
                  <a:pos x="11" y="209"/>
                </a:cxn>
                <a:cxn ang="0">
                  <a:pos x="11" y="219"/>
                </a:cxn>
                <a:cxn ang="0">
                  <a:pos x="20" y="219"/>
                </a:cxn>
                <a:cxn ang="0">
                  <a:pos x="11" y="219"/>
                </a:cxn>
                <a:cxn ang="0">
                  <a:pos x="0" y="219"/>
                </a:cxn>
                <a:cxn ang="0">
                  <a:pos x="0" y="219"/>
                </a:cxn>
                <a:cxn ang="0">
                  <a:pos x="0" y="199"/>
                </a:cxn>
                <a:cxn ang="0">
                  <a:pos x="0" y="189"/>
                </a:cxn>
                <a:cxn ang="0">
                  <a:pos x="0" y="179"/>
                </a:cxn>
                <a:cxn ang="0">
                  <a:pos x="60" y="149"/>
                </a:cxn>
                <a:cxn ang="0">
                  <a:pos x="90" y="119"/>
                </a:cxn>
                <a:cxn ang="0">
                  <a:pos x="110" y="110"/>
                </a:cxn>
                <a:cxn ang="0">
                  <a:pos x="130" y="90"/>
                </a:cxn>
                <a:cxn ang="0">
                  <a:pos x="140" y="80"/>
                </a:cxn>
                <a:cxn ang="0">
                  <a:pos x="179" y="50"/>
                </a:cxn>
                <a:cxn ang="0">
                  <a:pos x="199" y="40"/>
                </a:cxn>
                <a:cxn ang="0">
                  <a:pos x="209" y="30"/>
                </a:cxn>
                <a:cxn ang="0">
                  <a:pos x="209" y="30"/>
                </a:cxn>
                <a:cxn ang="0">
                  <a:pos x="239" y="20"/>
                </a:cxn>
                <a:cxn ang="0">
                  <a:pos x="259" y="10"/>
                </a:cxn>
                <a:cxn ang="0">
                  <a:pos x="279" y="0"/>
                </a:cxn>
                <a:cxn ang="0">
                  <a:pos x="289" y="0"/>
                </a:cxn>
                <a:cxn ang="0">
                  <a:pos x="318" y="10"/>
                </a:cxn>
                <a:cxn ang="0">
                  <a:pos x="318" y="20"/>
                </a:cxn>
                <a:cxn ang="0">
                  <a:pos x="309" y="30"/>
                </a:cxn>
                <a:cxn ang="0">
                  <a:pos x="309" y="30"/>
                </a:cxn>
                <a:cxn ang="0">
                  <a:pos x="309" y="30"/>
                </a:cxn>
                <a:cxn ang="0">
                  <a:pos x="298" y="30"/>
                </a:cxn>
                <a:cxn ang="0">
                  <a:pos x="289" y="30"/>
                </a:cxn>
                <a:cxn ang="0">
                  <a:pos x="269" y="30"/>
                </a:cxn>
              </a:cxnLst>
              <a:rect l="0" t="0" r="r" b="b"/>
              <a:pathLst>
                <a:path w="318" h="219">
                  <a:moveTo>
                    <a:pt x="269" y="30"/>
                  </a:moveTo>
                  <a:lnTo>
                    <a:pt x="269" y="40"/>
                  </a:lnTo>
                  <a:lnTo>
                    <a:pt x="259" y="50"/>
                  </a:lnTo>
                  <a:lnTo>
                    <a:pt x="239" y="60"/>
                  </a:lnTo>
                  <a:lnTo>
                    <a:pt x="179" y="80"/>
                  </a:lnTo>
                  <a:lnTo>
                    <a:pt x="160" y="90"/>
                  </a:lnTo>
                  <a:lnTo>
                    <a:pt x="160" y="100"/>
                  </a:lnTo>
                  <a:lnTo>
                    <a:pt x="160" y="119"/>
                  </a:lnTo>
                  <a:lnTo>
                    <a:pt x="169" y="119"/>
                  </a:lnTo>
                  <a:lnTo>
                    <a:pt x="169" y="110"/>
                  </a:lnTo>
                  <a:lnTo>
                    <a:pt x="169" y="110"/>
                  </a:lnTo>
                  <a:lnTo>
                    <a:pt x="169" y="110"/>
                  </a:lnTo>
                  <a:lnTo>
                    <a:pt x="169" y="110"/>
                  </a:lnTo>
                  <a:lnTo>
                    <a:pt x="179" y="110"/>
                  </a:lnTo>
                  <a:lnTo>
                    <a:pt x="169" y="119"/>
                  </a:lnTo>
                  <a:lnTo>
                    <a:pt x="160" y="139"/>
                  </a:lnTo>
                  <a:lnTo>
                    <a:pt x="160" y="139"/>
                  </a:lnTo>
                  <a:lnTo>
                    <a:pt x="160" y="139"/>
                  </a:lnTo>
                  <a:lnTo>
                    <a:pt x="130" y="159"/>
                  </a:lnTo>
                  <a:lnTo>
                    <a:pt x="120" y="169"/>
                  </a:lnTo>
                  <a:lnTo>
                    <a:pt x="110" y="169"/>
                  </a:lnTo>
                  <a:lnTo>
                    <a:pt x="110" y="179"/>
                  </a:lnTo>
                  <a:lnTo>
                    <a:pt x="100" y="189"/>
                  </a:lnTo>
                  <a:lnTo>
                    <a:pt x="80" y="199"/>
                  </a:lnTo>
                  <a:lnTo>
                    <a:pt x="80" y="199"/>
                  </a:lnTo>
                  <a:lnTo>
                    <a:pt x="80" y="199"/>
                  </a:lnTo>
                  <a:lnTo>
                    <a:pt x="70" y="199"/>
                  </a:lnTo>
                  <a:lnTo>
                    <a:pt x="50" y="199"/>
                  </a:lnTo>
                  <a:lnTo>
                    <a:pt x="20" y="199"/>
                  </a:lnTo>
                  <a:lnTo>
                    <a:pt x="11" y="209"/>
                  </a:lnTo>
                  <a:lnTo>
                    <a:pt x="11" y="209"/>
                  </a:lnTo>
                  <a:lnTo>
                    <a:pt x="11" y="219"/>
                  </a:lnTo>
                  <a:lnTo>
                    <a:pt x="20" y="219"/>
                  </a:lnTo>
                  <a:lnTo>
                    <a:pt x="11" y="219"/>
                  </a:lnTo>
                  <a:lnTo>
                    <a:pt x="0" y="219"/>
                  </a:lnTo>
                  <a:lnTo>
                    <a:pt x="0" y="219"/>
                  </a:lnTo>
                  <a:lnTo>
                    <a:pt x="0" y="199"/>
                  </a:lnTo>
                  <a:lnTo>
                    <a:pt x="0" y="189"/>
                  </a:lnTo>
                  <a:lnTo>
                    <a:pt x="0" y="179"/>
                  </a:lnTo>
                  <a:lnTo>
                    <a:pt x="60" y="149"/>
                  </a:lnTo>
                  <a:lnTo>
                    <a:pt x="90" y="119"/>
                  </a:lnTo>
                  <a:lnTo>
                    <a:pt x="110" y="110"/>
                  </a:lnTo>
                  <a:lnTo>
                    <a:pt x="130" y="90"/>
                  </a:lnTo>
                  <a:lnTo>
                    <a:pt x="140" y="80"/>
                  </a:lnTo>
                  <a:lnTo>
                    <a:pt x="179" y="50"/>
                  </a:lnTo>
                  <a:lnTo>
                    <a:pt x="199" y="40"/>
                  </a:lnTo>
                  <a:lnTo>
                    <a:pt x="209" y="30"/>
                  </a:lnTo>
                  <a:lnTo>
                    <a:pt x="209" y="30"/>
                  </a:lnTo>
                  <a:lnTo>
                    <a:pt x="239" y="20"/>
                  </a:lnTo>
                  <a:lnTo>
                    <a:pt x="259" y="10"/>
                  </a:lnTo>
                  <a:lnTo>
                    <a:pt x="279" y="0"/>
                  </a:lnTo>
                  <a:lnTo>
                    <a:pt x="289" y="0"/>
                  </a:lnTo>
                  <a:lnTo>
                    <a:pt x="318" y="10"/>
                  </a:lnTo>
                  <a:lnTo>
                    <a:pt x="318" y="20"/>
                  </a:lnTo>
                  <a:lnTo>
                    <a:pt x="309" y="30"/>
                  </a:lnTo>
                  <a:lnTo>
                    <a:pt x="309" y="30"/>
                  </a:lnTo>
                  <a:lnTo>
                    <a:pt x="309" y="30"/>
                  </a:lnTo>
                  <a:lnTo>
                    <a:pt x="298" y="30"/>
                  </a:lnTo>
                  <a:lnTo>
                    <a:pt x="289" y="30"/>
                  </a:lnTo>
                  <a:lnTo>
                    <a:pt x="26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1" name="Freeform 610">
              <a:extLst>
                <a:ext uri="{FF2B5EF4-FFF2-40B4-BE49-F238E27FC236}">
                  <a16:creationId xmlns:a16="http://schemas.microsoft.com/office/drawing/2014/main" id="{E16DC170-980F-350A-7D2B-CFAEE0838D8C}"/>
                </a:ext>
              </a:extLst>
            </p:cNvPr>
            <p:cNvSpPr>
              <a:spLocks/>
            </p:cNvSpPr>
            <p:nvPr/>
          </p:nvSpPr>
          <p:spPr bwMode="auto">
            <a:xfrm>
              <a:off x="12675553" y="4578215"/>
              <a:ext cx="733690" cy="404229"/>
            </a:xfrm>
            <a:custGeom>
              <a:avLst/>
              <a:gdLst/>
              <a:ahLst/>
              <a:cxnLst>
                <a:cxn ang="0">
                  <a:pos x="298" y="229"/>
                </a:cxn>
                <a:cxn ang="0">
                  <a:pos x="308" y="249"/>
                </a:cxn>
                <a:cxn ang="0">
                  <a:pos x="298" y="258"/>
                </a:cxn>
                <a:cxn ang="0">
                  <a:pos x="268" y="258"/>
                </a:cxn>
                <a:cxn ang="0">
                  <a:pos x="228" y="278"/>
                </a:cxn>
                <a:cxn ang="0">
                  <a:pos x="219" y="268"/>
                </a:cxn>
                <a:cxn ang="0">
                  <a:pos x="199" y="239"/>
                </a:cxn>
                <a:cxn ang="0">
                  <a:pos x="199" y="219"/>
                </a:cxn>
                <a:cxn ang="0">
                  <a:pos x="179" y="239"/>
                </a:cxn>
                <a:cxn ang="0">
                  <a:pos x="159" y="239"/>
                </a:cxn>
                <a:cxn ang="0">
                  <a:pos x="129" y="249"/>
                </a:cxn>
                <a:cxn ang="0">
                  <a:pos x="119" y="278"/>
                </a:cxn>
                <a:cxn ang="0">
                  <a:pos x="99" y="298"/>
                </a:cxn>
                <a:cxn ang="0">
                  <a:pos x="79" y="308"/>
                </a:cxn>
                <a:cxn ang="0">
                  <a:pos x="50" y="308"/>
                </a:cxn>
                <a:cxn ang="0">
                  <a:pos x="30" y="298"/>
                </a:cxn>
                <a:cxn ang="0">
                  <a:pos x="20" y="298"/>
                </a:cxn>
                <a:cxn ang="0">
                  <a:pos x="0" y="288"/>
                </a:cxn>
                <a:cxn ang="0">
                  <a:pos x="0" y="268"/>
                </a:cxn>
                <a:cxn ang="0">
                  <a:pos x="10" y="249"/>
                </a:cxn>
                <a:cxn ang="0">
                  <a:pos x="20" y="219"/>
                </a:cxn>
                <a:cxn ang="0">
                  <a:pos x="50" y="169"/>
                </a:cxn>
                <a:cxn ang="0">
                  <a:pos x="59" y="149"/>
                </a:cxn>
                <a:cxn ang="0">
                  <a:pos x="79" y="119"/>
                </a:cxn>
                <a:cxn ang="0">
                  <a:pos x="89" y="109"/>
                </a:cxn>
                <a:cxn ang="0">
                  <a:pos x="139" y="80"/>
                </a:cxn>
                <a:cxn ang="0">
                  <a:pos x="159" y="50"/>
                </a:cxn>
                <a:cxn ang="0">
                  <a:pos x="179" y="40"/>
                </a:cxn>
                <a:cxn ang="0">
                  <a:pos x="219" y="40"/>
                </a:cxn>
                <a:cxn ang="0">
                  <a:pos x="238" y="30"/>
                </a:cxn>
                <a:cxn ang="0">
                  <a:pos x="298" y="50"/>
                </a:cxn>
                <a:cxn ang="0">
                  <a:pos x="338" y="20"/>
                </a:cxn>
                <a:cxn ang="0">
                  <a:pos x="377" y="70"/>
                </a:cxn>
                <a:cxn ang="0">
                  <a:pos x="407" y="40"/>
                </a:cxn>
                <a:cxn ang="0">
                  <a:pos x="447" y="20"/>
                </a:cxn>
                <a:cxn ang="0">
                  <a:pos x="487" y="0"/>
                </a:cxn>
                <a:cxn ang="0">
                  <a:pos x="497" y="20"/>
                </a:cxn>
                <a:cxn ang="0">
                  <a:pos x="546" y="50"/>
                </a:cxn>
                <a:cxn ang="0">
                  <a:pos x="526" y="70"/>
                </a:cxn>
                <a:cxn ang="0">
                  <a:pos x="477" y="129"/>
                </a:cxn>
                <a:cxn ang="0">
                  <a:pos x="387" y="189"/>
                </a:cxn>
                <a:cxn ang="0">
                  <a:pos x="348" y="219"/>
                </a:cxn>
                <a:cxn ang="0">
                  <a:pos x="308" y="229"/>
                </a:cxn>
              </a:cxnLst>
              <a:rect l="0" t="0" r="r" b="b"/>
              <a:pathLst>
                <a:path w="546" h="308">
                  <a:moveTo>
                    <a:pt x="308" y="229"/>
                  </a:moveTo>
                  <a:lnTo>
                    <a:pt x="298" y="229"/>
                  </a:lnTo>
                  <a:lnTo>
                    <a:pt x="298" y="229"/>
                  </a:lnTo>
                  <a:lnTo>
                    <a:pt x="298" y="229"/>
                  </a:lnTo>
                  <a:lnTo>
                    <a:pt x="308" y="249"/>
                  </a:lnTo>
                  <a:lnTo>
                    <a:pt x="308" y="249"/>
                  </a:lnTo>
                  <a:lnTo>
                    <a:pt x="308" y="258"/>
                  </a:lnTo>
                  <a:lnTo>
                    <a:pt x="308" y="258"/>
                  </a:lnTo>
                  <a:lnTo>
                    <a:pt x="298" y="258"/>
                  </a:lnTo>
                  <a:lnTo>
                    <a:pt x="288" y="268"/>
                  </a:lnTo>
                  <a:lnTo>
                    <a:pt x="268" y="278"/>
                  </a:lnTo>
                  <a:lnTo>
                    <a:pt x="268" y="258"/>
                  </a:lnTo>
                  <a:lnTo>
                    <a:pt x="238" y="268"/>
                  </a:lnTo>
                  <a:lnTo>
                    <a:pt x="228" y="278"/>
                  </a:lnTo>
                  <a:lnTo>
                    <a:pt x="228" y="278"/>
                  </a:lnTo>
                  <a:lnTo>
                    <a:pt x="228" y="268"/>
                  </a:lnTo>
                  <a:lnTo>
                    <a:pt x="219" y="268"/>
                  </a:lnTo>
                  <a:lnTo>
                    <a:pt x="219" y="268"/>
                  </a:lnTo>
                  <a:lnTo>
                    <a:pt x="219" y="268"/>
                  </a:lnTo>
                  <a:lnTo>
                    <a:pt x="208" y="258"/>
                  </a:lnTo>
                  <a:lnTo>
                    <a:pt x="199" y="239"/>
                  </a:lnTo>
                  <a:lnTo>
                    <a:pt x="199" y="219"/>
                  </a:lnTo>
                  <a:lnTo>
                    <a:pt x="199" y="219"/>
                  </a:lnTo>
                  <a:lnTo>
                    <a:pt x="199" y="219"/>
                  </a:lnTo>
                  <a:lnTo>
                    <a:pt x="179" y="229"/>
                  </a:lnTo>
                  <a:lnTo>
                    <a:pt x="179" y="229"/>
                  </a:lnTo>
                  <a:lnTo>
                    <a:pt x="179" y="239"/>
                  </a:lnTo>
                  <a:lnTo>
                    <a:pt x="179" y="239"/>
                  </a:lnTo>
                  <a:lnTo>
                    <a:pt x="159" y="229"/>
                  </a:lnTo>
                  <a:lnTo>
                    <a:pt x="159" y="239"/>
                  </a:lnTo>
                  <a:lnTo>
                    <a:pt x="139" y="239"/>
                  </a:lnTo>
                  <a:lnTo>
                    <a:pt x="139" y="239"/>
                  </a:lnTo>
                  <a:lnTo>
                    <a:pt x="129" y="249"/>
                  </a:lnTo>
                  <a:lnTo>
                    <a:pt x="129" y="258"/>
                  </a:lnTo>
                  <a:lnTo>
                    <a:pt x="119" y="268"/>
                  </a:lnTo>
                  <a:lnTo>
                    <a:pt x="119" y="278"/>
                  </a:lnTo>
                  <a:lnTo>
                    <a:pt x="109" y="288"/>
                  </a:lnTo>
                  <a:lnTo>
                    <a:pt x="99" y="288"/>
                  </a:lnTo>
                  <a:lnTo>
                    <a:pt x="99" y="298"/>
                  </a:lnTo>
                  <a:lnTo>
                    <a:pt x="89" y="298"/>
                  </a:lnTo>
                  <a:lnTo>
                    <a:pt x="79" y="308"/>
                  </a:lnTo>
                  <a:lnTo>
                    <a:pt x="79" y="308"/>
                  </a:lnTo>
                  <a:lnTo>
                    <a:pt x="70" y="308"/>
                  </a:lnTo>
                  <a:lnTo>
                    <a:pt x="59" y="308"/>
                  </a:lnTo>
                  <a:lnTo>
                    <a:pt x="50" y="308"/>
                  </a:lnTo>
                  <a:lnTo>
                    <a:pt x="40" y="298"/>
                  </a:lnTo>
                  <a:lnTo>
                    <a:pt x="40" y="298"/>
                  </a:lnTo>
                  <a:lnTo>
                    <a:pt x="30" y="298"/>
                  </a:lnTo>
                  <a:lnTo>
                    <a:pt x="30" y="298"/>
                  </a:lnTo>
                  <a:lnTo>
                    <a:pt x="20" y="298"/>
                  </a:lnTo>
                  <a:lnTo>
                    <a:pt x="20" y="298"/>
                  </a:lnTo>
                  <a:lnTo>
                    <a:pt x="20" y="288"/>
                  </a:lnTo>
                  <a:lnTo>
                    <a:pt x="10" y="288"/>
                  </a:lnTo>
                  <a:lnTo>
                    <a:pt x="0" y="288"/>
                  </a:lnTo>
                  <a:lnTo>
                    <a:pt x="0" y="278"/>
                  </a:lnTo>
                  <a:lnTo>
                    <a:pt x="0" y="278"/>
                  </a:lnTo>
                  <a:lnTo>
                    <a:pt x="0" y="268"/>
                  </a:lnTo>
                  <a:lnTo>
                    <a:pt x="0" y="268"/>
                  </a:lnTo>
                  <a:lnTo>
                    <a:pt x="10" y="258"/>
                  </a:lnTo>
                  <a:lnTo>
                    <a:pt x="10" y="249"/>
                  </a:lnTo>
                  <a:lnTo>
                    <a:pt x="20" y="229"/>
                  </a:lnTo>
                  <a:lnTo>
                    <a:pt x="20" y="219"/>
                  </a:lnTo>
                  <a:lnTo>
                    <a:pt x="20" y="219"/>
                  </a:lnTo>
                  <a:lnTo>
                    <a:pt x="30" y="199"/>
                  </a:lnTo>
                  <a:lnTo>
                    <a:pt x="40" y="179"/>
                  </a:lnTo>
                  <a:lnTo>
                    <a:pt x="50" y="169"/>
                  </a:lnTo>
                  <a:lnTo>
                    <a:pt x="50" y="159"/>
                  </a:lnTo>
                  <a:lnTo>
                    <a:pt x="50" y="159"/>
                  </a:lnTo>
                  <a:lnTo>
                    <a:pt x="59" y="149"/>
                  </a:lnTo>
                  <a:lnTo>
                    <a:pt x="70" y="129"/>
                  </a:lnTo>
                  <a:lnTo>
                    <a:pt x="79" y="119"/>
                  </a:lnTo>
                  <a:lnTo>
                    <a:pt x="79" y="119"/>
                  </a:lnTo>
                  <a:lnTo>
                    <a:pt x="79" y="119"/>
                  </a:lnTo>
                  <a:lnTo>
                    <a:pt x="79" y="109"/>
                  </a:lnTo>
                  <a:lnTo>
                    <a:pt x="89" y="109"/>
                  </a:lnTo>
                  <a:lnTo>
                    <a:pt x="109" y="100"/>
                  </a:lnTo>
                  <a:lnTo>
                    <a:pt x="139" y="90"/>
                  </a:lnTo>
                  <a:lnTo>
                    <a:pt x="139" y="80"/>
                  </a:lnTo>
                  <a:lnTo>
                    <a:pt x="149" y="70"/>
                  </a:lnTo>
                  <a:lnTo>
                    <a:pt x="159" y="60"/>
                  </a:lnTo>
                  <a:lnTo>
                    <a:pt x="159" y="50"/>
                  </a:lnTo>
                  <a:lnTo>
                    <a:pt x="169" y="40"/>
                  </a:lnTo>
                  <a:lnTo>
                    <a:pt x="179" y="40"/>
                  </a:lnTo>
                  <a:lnTo>
                    <a:pt x="179" y="40"/>
                  </a:lnTo>
                  <a:lnTo>
                    <a:pt x="189" y="40"/>
                  </a:lnTo>
                  <a:lnTo>
                    <a:pt x="199" y="40"/>
                  </a:lnTo>
                  <a:lnTo>
                    <a:pt x="219" y="40"/>
                  </a:lnTo>
                  <a:lnTo>
                    <a:pt x="228" y="30"/>
                  </a:lnTo>
                  <a:lnTo>
                    <a:pt x="228" y="20"/>
                  </a:lnTo>
                  <a:lnTo>
                    <a:pt x="238" y="30"/>
                  </a:lnTo>
                  <a:lnTo>
                    <a:pt x="278" y="60"/>
                  </a:lnTo>
                  <a:lnTo>
                    <a:pt x="288" y="60"/>
                  </a:lnTo>
                  <a:lnTo>
                    <a:pt x="298" y="50"/>
                  </a:lnTo>
                  <a:lnTo>
                    <a:pt x="308" y="40"/>
                  </a:lnTo>
                  <a:lnTo>
                    <a:pt x="328" y="30"/>
                  </a:lnTo>
                  <a:lnTo>
                    <a:pt x="338" y="20"/>
                  </a:lnTo>
                  <a:lnTo>
                    <a:pt x="357" y="40"/>
                  </a:lnTo>
                  <a:lnTo>
                    <a:pt x="368" y="60"/>
                  </a:lnTo>
                  <a:lnTo>
                    <a:pt x="377" y="70"/>
                  </a:lnTo>
                  <a:lnTo>
                    <a:pt x="377" y="60"/>
                  </a:lnTo>
                  <a:lnTo>
                    <a:pt x="397" y="50"/>
                  </a:lnTo>
                  <a:lnTo>
                    <a:pt x="407" y="40"/>
                  </a:lnTo>
                  <a:lnTo>
                    <a:pt x="417" y="40"/>
                  </a:lnTo>
                  <a:lnTo>
                    <a:pt x="437" y="30"/>
                  </a:lnTo>
                  <a:lnTo>
                    <a:pt x="447" y="20"/>
                  </a:lnTo>
                  <a:lnTo>
                    <a:pt x="467" y="20"/>
                  </a:lnTo>
                  <a:lnTo>
                    <a:pt x="477" y="10"/>
                  </a:lnTo>
                  <a:lnTo>
                    <a:pt x="487" y="0"/>
                  </a:lnTo>
                  <a:lnTo>
                    <a:pt x="497" y="10"/>
                  </a:lnTo>
                  <a:lnTo>
                    <a:pt x="487" y="10"/>
                  </a:lnTo>
                  <a:lnTo>
                    <a:pt x="497" y="20"/>
                  </a:lnTo>
                  <a:lnTo>
                    <a:pt x="506" y="40"/>
                  </a:lnTo>
                  <a:lnTo>
                    <a:pt x="546" y="40"/>
                  </a:lnTo>
                  <a:lnTo>
                    <a:pt x="546" y="50"/>
                  </a:lnTo>
                  <a:lnTo>
                    <a:pt x="546" y="60"/>
                  </a:lnTo>
                  <a:lnTo>
                    <a:pt x="526" y="70"/>
                  </a:lnTo>
                  <a:lnTo>
                    <a:pt x="526" y="70"/>
                  </a:lnTo>
                  <a:lnTo>
                    <a:pt x="497" y="109"/>
                  </a:lnTo>
                  <a:lnTo>
                    <a:pt x="487" y="119"/>
                  </a:lnTo>
                  <a:lnTo>
                    <a:pt x="477" y="129"/>
                  </a:lnTo>
                  <a:lnTo>
                    <a:pt x="437" y="149"/>
                  </a:lnTo>
                  <a:lnTo>
                    <a:pt x="417" y="169"/>
                  </a:lnTo>
                  <a:lnTo>
                    <a:pt x="387" y="189"/>
                  </a:lnTo>
                  <a:lnTo>
                    <a:pt x="387" y="189"/>
                  </a:lnTo>
                  <a:lnTo>
                    <a:pt x="357" y="209"/>
                  </a:lnTo>
                  <a:lnTo>
                    <a:pt x="348" y="219"/>
                  </a:lnTo>
                  <a:lnTo>
                    <a:pt x="338" y="229"/>
                  </a:lnTo>
                  <a:lnTo>
                    <a:pt x="338" y="229"/>
                  </a:lnTo>
                  <a:lnTo>
                    <a:pt x="308" y="2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2" name="Freeform 611">
              <a:extLst>
                <a:ext uri="{FF2B5EF4-FFF2-40B4-BE49-F238E27FC236}">
                  <a16:creationId xmlns:a16="http://schemas.microsoft.com/office/drawing/2014/main" id="{C98D8976-2410-9255-069A-97AFF183B1E8}"/>
                </a:ext>
              </a:extLst>
            </p:cNvPr>
            <p:cNvSpPr>
              <a:spLocks/>
            </p:cNvSpPr>
            <p:nvPr/>
          </p:nvSpPr>
          <p:spPr bwMode="auto">
            <a:xfrm>
              <a:off x="11861238" y="4395787"/>
              <a:ext cx="360126" cy="456726"/>
            </a:xfrm>
            <a:custGeom>
              <a:avLst/>
              <a:gdLst/>
              <a:ahLst/>
              <a:cxnLst>
                <a:cxn ang="0">
                  <a:pos x="40" y="229"/>
                </a:cxn>
                <a:cxn ang="0">
                  <a:pos x="50" y="229"/>
                </a:cxn>
                <a:cxn ang="0">
                  <a:pos x="60" y="229"/>
                </a:cxn>
                <a:cxn ang="0">
                  <a:pos x="70" y="209"/>
                </a:cxn>
                <a:cxn ang="0">
                  <a:pos x="70" y="189"/>
                </a:cxn>
                <a:cxn ang="0">
                  <a:pos x="70" y="189"/>
                </a:cxn>
                <a:cxn ang="0">
                  <a:pos x="60" y="159"/>
                </a:cxn>
                <a:cxn ang="0">
                  <a:pos x="60" y="139"/>
                </a:cxn>
                <a:cxn ang="0">
                  <a:pos x="70" y="139"/>
                </a:cxn>
                <a:cxn ang="0">
                  <a:pos x="70" y="119"/>
                </a:cxn>
                <a:cxn ang="0">
                  <a:pos x="70" y="109"/>
                </a:cxn>
                <a:cxn ang="0">
                  <a:pos x="99" y="90"/>
                </a:cxn>
                <a:cxn ang="0">
                  <a:pos x="80" y="109"/>
                </a:cxn>
                <a:cxn ang="0">
                  <a:pos x="70" y="90"/>
                </a:cxn>
                <a:cxn ang="0">
                  <a:pos x="60" y="40"/>
                </a:cxn>
                <a:cxn ang="0">
                  <a:pos x="60" y="20"/>
                </a:cxn>
                <a:cxn ang="0">
                  <a:pos x="70" y="0"/>
                </a:cxn>
                <a:cxn ang="0">
                  <a:pos x="99" y="50"/>
                </a:cxn>
                <a:cxn ang="0">
                  <a:pos x="109" y="50"/>
                </a:cxn>
                <a:cxn ang="0">
                  <a:pos x="119" y="40"/>
                </a:cxn>
                <a:cxn ang="0">
                  <a:pos x="139" y="40"/>
                </a:cxn>
                <a:cxn ang="0">
                  <a:pos x="139" y="40"/>
                </a:cxn>
                <a:cxn ang="0">
                  <a:pos x="159" y="50"/>
                </a:cxn>
                <a:cxn ang="0">
                  <a:pos x="179" y="30"/>
                </a:cxn>
                <a:cxn ang="0">
                  <a:pos x="199" y="30"/>
                </a:cxn>
                <a:cxn ang="0">
                  <a:pos x="199" y="30"/>
                </a:cxn>
                <a:cxn ang="0">
                  <a:pos x="189" y="70"/>
                </a:cxn>
                <a:cxn ang="0">
                  <a:pos x="189" y="99"/>
                </a:cxn>
                <a:cxn ang="0">
                  <a:pos x="258" y="129"/>
                </a:cxn>
                <a:cxn ang="0">
                  <a:pos x="258" y="149"/>
                </a:cxn>
                <a:cxn ang="0">
                  <a:pos x="199" y="179"/>
                </a:cxn>
                <a:cxn ang="0">
                  <a:pos x="179" y="219"/>
                </a:cxn>
                <a:cxn ang="0">
                  <a:pos x="179" y="258"/>
                </a:cxn>
                <a:cxn ang="0">
                  <a:pos x="179" y="268"/>
                </a:cxn>
                <a:cxn ang="0">
                  <a:pos x="189" y="278"/>
                </a:cxn>
                <a:cxn ang="0">
                  <a:pos x="179" y="298"/>
                </a:cxn>
                <a:cxn ang="0">
                  <a:pos x="169" y="298"/>
                </a:cxn>
                <a:cxn ang="0">
                  <a:pos x="159" y="308"/>
                </a:cxn>
                <a:cxn ang="0">
                  <a:pos x="149" y="298"/>
                </a:cxn>
                <a:cxn ang="0">
                  <a:pos x="119" y="298"/>
                </a:cxn>
                <a:cxn ang="0">
                  <a:pos x="90" y="298"/>
                </a:cxn>
                <a:cxn ang="0">
                  <a:pos x="109" y="328"/>
                </a:cxn>
                <a:cxn ang="0">
                  <a:pos x="109" y="328"/>
                </a:cxn>
                <a:cxn ang="0">
                  <a:pos x="109" y="348"/>
                </a:cxn>
                <a:cxn ang="0">
                  <a:pos x="90" y="348"/>
                </a:cxn>
                <a:cxn ang="0">
                  <a:pos x="60" y="328"/>
                </a:cxn>
                <a:cxn ang="0">
                  <a:pos x="30" y="308"/>
                </a:cxn>
                <a:cxn ang="0">
                  <a:pos x="10" y="298"/>
                </a:cxn>
                <a:cxn ang="0">
                  <a:pos x="10" y="288"/>
                </a:cxn>
                <a:cxn ang="0">
                  <a:pos x="10" y="288"/>
                </a:cxn>
                <a:cxn ang="0">
                  <a:pos x="10" y="278"/>
                </a:cxn>
                <a:cxn ang="0">
                  <a:pos x="0" y="268"/>
                </a:cxn>
                <a:cxn ang="0">
                  <a:pos x="20" y="248"/>
                </a:cxn>
              </a:cxnLst>
              <a:rect l="0" t="0" r="r" b="b"/>
              <a:pathLst>
                <a:path w="268" h="348">
                  <a:moveTo>
                    <a:pt x="20" y="248"/>
                  </a:moveTo>
                  <a:lnTo>
                    <a:pt x="40" y="229"/>
                  </a:lnTo>
                  <a:lnTo>
                    <a:pt x="40" y="229"/>
                  </a:lnTo>
                  <a:lnTo>
                    <a:pt x="50" y="229"/>
                  </a:lnTo>
                  <a:lnTo>
                    <a:pt x="50" y="229"/>
                  </a:lnTo>
                  <a:lnTo>
                    <a:pt x="60" y="229"/>
                  </a:lnTo>
                  <a:lnTo>
                    <a:pt x="70" y="219"/>
                  </a:lnTo>
                  <a:lnTo>
                    <a:pt x="70" y="209"/>
                  </a:lnTo>
                  <a:lnTo>
                    <a:pt x="70" y="209"/>
                  </a:lnTo>
                  <a:lnTo>
                    <a:pt x="70" y="189"/>
                  </a:lnTo>
                  <a:lnTo>
                    <a:pt x="70" y="189"/>
                  </a:lnTo>
                  <a:lnTo>
                    <a:pt x="70" y="189"/>
                  </a:lnTo>
                  <a:lnTo>
                    <a:pt x="70" y="179"/>
                  </a:lnTo>
                  <a:lnTo>
                    <a:pt x="60" y="159"/>
                  </a:lnTo>
                  <a:lnTo>
                    <a:pt x="50" y="149"/>
                  </a:lnTo>
                  <a:lnTo>
                    <a:pt x="60" y="139"/>
                  </a:lnTo>
                  <a:lnTo>
                    <a:pt x="70" y="139"/>
                  </a:lnTo>
                  <a:lnTo>
                    <a:pt x="70" y="139"/>
                  </a:lnTo>
                  <a:lnTo>
                    <a:pt x="70" y="139"/>
                  </a:lnTo>
                  <a:lnTo>
                    <a:pt x="70" y="119"/>
                  </a:lnTo>
                  <a:lnTo>
                    <a:pt x="70" y="109"/>
                  </a:lnTo>
                  <a:lnTo>
                    <a:pt x="70" y="109"/>
                  </a:lnTo>
                  <a:lnTo>
                    <a:pt x="99" y="90"/>
                  </a:lnTo>
                  <a:lnTo>
                    <a:pt x="99" y="90"/>
                  </a:lnTo>
                  <a:lnTo>
                    <a:pt x="99" y="90"/>
                  </a:lnTo>
                  <a:lnTo>
                    <a:pt x="80" y="109"/>
                  </a:lnTo>
                  <a:lnTo>
                    <a:pt x="80" y="99"/>
                  </a:lnTo>
                  <a:lnTo>
                    <a:pt x="70" y="90"/>
                  </a:lnTo>
                  <a:lnTo>
                    <a:pt x="70" y="70"/>
                  </a:lnTo>
                  <a:lnTo>
                    <a:pt x="60" y="40"/>
                  </a:lnTo>
                  <a:lnTo>
                    <a:pt x="60" y="20"/>
                  </a:lnTo>
                  <a:lnTo>
                    <a:pt x="60" y="20"/>
                  </a:lnTo>
                  <a:lnTo>
                    <a:pt x="70" y="10"/>
                  </a:lnTo>
                  <a:lnTo>
                    <a:pt x="70" y="0"/>
                  </a:lnTo>
                  <a:lnTo>
                    <a:pt x="80" y="10"/>
                  </a:lnTo>
                  <a:lnTo>
                    <a:pt x="99" y="50"/>
                  </a:lnTo>
                  <a:lnTo>
                    <a:pt x="109" y="50"/>
                  </a:lnTo>
                  <a:lnTo>
                    <a:pt x="109" y="50"/>
                  </a:lnTo>
                  <a:lnTo>
                    <a:pt x="109" y="40"/>
                  </a:lnTo>
                  <a:lnTo>
                    <a:pt x="119" y="40"/>
                  </a:lnTo>
                  <a:lnTo>
                    <a:pt x="139" y="40"/>
                  </a:lnTo>
                  <a:lnTo>
                    <a:pt x="139" y="40"/>
                  </a:lnTo>
                  <a:lnTo>
                    <a:pt x="149" y="40"/>
                  </a:lnTo>
                  <a:lnTo>
                    <a:pt x="139" y="40"/>
                  </a:lnTo>
                  <a:lnTo>
                    <a:pt x="159" y="50"/>
                  </a:lnTo>
                  <a:lnTo>
                    <a:pt x="159" y="50"/>
                  </a:lnTo>
                  <a:lnTo>
                    <a:pt x="169" y="40"/>
                  </a:lnTo>
                  <a:lnTo>
                    <a:pt x="179" y="30"/>
                  </a:lnTo>
                  <a:lnTo>
                    <a:pt x="199" y="30"/>
                  </a:lnTo>
                  <a:lnTo>
                    <a:pt x="199" y="30"/>
                  </a:lnTo>
                  <a:lnTo>
                    <a:pt x="199" y="30"/>
                  </a:lnTo>
                  <a:lnTo>
                    <a:pt x="199" y="30"/>
                  </a:lnTo>
                  <a:lnTo>
                    <a:pt x="209" y="40"/>
                  </a:lnTo>
                  <a:lnTo>
                    <a:pt x="189" y="70"/>
                  </a:lnTo>
                  <a:lnTo>
                    <a:pt x="179" y="90"/>
                  </a:lnTo>
                  <a:lnTo>
                    <a:pt x="189" y="99"/>
                  </a:lnTo>
                  <a:lnTo>
                    <a:pt x="248" y="119"/>
                  </a:lnTo>
                  <a:lnTo>
                    <a:pt x="258" y="129"/>
                  </a:lnTo>
                  <a:lnTo>
                    <a:pt x="268" y="139"/>
                  </a:lnTo>
                  <a:lnTo>
                    <a:pt x="258" y="149"/>
                  </a:lnTo>
                  <a:lnTo>
                    <a:pt x="238" y="159"/>
                  </a:lnTo>
                  <a:lnTo>
                    <a:pt x="199" y="179"/>
                  </a:lnTo>
                  <a:lnTo>
                    <a:pt x="179" y="209"/>
                  </a:lnTo>
                  <a:lnTo>
                    <a:pt x="179" y="219"/>
                  </a:lnTo>
                  <a:lnTo>
                    <a:pt x="159" y="239"/>
                  </a:lnTo>
                  <a:lnTo>
                    <a:pt x="179" y="258"/>
                  </a:lnTo>
                  <a:lnTo>
                    <a:pt x="179" y="268"/>
                  </a:lnTo>
                  <a:lnTo>
                    <a:pt x="179" y="268"/>
                  </a:lnTo>
                  <a:lnTo>
                    <a:pt x="179" y="278"/>
                  </a:lnTo>
                  <a:lnTo>
                    <a:pt x="189" y="278"/>
                  </a:lnTo>
                  <a:lnTo>
                    <a:pt x="189" y="288"/>
                  </a:lnTo>
                  <a:lnTo>
                    <a:pt x="179" y="298"/>
                  </a:lnTo>
                  <a:lnTo>
                    <a:pt x="179" y="298"/>
                  </a:lnTo>
                  <a:lnTo>
                    <a:pt x="169" y="298"/>
                  </a:lnTo>
                  <a:lnTo>
                    <a:pt x="159" y="308"/>
                  </a:lnTo>
                  <a:lnTo>
                    <a:pt x="159" y="308"/>
                  </a:lnTo>
                  <a:lnTo>
                    <a:pt x="159" y="298"/>
                  </a:lnTo>
                  <a:lnTo>
                    <a:pt x="149" y="298"/>
                  </a:lnTo>
                  <a:lnTo>
                    <a:pt x="139" y="298"/>
                  </a:lnTo>
                  <a:lnTo>
                    <a:pt x="119" y="298"/>
                  </a:lnTo>
                  <a:lnTo>
                    <a:pt x="99" y="298"/>
                  </a:lnTo>
                  <a:lnTo>
                    <a:pt x="90" y="298"/>
                  </a:lnTo>
                  <a:lnTo>
                    <a:pt x="99" y="308"/>
                  </a:lnTo>
                  <a:lnTo>
                    <a:pt x="109" y="328"/>
                  </a:lnTo>
                  <a:lnTo>
                    <a:pt x="109" y="328"/>
                  </a:lnTo>
                  <a:lnTo>
                    <a:pt x="109" y="328"/>
                  </a:lnTo>
                  <a:lnTo>
                    <a:pt x="109" y="348"/>
                  </a:lnTo>
                  <a:lnTo>
                    <a:pt x="109" y="348"/>
                  </a:lnTo>
                  <a:lnTo>
                    <a:pt x="99" y="348"/>
                  </a:lnTo>
                  <a:lnTo>
                    <a:pt x="90" y="348"/>
                  </a:lnTo>
                  <a:lnTo>
                    <a:pt x="80" y="348"/>
                  </a:lnTo>
                  <a:lnTo>
                    <a:pt x="60" y="328"/>
                  </a:lnTo>
                  <a:lnTo>
                    <a:pt x="40" y="308"/>
                  </a:lnTo>
                  <a:lnTo>
                    <a:pt x="30" y="308"/>
                  </a:lnTo>
                  <a:lnTo>
                    <a:pt x="30" y="298"/>
                  </a:lnTo>
                  <a:lnTo>
                    <a:pt x="10" y="298"/>
                  </a:lnTo>
                  <a:lnTo>
                    <a:pt x="10" y="298"/>
                  </a:lnTo>
                  <a:lnTo>
                    <a:pt x="10" y="288"/>
                  </a:lnTo>
                  <a:lnTo>
                    <a:pt x="10" y="288"/>
                  </a:lnTo>
                  <a:lnTo>
                    <a:pt x="10" y="288"/>
                  </a:lnTo>
                  <a:lnTo>
                    <a:pt x="10" y="288"/>
                  </a:lnTo>
                  <a:lnTo>
                    <a:pt x="10" y="278"/>
                  </a:lnTo>
                  <a:lnTo>
                    <a:pt x="0" y="268"/>
                  </a:lnTo>
                  <a:lnTo>
                    <a:pt x="0" y="268"/>
                  </a:lnTo>
                  <a:lnTo>
                    <a:pt x="10" y="258"/>
                  </a:lnTo>
                  <a:lnTo>
                    <a:pt x="20" y="24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3" name="Freeform 617">
              <a:extLst>
                <a:ext uri="{FF2B5EF4-FFF2-40B4-BE49-F238E27FC236}">
                  <a16:creationId xmlns:a16="http://schemas.microsoft.com/office/drawing/2014/main" id="{F15C7E9A-C677-7625-39F1-7148BCBED10C}"/>
                </a:ext>
              </a:extLst>
            </p:cNvPr>
            <p:cNvSpPr>
              <a:spLocks/>
            </p:cNvSpPr>
            <p:nvPr/>
          </p:nvSpPr>
          <p:spPr bwMode="auto">
            <a:xfrm>
              <a:off x="12155520" y="3912812"/>
              <a:ext cx="413876" cy="326795"/>
            </a:xfrm>
            <a:custGeom>
              <a:avLst/>
              <a:gdLst/>
              <a:ahLst/>
              <a:cxnLst>
                <a:cxn ang="0">
                  <a:pos x="10" y="179"/>
                </a:cxn>
                <a:cxn ang="0">
                  <a:pos x="0" y="160"/>
                </a:cxn>
                <a:cxn ang="0">
                  <a:pos x="10" y="140"/>
                </a:cxn>
                <a:cxn ang="0">
                  <a:pos x="19" y="140"/>
                </a:cxn>
                <a:cxn ang="0">
                  <a:pos x="29" y="120"/>
                </a:cxn>
                <a:cxn ang="0">
                  <a:pos x="29" y="110"/>
                </a:cxn>
                <a:cxn ang="0">
                  <a:pos x="29" y="100"/>
                </a:cxn>
                <a:cxn ang="0">
                  <a:pos x="39" y="110"/>
                </a:cxn>
                <a:cxn ang="0">
                  <a:pos x="49" y="110"/>
                </a:cxn>
                <a:cxn ang="0">
                  <a:pos x="69" y="110"/>
                </a:cxn>
                <a:cxn ang="0">
                  <a:pos x="79" y="110"/>
                </a:cxn>
                <a:cxn ang="0">
                  <a:pos x="79" y="100"/>
                </a:cxn>
                <a:cxn ang="0">
                  <a:pos x="99" y="90"/>
                </a:cxn>
                <a:cxn ang="0">
                  <a:pos x="99" y="70"/>
                </a:cxn>
                <a:cxn ang="0">
                  <a:pos x="89" y="50"/>
                </a:cxn>
                <a:cxn ang="0">
                  <a:pos x="69" y="40"/>
                </a:cxn>
                <a:cxn ang="0">
                  <a:pos x="79" y="20"/>
                </a:cxn>
                <a:cxn ang="0">
                  <a:pos x="99" y="0"/>
                </a:cxn>
                <a:cxn ang="0">
                  <a:pos x="129" y="20"/>
                </a:cxn>
                <a:cxn ang="0">
                  <a:pos x="129" y="30"/>
                </a:cxn>
                <a:cxn ang="0">
                  <a:pos x="159" y="30"/>
                </a:cxn>
                <a:cxn ang="0">
                  <a:pos x="178" y="20"/>
                </a:cxn>
                <a:cxn ang="0">
                  <a:pos x="198" y="10"/>
                </a:cxn>
                <a:cxn ang="0">
                  <a:pos x="218" y="10"/>
                </a:cxn>
                <a:cxn ang="0">
                  <a:pos x="228" y="20"/>
                </a:cxn>
                <a:cxn ang="0">
                  <a:pos x="248" y="20"/>
                </a:cxn>
                <a:cxn ang="0">
                  <a:pos x="268" y="30"/>
                </a:cxn>
                <a:cxn ang="0">
                  <a:pos x="308" y="20"/>
                </a:cxn>
                <a:cxn ang="0">
                  <a:pos x="308" y="60"/>
                </a:cxn>
                <a:cxn ang="0">
                  <a:pos x="308" y="90"/>
                </a:cxn>
                <a:cxn ang="0">
                  <a:pos x="297" y="130"/>
                </a:cxn>
                <a:cxn ang="0">
                  <a:pos x="258" y="179"/>
                </a:cxn>
                <a:cxn ang="0">
                  <a:pos x="238" y="199"/>
                </a:cxn>
                <a:cxn ang="0">
                  <a:pos x="198" y="239"/>
                </a:cxn>
                <a:cxn ang="0">
                  <a:pos x="168" y="249"/>
                </a:cxn>
                <a:cxn ang="0">
                  <a:pos x="159" y="249"/>
                </a:cxn>
                <a:cxn ang="0">
                  <a:pos x="139" y="239"/>
                </a:cxn>
                <a:cxn ang="0">
                  <a:pos x="109" y="239"/>
                </a:cxn>
                <a:cxn ang="0">
                  <a:pos x="99" y="249"/>
                </a:cxn>
                <a:cxn ang="0">
                  <a:pos x="89" y="239"/>
                </a:cxn>
                <a:cxn ang="0">
                  <a:pos x="89" y="219"/>
                </a:cxn>
                <a:cxn ang="0">
                  <a:pos x="59" y="209"/>
                </a:cxn>
                <a:cxn ang="0">
                  <a:pos x="39" y="179"/>
                </a:cxn>
              </a:cxnLst>
              <a:rect l="0" t="0" r="r" b="b"/>
              <a:pathLst>
                <a:path w="308" h="249">
                  <a:moveTo>
                    <a:pt x="29" y="179"/>
                  </a:moveTo>
                  <a:lnTo>
                    <a:pt x="19" y="179"/>
                  </a:lnTo>
                  <a:lnTo>
                    <a:pt x="10" y="179"/>
                  </a:lnTo>
                  <a:lnTo>
                    <a:pt x="0" y="169"/>
                  </a:lnTo>
                  <a:lnTo>
                    <a:pt x="0" y="169"/>
                  </a:lnTo>
                  <a:lnTo>
                    <a:pt x="0" y="160"/>
                  </a:lnTo>
                  <a:lnTo>
                    <a:pt x="0" y="149"/>
                  </a:lnTo>
                  <a:lnTo>
                    <a:pt x="10" y="140"/>
                  </a:lnTo>
                  <a:lnTo>
                    <a:pt x="10" y="140"/>
                  </a:lnTo>
                  <a:lnTo>
                    <a:pt x="10" y="140"/>
                  </a:lnTo>
                  <a:lnTo>
                    <a:pt x="19" y="149"/>
                  </a:lnTo>
                  <a:lnTo>
                    <a:pt x="19" y="140"/>
                  </a:lnTo>
                  <a:lnTo>
                    <a:pt x="19" y="130"/>
                  </a:lnTo>
                  <a:lnTo>
                    <a:pt x="29" y="120"/>
                  </a:lnTo>
                  <a:lnTo>
                    <a:pt x="29" y="120"/>
                  </a:lnTo>
                  <a:lnTo>
                    <a:pt x="39" y="120"/>
                  </a:lnTo>
                  <a:lnTo>
                    <a:pt x="39" y="110"/>
                  </a:lnTo>
                  <a:lnTo>
                    <a:pt x="29" y="110"/>
                  </a:lnTo>
                  <a:lnTo>
                    <a:pt x="29" y="110"/>
                  </a:lnTo>
                  <a:lnTo>
                    <a:pt x="29" y="110"/>
                  </a:lnTo>
                  <a:lnTo>
                    <a:pt x="29" y="100"/>
                  </a:lnTo>
                  <a:lnTo>
                    <a:pt x="39" y="110"/>
                  </a:lnTo>
                  <a:lnTo>
                    <a:pt x="39" y="110"/>
                  </a:lnTo>
                  <a:lnTo>
                    <a:pt x="39" y="110"/>
                  </a:lnTo>
                  <a:lnTo>
                    <a:pt x="49" y="110"/>
                  </a:lnTo>
                  <a:lnTo>
                    <a:pt x="49" y="110"/>
                  </a:lnTo>
                  <a:lnTo>
                    <a:pt x="49" y="110"/>
                  </a:lnTo>
                  <a:lnTo>
                    <a:pt x="49" y="120"/>
                  </a:lnTo>
                  <a:lnTo>
                    <a:pt x="59" y="110"/>
                  </a:lnTo>
                  <a:lnTo>
                    <a:pt x="69" y="110"/>
                  </a:lnTo>
                  <a:lnTo>
                    <a:pt x="69" y="110"/>
                  </a:lnTo>
                  <a:lnTo>
                    <a:pt x="79" y="110"/>
                  </a:lnTo>
                  <a:lnTo>
                    <a:pt x="79" y="110"/>
                  </a:lnTo>
                  <a:lnTo>
                    <a:pt x="89" y="110"/>
                  </a:lnTo>
                  <a:lnTo>
                    <a:pt x="89" y="110"/>
                  </a:lnTo>
                  <a:lnTo>
                    <a:pt x="79" y="100"/>
                  </a:lnTo>
                  <a:lnTo>
                    <a:pt x="79" y="100"/>
                  </a:lnTo>
                  <a:lnTo>
                    <a:pt x="89" y="90"/>
                  </a:lnTo>
                  <a:lnTo>
                    <a:pt x="99" y="90"/>
                  </a:lnTo>
                  <a:lnTo>
                    <a:pt x="109" y="80"/>
                  </a:lnTo>
                  <a:lnTo>
                    <a:pt x="99" y="70"/>
                  </a:lnTo>
                  <a:lnTo>
                    <a:pt x="99" y="70"/>
                  </a:lnTo>
                  <a:lnTo>
                    <a:pt x="99" y="70"/>
                  </a:lnTo>
                  <a:lnTo>
                    <a:pt x="89" y="70"/>
                  </a:lnTo>
                  <a:lnTo>
                    <a:pt x="89" y="50"/>
                  </a:lnTo>
                  <a:lnTo>
                    <a:pt x="79" y="50"/>
                  </a:lnTo>
                  <a:lnTo>
                    <a:pt x="69" y="40"/>
                  </a:lnTo>
                  <a:lnTo>
                    <a:pt x="69" y="40"/>
                  </a:lnTo>
                  <a:lnTo>
                    <a:pt x="69" y="30"/>
                  </a:lnTo>
                  <a:lnTo>
                    <a:pt x="79" y="20"/>
                  </a:lnTo>
                  <a:lnTo>
                    <a:pt x="79" y="20"/>
                  </a:lnTo>
                  <a:lnTo>
                    <a:pt x="89" y="10"/>
                  </a:lnTo>
                  <a:lnTo>
                    <a:pt x="99" y="0"/>
                  </a:lnTo>
                  <a:lnTo>
                    <a:pt x="99" y="0"/>
                  </a:lnTo>
                  <a:lnTo>
                    <a:pt x="109" y="0"/>
                  </a:lnTo>
                  <a:lnTo>
                    <a:pt x="109" y="10"/>
                  </a:lnTo>
                  <a:lnTo>
                    <a:pt x="129" y="20"/>
                  </a:lnTo>
                  <a:lnTo>
                    <a:pt x="119" y="20"/>
                  </a:lnTo>
                  <a:lnTo>
                    <a:pt x="119" y="20"/>
                  </a:lnTo>
                  <a:lnTo>
                    <a:pt x="129" y="30"/>
                  </a:lnTo>
                  <a:lnTo>
                    <a:pt x="139" y="30"/>
                  </a:lnTo>
                  <a:lnTo>
                    <a:pt x="149" y="30"/>
                  </a:lnTo>
                  <a:lnTo>
                    <a:pt x="159" y="30"/>
                  </a:lnTo>
                  <a:lnTo>
                    <a:pt x="168" y="40"/>
                  </a:lnTo>
                  <a:lnTo>
                    <a:pt x="178" y="30"/>
                  </a:lnTo>
                  <a:lnTo>
                    <a:pt x="178" y="20"/>
                  </a:lnTo>
                  <a:lnTo>
                    <a:pt x="188" y="20"/>
                  </a:lnTo>
                  <a:lnTo>
                    <a:pt x="188" y="20"/>
                  </a:lnTo>
                  <a:lnTo>
                    <a:pt x="198" y="10"/>
                  </a:lnTo>
                  <a:lnTo>
                    <a:pt x="198" y="10"/>
                  </a:lnTo>
                  <a:lnTo>
                    <a:pt x="208" y="0"/>
                  </a:lnTo>
                  <a:lnTo>
                    <a:pt x="218" y="10"/>
                  </a:lnTo>
                  <a:lnTo>
                    <a:pt x="228" y="10"/>
                  </a:lnTo>
                  <a:lnTo>
                    <a:pt x="228" y="20"/>
                  </a:lnTo>
                  <a:lnTo>
                    <a:pt x="228" y="20"/>
                  </a:lnTo>
                  <a:lnTo>
                    <a:pt x="238" y="20"/>
                  </a:lnTo>
                  <a:lnTo>
                    <a:pt x="238" y="20"/>
                  </a:lnTo>
                  <a:lnTo>
                    <a:pt x="248" y="20"/>
                  </a:lnTo>
                  <a:lnTo>
                    <a:pt x="248" y="30"/>
                  </a:lnTo>
                  <a:lnTo>
                    <a:pt x="258" y="40"/>
                  </a:lnTo>
                  <a:lnTo>
                    <a:pt x="268" y="30"/>
                  </a:lnTo>
                  <a:lnTo>
                    <a:pt x="278" y="20"/>
                  </a:lnTo>
                  <a:lnTo>
                    <a:pt x="278" y="20"/>
                  </a:lnTo>
                  <a:lnTo>
                    <a:pt x="308" y="20"/>
                  </a:lnTo>
                  <a:lnTo>
                    <a:pt x="308" y="30"/>
                  </a:lnTo>
                  <a:lnTo>
                    <a:pt x="308" y="50"/>
                  </a:lnTo>
                  <a:lnTo>
                    <a:pt x="308" y="60"/>
                  </a:lnTo>
                  <a:lnTo>
                    <a:pt x="308" y="60"/>
                  </a:lnTo>
                  <a:lnTo>
                    <a:pt x="308" y="70"/>
                  </a:lnTo>
                  <a:lnTo>
                    <a:pt x="308" y="90"/>
                  </a:lnTo>
                  <a:lnTo>
                    <a:pt x="297" y="110"/>
                  </a:lnTo>
                  <a:lnTo>
                    <a:pt x="297" y="130"/>
                  </a:lnTo>
                  <a:lnTo>
                    <a:pt x="297" y="130"/>
                  </a:lnTo>
                  <a:lnTo>
                    <a:pt x="297" y="140"/>
                  </a:lnTo>
                  <a:lnTo>
                    <a:pt x="268" y="169"/>
                  </a:lnTo>
                  <a:lnTo>
                    <a:pt x="258" y="179"/>
                  </a:lnTo>
                  <a:lnTo>
                    <a:pt x="258" y="189"/>
                  </a:lnTo>
                  <a:lnTo>
                    <a:pt x="248" y="199"/>
                  </a:lnTo>
                  <a:lnTo>
                    <a:pt x="238" y="199"/>
                  </a:lnTo>
                  <a:lnTo>
                    <a:pt x="228" y="229"/>
                  </a:lnTo>
                  <a:lnTo>
                    <a:pt x="228" y="219"/>
                  </a:lnTo>
                  <a:lnTo>
                    <a:pt x="198" y="239"/>
                  </a:lnTo>
                  <a:lnTo>
                    <a:pt x="198" y="229"/>
                  </a:lnTo>
                  <a:lnTo>
                    <a:pt x="178" y="239"/>
                  </a:lnTo>
                  <a:lnTo>
                    <a:pt x="168" y="249"/>
                  </a:lnTo>
                  <a:lnTo>
                    <a:pt x="168" y="249"/>
                  </a:lnTo>
                  <a:lnTo>
                    <a:pt x="168" y="249"/>
                  </a:lnTo>
                  <a:lnTo>
                    <a:pt x="159" y="249"/>
                  </a:lnTo>
                  <a:lnTo>
                    <a:pt x="149" y="249"/>
                  </a:lnTo>
                  <a:lnTo>
                    <a:pt x="149" y="249"/>
                  </a:lnTo>
                  <a:lnTo>
                    <a:pt x="139" y="239"/>
                  </a:lnTo>
                  <a:lnTo>
                    <a:pt x="129" y="239"/>
                  </a:lnTo>
                  <a:lnTo>
                    <a:pt x="129" y="229"/>
                  </a:lnTo>
                  <a:lnTo>
                    <a:pt x="109" y="239"/>
                  </a:lnTo>
                  <a:lnTo>
                    <a:pt x="109" y="239"/>
                  </a:lnTo>
                  <a:lnTo>
                    <a:pt x="99" y="249"/>
                  </a:lnTo>
                  <a:lnTo>
                    <a:pt x="99" y="249"/>
                  </a:lnTo>
                  <a:lnTo>
                    <a:pt x="99" y="239"/>
                  </a:lnTo>
                  <a:lnTo>
                    <a:pt x="89" y="239"/>
                  </a:lnTo>
                  <a:lnTo>
                    <a:pt x="89" y="239"/>
                  </a:lnTo>
                  <a:lnTo>
                    <a:pt x="79" y="229"/>
                  </a:lnTo>
                  <a:lnTo>
                    <a:pt x="89" y="229"/>
                  </a:lnTo>
                  <a:lnTo>
                    <a:pt x="89" y="219"/>
                  </a:lnTo>
                  <a:lnTo>
                    <a:pt x="79" y="209"/>
                  </a:lnTo>
                  <a:lnTo>
                    <a:pt x="69" y="209"/>
                  </a:lnTo>
                  <a:lnTo>
                    <a:pt x="59" y="209"/>
                  </a:lnTo>
                  <a:lnTo>
                    <a:pt x="49" y="199"/>
                  </a:lnTo>
                  <a:lnTo>
                    <a:pt x="49" y="179"/>
                  </a:lnTo>
                  <a:lnTo>
                    <a:pt x="39" y="179"/>
                  </a:lnTo>
                  <a:lnTo>
                    <a:pt x="29" y="17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4" name="Freeform 844">
              <a:extLst>
                <a:ext uri="{FF2B5EF4-FFF2-40B4-BE49-F238E27FC236}">
                  <a16:creationId xmlns:a16="http://schemas.microsoft.com/office/drawing/2014/main" id="{352650C2-86FD-6F40-7797-A9F362F8CC6D}"/>
                </a:ext>
              </a:extLst>
            </p:cNvPr>
            <p:cNvSpPr>
              <a:spLocks/>
            </p:cNvSpPr>
            <p:nvPr/>
          </p:nvSpPr>
          <p:spPr bwMode="auto">
            <a:xfrm>
              <a:off x="11982176" y="4578215"/>
              <a:ext cx="412533" cy="326795"/>
            </a:xfrm>
            <a:custGeom>
              <a:avLst/>
              <a:gdLst/>
              <a:ahLst/>
              <a:cxnLst>
                <a:cxn ang="0">
                  <a:pos x="49" y="159"/>
                </a:cxn>
                <a:cxn ang="0">
                  <a:pos x="69" y="159"/>
                </a:cxn>
                <a:cxn ang="0">
                  <a:pos x="69" y="169"/>
                </a:cxn>
                <a:cxn ang="0">
                  <a:pos x="89" y="159"/>
                </a:cxn>
                <a:cxn ang="0">
                  <a:pos x="99" y="149"/>
                </a:cxn>
                <a:cxn ang="0">
                  <a:pos x="89" y="139"/>
                </a:cxn>
                <a:cxn ang="0">
                  <a:pos x="89" y="129"/>
                </a:cxn>
                <a:cxn ang="0">
                  <a:pos x="69" y="100"/>
                </a:cxn>
                <a:cxn ang="0">
                  <a:pos x="89" y="70"/>
                </a:cxn>
                <a:cxn ang="0">
                  <a:pos x="148" y="20"/>
                </a:cxn>
                <a:cxn ang="0">
                  <a:pos x="178" y="0"/>
                </a:cxn>
                <a:cxn ang="0">
                  <a:pos x="198" y="10"/>
                </a:cxn>
                <a:cxn ang="0">
                  <a:pos x="198" y="30"/>
                </a:cxn>
                <a:cxn ang="0">
                  <a:pos x="218" y="70"/>
                </a:cxn>
                <a:cxn ang="0">
                  <a:pos x="278" y="50"/>
                </a:cxn>
                <a:cxn ang="0">
                  <a:pos x="297" y="80"/>
                </a:cxn>
                <a:cxn ang="0">
                  <a:pos x="297" y="100"/>
                </a:cxn>
                <a:cxn ang="0">
                  <a:pos x="307" y="129"/>
                </a:cxn>
                <a:cxn ang="0">
                  <a:pos x="297" y="129"/>
                </a:cxn>
                <a:cxn ang="0">
                  <a:pos x="288" y="149"/>
                </a:cxn>
                <a:cxn ang="0">
                  <a:pos x="288" y="169"/>
                </a:cxn>
                <a:cxn ang="0">
                  <a:pos x="288" y="189"/>
                </a:cxn>
                <a:cxn ang="0">
                  <a:pos x="278" y="189"/>
                </a:cxn>
                <a:cxn ang="0">
                  <a:pos x="248" y="209"/>
                </a:cxn>
                <a:cxn ang="0">
                  <a:pos x="228" y="199"/>
                </a:cxn>
                <a:cxn ang="0">
                  <a:pos x="208" y="209"/>
                </a:cxn>
                <a:cxn ang="0">
                  <a:pos x="198" y="229"/>
                </a:cxn>
                <a:cxn ang="0">
                  <a:pos x="188" y="239"/>
                </a:cxn>
                <a:cxn ang="0">
                  <a:pos x="158" y="249"/>
                </a:cxn>
                <a:cxn ang="0">
                  <a:pos x="139" y="239"/>
                </a:cxn>
                <a:cxn ang="0">
                  <a:pos x="89" y="209"/>
                </a:cxn>
                <a:cxn ang="0">
                  <a:pos x="39" y="199"/>
                </a:cxn>
                <a:cxn ang="0">
                  <a:pos x="29" y="199"/>
                </a:cxn>
                <a:cxn ang="0">
                  <a:pos x="39" y="199"/>
                </a:cxn>
                <a:cxn ang="0">
                  <a:pos x="19" y="209"/>
                </a:cxn>
                <a:cxn ang="0">
                  <a:pos x="19" y="189"/>
                </a:cxn>
                <a:cxn ang="0">
                  <a:pos x="9" y="169"/>
                </a:cxn>
                <a:cxn ang="0">
                  <a:pos x="9" y="159"/>
                </a:cxn>
              </a:cxnLst>
              <a:rect l="0" t="0" r="r" b="b"/>
              <a:pathLst>
                <a:path w="307" h="249">
                  <a:moveTo>
                    <a:pt x="29" y="159"/>
                  </a:moveTo>
                  <a:lnTo>
                    <a:pt x="49" y="159"/>
                  </a:lnTo>
                  <a:lnTo>
                    <a:pt x="59" y="159"/>
                  </a:lnTo>
                  <a:lnTo>
                    <a:pt x="69" y="159"/>
                  </a:lnTo>
                  <a:lnTo>
                    <a:pt x="69" y="169"/>
                  </a:lnTo>
                  <a:lnTo>
                    <a:pt x="69" y="169"/>
                  </a:lnTo>
                  <a:lnTo>
                    <a:pt x="79" y="159"/>
                  </a:lnTo>
                  <a:lnTo>
                    <a:pt x="89" y="159"/>
                  </a:lnTo>
                  <a:lnTo>
                    <a:pt x="89" y="159"/>
                  </a:lnTo>
                  <a:lnTo>
                    <a:pt x="99" y="149"/>
                  </a:lnTo>
                  <a:lnTo>
                    <a:pt x="99" y="139"/>
                  </a:lnTo>
                  <a:lnTo>
                    <a:pt x="89" y="139"/>
                  </a:lnTo>
                  <a:lnTo>
                    <a:pt x="89" y="129"/>
                  </a:lnTo>
                  <a:lnTo>
                    <a:pt x="89" y="129"/>
                  </a:lnTo>
                  <a:lnTo>
                    <a:pt x="89" y="119"/>
                  </a:lnTo>
                  <a:lnTo>
                    <a:pt x="69" y="100"/>
                  </a:lnTo>
                  <a:lnTo>
                    <a:pt x="89" y="80"/>
                  </a:lnTo>
                  <a:lnTo>
                    <a:pt x="89" y="70"/>
                  </a:lnTo>
                  <a:lnTo>
                    <a:pt x="109" y="40"/>
                  </a:lnTo>
                  <a:lnTo>
                    <a:pt x="148" y="20"/>
                  </a:lnTo>
                  <a:lnTo>
                    <a:pt x="168" y="10"/>
                  </a:lnTo>
                  <a:lnTo>
                    <a:pt x="178" y="0"/>
                  </a:lnTo>
                  <a:lnTo>
                    <a:pt x="188" y="0"/>
                  </a:lnTo>
                  <a:lnTo>
                    <a:pt x="198" y="10"/>
                  </a:lnTo>
                  <a:lnTo>
                    <a:pt x="198" y="20"/>
                  </a:lnTo>
                  <a:lnTo>
                    <a:pt x="198" y="30"/>
                  </a:lnTo>
                  <a:lnTo>
                    <a:pt x="208" y="40"/>
                  </a:lnTo>
                  <a:lnTo>
                    <a:pt x="218" y="70"/>
                  </a:lnTo>
                  <a:lnTo>
                    <a:pt x="258" y="60"/>
                  </a:lnTo>
                  <a:lnTo>
                    <a:pt x="278" y="50"/>
                  </a:lnTo>
                  <a:lnTo>
                    <a:pt x="288" y="70"/>
                  </a:lnTo>
                  <a:lnTo>
                    <a:pt x="297" y="80"/>
                  </a:lnTo>
                  <a:lnTo>
                    <a:pt x="288" y="90"/>
                  </a:lnTo>
                  <a:lnTo>
                    <a:pt x="297" y="100"/>
                  </a:lnTo>
                  <a:lnTo>
                    <a:pt x="297" y="109"/>
                  </a:lnTo>
                  <a:lnTo>
                    <a:pt x="307" y="129"/>
                  </a:lnTo>
                  <a:lnTo>
                    <a:pt x="297" y="129"/>
                  </a:lnTo>
                  <a:lnTo>
                    <a:pt x="297" y="129"/>
                  </a:lnTo>
                  <a:lnTo>
                    <a:pt x="297" y="139"/>
                  </a:lnTo>
                  <a:lnTo>
                    <a:pt x="288" y="149"/>
                  </a:lnTo>
                  <a:lnTo>
                    <a:pt x="288" y="159"/>
                  </a:lnTo>
                  <a:lnTo>
                    <a:pt x="288" y="169"/>
                  </a:lnTo>
                  <a:lnTo>
                    <a:pt x="288" y="179"/>
                  </a:lnTo>
                  <a:lnTo>
                    <a:pt x="288" y="189"/>
                  </a:lnTo>
                  <a:lnTo>
                    <a:pt x="278" y="189"/>
                  </a:lnTo>
                  <a:lnTo>
                    <a:pt x="278" y="189"/>
                  </a:lnTo>
                  <a:lnTo>
                    <a:pt x="258" y="199"/>
                  </a:lnTo>
                  <a:lnTo>
                    <a:pt x="248" y="209"/>
                  </a:lnTo>
                  <a:lnTo>
                    <a:pt x="248" y="209"/>
                  </a:lnTo>
                  <a:lnTo>
                    <a:pt x="228" y="199"/>
                  </a:lnTo>
                  <a:lnTo>
                    <a:pt x="208" y="209"/>
                  </a:lnTo>
                  <a:lnTo>
                    <a:pt x="208" y="209"/>
                  </a:lnTo>
                  <a:lnTo>
                    <a:pt x="208" y="219"/>
                  </a:lnTo>
                  <a:lnTo>
                    <a:pt x="198" y="229"/>
                  </a:lnTo>
                  <a:lnTo>
                    <a:pt x="198" y="239"/>
                  </a:lnTo>
                  <a:lnTo>
                    <a:pt x="188" y="239"/>
                  </a:lnTo>
                  <a:lnTo>
                    <a:pt x="178" y="249"/>
                  </a:lnTo>
                  <a:lnTo>
                    <a:pt x="158" y="249"/>
                  </a:lnTo>
                  <a:lnTo>
                    <a:pt x="158" y="239"/>
                  </a:lnTo>
                  <a:lnTo>
                    <a:pt x="139" y="239"/>
                  </a:lnTo>
                  <a:lnTo>
                    <a:pt x="99" y="219"/>
                  </a:lnTo>
                  <a:lnTo>
                    <a:pt x="89" y="209"/>
                  </a:lnTo>
                  <a:lnTo>
                    <a:pt x="69" y="209"/>
                  </a:lnTo>
                  <a:lnTo>
                    <a:pt x="39" y="199"/>
                  </a:lnTo>
                  <a:lnTo>
                    <a:pt x="39" y="199"/>
                  </a:lnTo>
                  <a:lnTo>
                    <a:pt x="29" y="199"/>
                  </a:lnTo>
                  <a:lnTo>
                    <a:pt x="29" y="199"/>
                  </a:lnTo>
                  <a:lnTo>
                    <a:pt x="39" y="199"/>
                  </a:lnTo>
                  <a:lnTo>
                    <a:pt x="39" y="209"/>
                  </a:lnTo>
                  <a:lnTo>
                    <a:pt x="19" y="209"/>
                  </a:lnTo>
                  <a:lnTo>
                    <a:pt x="19" y="189"/>
                  </a:lnTo>
                  <a:lnTo>
                    <a:pt x="19" y="189"/>
                  </a:lnTo>
                  <a:lnTo>
                    <a:pt x="19" y="189"/>
                  </a:lnTo>
                  <a:lnTo>
                    <a:pt x="9" y="169"/>
                  </a:lnTo>
                  <a:lnTo>
                    <a:pt x="0" y="159"/>
                  </a:lnTo>
                  <a:lnTo>
                    <a:pt x="9" y="159"/>
                  </a:lnTo>
                  <a:lnTo>
                    <a:pt x="29" y="15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5" name="Freeform 853">
              <a:extLst>
                <a:ext uri="{FF2B5EF4-FFF2-40B4-BE49-F238E27FC236}">
                  <a16:creationId xmlns:a16="http://schemas.microsoft.com/office/drawing/2014/main" id="{E9A052E8-509D-C339-04D6-80B7754153FD}"/>
                </a:ext>
              </a:extLst>
            </p:cNvPr>
            <p:cNvSpPr>
              <a:spLocks/>
            </p:cNvSpPr>
            <p:nvPr/>
          </p:nvSpPr>
          <p:spPr bwMode="auto">
            <a:xfrm>
              <a:off x="12101770" y="4200235"/>
              <a:ext cx="440752" cy="469850"/>
            </a:xfrm>
            <a:custGeom>
              <a:avLst/>
              <a:gdLst/>
              <a:ahLst/>
              <a:cxnLst>
                <a:cxn ang="0">
                  <a:pos x="10" y="248"/>
                </a:cxn>
                <a:cxn ang="0">
                  <a:pos x="30" y="189"/>
                </a:cxn>
                <a:cxn ang="0">
                  <a:pos x="20" y="179"/>
                </a:cxn>
                <a:cxn ang="0">
                  <a:pos x="10" y="149"/>
                </a:cxn>
                <a:cxn ang="0">
                  <a:pos x="10" y="139"/>
                </a:cxn>
                <a:cxn ang="0">
                  <a:pos x="20" y="129"/>
                </a:cxn>
                <a:cxn ang="0">
                  <a:pos x="40" y="129"/>
                </a:cxn>
                <a:cxn ang="0">
                  <a:pos x="50" y="90"/>
                </a:cxn>
                <a:cxn ang="0">
                  <a:pos x="59" y="70"/>
                </a:cxn>
                <a:cxn ang="0">
                  <a:pos x="69" y="70"/>
                </a:cxn>
                <a:cxn ang="0">
                  <a:pos x="79" y="50"/>
                </a:cxn>
                <a:cxn ang="0">
                  <a:pos x="89" y="40"/>
                </a:cxn>
                <a:cxn ang="0">
                  <a:pos x="129" y="30"/>
                </a:cxn>
                <a:cxn ang="0">
                  <a:pos x="139" y="30"/>
                </a:cxn>
                <a:cxn ang="0">
                  <a:pos x="169" y="10"/>
                </a:cxn>
                <a:cxn ang="0">
                  <a:pos x="189" y="30"/>
                </a:cxn>
                <a:cxn ang="0">
                  <a:pos x="208" y="30"/>
                </a:cxn>
                <a:cxn ang="0">
                  <a:pos x="218" y="20"/>
                </a:cxn>
                <a:cxn ang="0">
                  <a:pos x="268" y="0"/>
                </a:cxn>
                <a:cxn ang="0">
                  <a:pos x="268" y="20"/>
                </a:cxn>
                <a:cxn ang="0">
                  <a:pos x="268" y="30"/>
                </a:cxn>
                <a:cxn ang="0">
                  <a:pos x="288" y="40"/>
                </a:cxn>
                <a:cxn ang="0">
                  <a:pos x="308" y="60"/>
                </a:cxn>
                <a:cxn ang="0">
                  <a:pos x="278" y="90"/>
                </a:cxn>
                <a:cxn ang="0">
                  <a:pos x="258" y="70"/>
                </a:cxn>
                <a:cxn ang="0">
                  <a:pos x="238" y="60"/>
                </a:cxn>
                <a:cxn ang="0">
                  <a:pos x="208" y="60"/>
                </a:cxn>
                <a:cxn ang="0">
                  <a:pos x="189" y="50"/>
                </a:cxn>
                <a:cxn ang="0">
                  <a:pos x="179" y="60"/>
                </a:cxn>
                <a:cxn ang="0">
                  <a:pos x="169" y="70"/>
                </a:cxn>
                <a:cxn ang="0">
                  <a:pos x="159" y="99"/>
                </a:cxn>
                <a:cxn ang="0">
                  <a:pos x="179" y="119"/>
                </a:cxn>
                <a:cxn ang="0">
                  <a:pos x="189" y="129"/>
                </a:cxn>
                <a:cxn ang="0">
                  <a:pos x="208" y="159"/>
                </a:cxn>
                <a:cxn ang="0">
                  <a:pos x="238" y="159"/>
                </a:cxn>
                <a:cxn ang="0">
                  <a:pos x="258" y="139"/>
                </a:cxn>
                <a:cxn ang="0">
                  <a:pos x="278" y="139"/>
                </a:cxn>
                <a:cxn ang="0">
                  <a:pos x="308" y="139"/>
                </a:cxn>
                <a:cxn ang="0">
                  <a:pos x="328" y="159"/>
                </a:cxn>
                <a:cxn ang="0">
                  <a:pos x="318" y="169"/>
                </a:cxn>
                <a:cxn ang="0">
                  <a:pos x="288" y="189"/>
                </a:cxn>
                <a:cxn ang="0">
                  <a:pos x="278" y="209"/>
                </a:cxn>
                <a:cxn ang="0">
                  <a:pos x="258" y="199"/>
                </a:cxn>
                <a:cxn ang="0">
                  <a:pos x="248" y="209"/>
                </a:cxn>
                <a:cxn ang="0">
                  <a:pos x="258" y="288"/>
                </a:cxn>
                <a:cxn ang="0">
                  <a:pos x="238" y="318"/>
                </a:cxn>
                <a:cxn ang="0">
                  <a:pos x="199" y="308"/>
                </a:cxn>
                <a:cxn ang="0">
                  <a:pos x="129" y="358"/>
                </a:cxn>
                <a:cxn ang="0">
                  <a:pos x="109" y="308"/>
                </a:cxn>
                <a:cxn ang="0">
                  <a:pos x="89" y="288"/>
                </a:cxn>
              </a:cxnLst>
              <a:rect l="0" t="0" r="r" b="b"/>
              <a:pathLst>
                <a:path w="328" h="358">
                  <a:moveTo>
                    <a:pt x="79" y="278"/>
                  </a:moveTo>
                  <a:lnTo>
                    <a:pt x="69" y="268"/>
                  </a:lnTo>
                  <a:lnTo>
                    <a:pt x="10" y="248"/>
                  </a:lnTo>
                  <a:lnTo>
                    <a:pt x="0" y="239"/>
                  </a:lnTo>
                  <a:lnTo>
                    <a:pt x="10" y="219"/>
                  </a:lnTo>
                  <a:lnTo>
                    <a:pt x="30" y="189"/>
                  </a:lnTo>
                  <a:lnTo>
                    <a:pt x="20" y="179"/>
                  </a:lnTo>
                  <a:lnTo>
                    <a:pt x="20" y="179"/>
                  </a:lnTo>
                  <a:lnTo>
                    <a:pt x="20" y="179"/>
                  </a:lnTo>
                  <a:lnTo>
                    <a:pt x="10" y="169"/>
                  </a:lnTo>
                  <a:lnTo>
                    <a:pt x="20" y="159"/>
                  </a:lnTo>
                  <a:lnTo>
                    <a:pt x="10" y="149"/>
                  </a:lnTo>
                  <a:lnTo>
                    <a:pt x="10" y="149"/>
                  </a:lnTo>
                  <a:lnTo>
                    <a:pt x="10" y="139"/>
                  </a:lnTo>
                  <a:lnTo>
                    <a:pt x="10" y="139"/>
                  </a:lnTo>
                  <a:lnTo>
                    <a:pt x="10" y="139"/>
                  </a:lnTo>
                  <a:lnTo>
                    <a:pt x="20" y="129"/>
                  </a:lnTo>
                  <a:lnTo>
                    <a:pt x="20" y="129"/>
                  </a:lnTo>
                  <a:lnTo>
                    <a:pt x="30" y="119"/>
                  </a:lnTo>
                  <a:lnTo>
                    <a:pt x="30" y="129"/>
                  </a:lnTo>
                  <a:lnTo>
                    <a:pt x="40" y="129"/>
                  </a:lnTo>
                  <a:lnTo>
                    <a:pt x="50" y="119"/>
                  </a:lnTo>
                  <a:lnTo>
                    <a:pt x="50" y="109"/>
                  </a:lnTo>
                  <a:lnTo>
                    <a:pt x="50" y="90"/>
                  </a:lnTo>
                  <a:lnTo>
                    <a:pt x="50" y="79"/>
                  </a:lnTo>
                  <a:lnTo>
                    <a:pt x="50" y="79"/>
                  </a:lnTo>
                  <a:lnTo>
                    <a:pt x="59" y="70"/>
                  </a:lnTo>
                  <a:lnTo>
                    <a:pt x="59" y="79"/>
                  </a:lnTo>
                  <a:lnTo>
                    <a:pt x="69" y="70"/>
                  </a:lnTo>
                  <a:lnTo>
                    <a:pt x="69" y="70"/>
                  </a:lnTo>
                  <a:lnTo>
                    <a:pt x="79" y="60"/>
                  </a:lnTo>
                  <a:lnTo>
                    <a:pt x="79" y="60"/>
                  </a:lnTo>
                  <a:lnTo>
                    <a:pt x="79" y="50"/>
                  </a:lnTo>
                  <a:lnTo>
                    <a:pt x="79" y="50"/>
                  </a:lnTo>
                  <a:lnTo>
                    <a:pt x="79" y="50"/>
                  </a:lnTo>
                  <a:lnTo>
                    <a:pt x="89" y="40"/>
                  </a:lnTo>
                  <a:lnTo>
                    <a:pt x="99" y="40"/>
                  </a:lnTo>
                  <a:lnTo>
                    <a:pt x="119" y="30"/>
                  </a:lnTo>
                  <a:lnTo>
                    <a:pt x="129" y="30"/>
                  </a:lnTo>
                  <a:lnTo>
                    <a:pt x="129" y="30"/>
                  </a:lnTo>
                  <a:lnTo>
                    <a:pt x="139" y="30"/>
                  </a:lnTo>
                  <a:lnTo>
                    <a:pt x="139" y="30"/>
                  </a:lnTo>
                  <a:lnTo>
                    <a:pt x="149" y="20"/>
                  </a:lnTo>
                  <a:lnTo>
                    <a:pt x="149" y="20"/>
                  </a:lnTo>
                  <a:lnTo>
                    <a:pt x="169" y="10"/>
                  </a:lnTo>
                  <a:lnTo>
                    <a:pt x="169" y="20"/>
                  </a:lnTo>
                  <a:lnTo>
                    <a:pt x="179" y="20"/>
                  </a:lnTo>
                  <a:lnTo>
                    <a:pt x="189" y="30"/>
                  </a:lnTo>
                  <a:lnTo>
                    <a:pt x="189" y="30"/>
                  </a:lnTo>
                  <a:lnTo>
                    <a:pt x="199" y="30"/>
                  </a:lnTo>
                  <a:lnTo>
                    <a:pt x="208" y="30"/>
                  </a:lnTo>
                  <a:lnTo>
                    <a:pt x="208" y="30"/>
                  </a:lnTo>
                  <a:lnTo>
                    <a:pt x="208" y="30"/>
                  </a:lnTo>
                  <a:lnTo>
                    <a:pt x="218" y="20"/>
                  </a:lnTo>
                  <a:lnTo>
                    <a:pt x="238" y="10"/>
                  </a:lnTo>
                  <a:lnTo>
                    <a:pt x="238" y="20"/>
                  </a:lnTo>
                  <a:lnTo>
                    <a:pt x="268" y="0"/>
                  </a:lnTo>
                  <a:lnTo>
                    <a:pt x="268" y="10"/>
                  </a:lnTo>
                  <a:lnTo>
                    <a:pt x="278" y="10"/>
                  </a:lnTo>
                  <a:lnTo>
                    <a:pt x="268" y="20"/>
                  </a:lnTo>
                  <a:lnTo>
                    <a:pt x="268" y="20"/>
                  </a:lnTo>
                  <a:lnTo>
                    <a:pt x="268" y="30"/>
                  </a:lnTo>
                  <a:lnTo>
                    <a:pt x="268" y="30"/>
                  </a:lnTo>
                  <a:lnTo>
                    <a:pt x="278" y="30"/>
                  </a:lnTo>
                  <a:lnTo>
                    <a:pt x="278" y="40"/>
                  </a:lnTo>
                  <a:lnTo>
                    <a:pt x="288" y="40"/>
                  </a:lnTo>
                  <a:lnTo>
                    <a:pt x="288" y="40"/>
                  </a:lnTo>
                  <a:lnTo>
                    <a:pt x="288" y="40"/>
                  </a:lnTo>
                  <a:lnTo>
                    <a:pt x="308" y="60"/>
                  </a:lnTo>
                  <a:lnTo>
                    <a:pt x="298" y="70"/>
                  </a:lnTo>
                  <a:lnTo>
                    <a:pt x="278" y="90"/>
                  </a:lnTo>
                  <a:lnTo>
                    <a:pt x="278" y="90"/>
                  </a:lnTo>
                  <a:lnTo>
                    <a:pt x="268" y="79"/>
                  </a:lnTo>
                  <a:lnTo>
                    <a:pt x="268" y="79"/>
                  </a:lnTo>
                  <a:lnTo>
                    <a:pt x="258" y="70"/>
                  </a:lnTo>
                  <a:lnTo>
                    <a:pt x="248" y="60"/>
                  </a:lnTo>
                  <a:lnTo>
                    <a:pt x="248" y="60"/>
                  </a:lnTo>
                  <a:lnTo>
                    <a:pt x="238" y="60"/>
                  </a:lnTo>
                  <a:lnTo>
                    <a:pt x="228" y="50"/>
                  </a:lnTo>
                  <a:lnTo>
                    <a:pt x="228" y="50"/>
                  </a:lnTo>
                  <a:lnTo>
                    <a:pt x="208" y="60"/>
                  </a:lnTo>
                  <a:lnTo>
                    <a:pt x="199" y="40"/>
                  </a:lnTo>
                  <a:lnTo>
                    <a:pt x="189" y="40"/>
                  </a:lnTo>
                  <a:lnTo>
                    <a:pt x="189" y="50"/>
                  </a:lnTo>
                  <a:lnTo>
                    <a:pt x="189" y="50"/>
                  </a:lnTo>
                  <a:lnTo>
                    <a:pt x="179" y="50"/>
                  </a:lnTo>
                  <a:lnTo>
                    <a:pt x="179" y="60"/>
                  </a:lnTo>
                  <a:lnTo>
                    <a:pt x="179" y="70"/>
                  </a:lnTo>
                  <a:lnTo>
                    <a:pt x="169" y="70"/>
                  </a:lnTo>
                  <a:lnTo>
                    <a:pt x="169" y="70"/>
                  </a:lnTo>
                  <a:lnTo>
                    <a:pt x="169" y="79"/>
                  </a:lnTo>
                  <a:lnTo>
                    <a:pt x="159" y="90"/>
                  </a:lnTo>
                  <a:lnTo>
                    <a:pt x="159" y="99"/>
                  </a:lnTo>
                  <a:lnTo>
                    <a:pt x="159" y="99"/>
                  </a:lnTo>
                  <a:lnTo>
                    <a:pt x="169" y="109"/>
                  </a:lnTo>
                  <a:lnTo>
                    <a:pt x="179" y="119"/>
                  </a:lnTo>
                  <a:lnTo>
                    <a:pt x="179" y="129"/>
                  </a:lnTo>
                  <a:lnTo>
                    <a:pt x="189" y="129"/>
                  </a:lnTo>
                  <a:lnTo>
                    <a:pt x="189" y="129"/>
                  </a:lnTo>
                  <a:lnTo>
                    <a:pt x="199" y="149"/>
                  </a:lnTo>
                  <a:lnTo>
                    <a:pt x="208" y="159"/>
                  </a:lnTo>
                  <a:lnTo>
                    <a:pt x="208" y="159"/>
                  </a:lnTo>
                  <a:lnTo>
                    <a:pt x="218" y="169"/>
                  </a:lnTo>
                  <a:lnTo>
                    <a:pt x="238" y="159"/>
                  </a:lnTo>
                  <a:lnTo>
                    <a:pt x="238" y="159"/>
                  </a:lnTo>
                  <a:lnTo>
                    <a:pt x="238" y="149"/>
                  </a:lnTo>
                  <a:lnTo>
                    <a:pt x="248" y="139"/>
                  </a:lnTo>
                  <a:lnTo>
                    <a:pt x="258" y="139"/>
                  </a:lnTo>
                  <a:lnTo>
                    <a:pt x="268" y="139"/>
                  </a:lnTo>
                  <a:lnTo>
                    <a:pt x="278" y="139"/>
                  </a:lnTo>
                  <a:lnTo>
                    <a:pt x="278" y="139"/>
                  </a:lnTo>
                  <a:lnTo>
                    <a:pt x="298" y="139"/>
                  </a:lnTo>
                  <a:lnTo>
                    <a:pt x="298" y="139"/>
                  </a:lnTo>
                  <a:lnTo>
                    <a:pt x="308" y="139"/>
                  </a:lnTo>
                  <a:lnTo>
                    <a:pt x="318" y="139"/>
                  </a:lnTo>
                  <a:lnTo>
                    <a:pt x="328" y="159"/>
                  </a:lnTo>
                  <a:lnTo>
                    <a:pt x="328" y="159"/>
                  </a:lnTo>
                  <a:lnTo>
                    <a:pt x="328" y="169"/>
                  </a:lnTo>
                  <a:lnTo>
                    <a:pt x="318" y="169"/>
                  </a:lnTo>
                  <a:lnTo>
                    <a:pt x="318" y="169"/>
                  </a:lnTo>
                  <a:lnTo>
                    <a:pt x="308" y="169"/>
                  </a:lnTo>
                  <a:lnTo>
                    <a:pt x="298" y="179"/>
                  </a:lnTo>
                  <a:lnTo>
                    <a:pt x="288" y="189"/>
                  </a:lnTo>
                  <a:lnTo>
                    <a:pt x="288" y="189"/>
                  </a:lnTo>
                  <a:lnTo>
                    <a:pt x="288" y="199"/>
                  </a:lnTo>
                  <a:lnTo>
                    <a:pt x="278" y="209"/>
                  </a:lnTo>
                  <a:lnTo>
                    <a:pt x="278" y="209"/>
                  </a:lnTo>
                  <a:lnTo>
                    <a:pt x="268" y="199"/>
                  </a:lnTo>
                  <a:lnTo>
                    <a:pt x="258" y="199"/>
                  </a:lnTo>
                  <a:lnTo>
                    <a:pt x="258" y="199"/>
                  </a:lnTo>
                  <a:lnTo>
                    <a:pt x="258" y="199"/>
                  </a:lnTo>
                  <a:lnTo>
                    <a:pt x="248" y="209"/>
                  </a:lnTo>
                  <a:lnTo>
                    <a:pt x="258" y="228"/>
                  </a:lnTo>
                  <a:lnTo>
                    <a:pt x="258" y="248"/>
                  </a:lnTo>
                  <a:lnTo>
                    <a:pt x="258" y="288"/>
                  </a:lnTo>
                  <a:lnTo>
                    <a:pt x="248" y="308"/>
                  </a:lnTo>
                  <a:lnTo>
                    <a:pt x="258" y="318"/>
                  </a:lnTo>
                  <a:lnTo>
                    <a:pt x="238" y="318"/>
                  </a:lnTo>
                  <a:lnTo>
                    <a:pt x="218" y="318"/>
                  </a:lnTo>
                  <a:lnTo>
                    <a:pt x="208" y="318"/>
                  </a:lnTo>
                  <a:lnTo>
                    <a:pt x="199" y="308"/>
                  </a:lnTo>
                  <a:lnTo>
                    <a:pt x="189" y="338"/>
                  </a:lnTo>
                  <a:lnTo>
                    <a:pt x="169" y="348"/>
                  </a:lnTo>
                  <a:lnTo>
                    <a:pt x="129" y="358"/>
                  </a:lnTo>
                  <a:lnTo>
                    <a:pt x="119" y="328"/>
                  </a:lnTo>
                  <a:lnTo>
                    <a:pt x="109" y="318"/>
                  </a:lnTo>
                  <a:lnTo>
                    <a:pt x="109" y="308"/>
                  </a:lnTo>
                  <a:lnTo>
                    <a:pt x="109" y="298"/>
                  </a:lnTo>
                  <a:lnTo>
                    <a:pt x="99" y="288"/>
                  </a:lnTo>
                  <a:lnTo>
                    <a:pt x="89" y="288"/>
                  </a:lnTo>
                  <a:lnTo>
                    <a:pt x="79" y="27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6" name="Freeform 860">
              <a:extLst>
                <a:ext uri="{FF2B5EF4-FFF2-40B4-BE49-F238E27FC236}">
                  <a16:creationId xmlns:a16="http://schemas.microsoft.com/office/drawing/2014/main" id="{C74F1F74-15AA-E006-FBB5-2E0FFEFECF64}"/>
                </a:ext>
              </a:extLst>
            </p:cNvPr>
            <p:cNvSpPr>
              <a:spLocks/>
            </p:cNvSpPr>
            <p:nvPr/>
          </p:nvSpPr>
          <p:spPr bwMode="auto">
            <a:xfrm>
              <a:off x="11874675" y="4213359"/>
              <a:ext cx="53750" cy="65622"/>
            </a:xfrm>
            <a:custGeom>
              <a:avLst/>
              <a:gdLst/>
              <a:ahLst/>
              <a:cxnLst>
                <a:cxn ang="0">
                  <a:pos x="10" y="30"/>
                </a:cxn>
                <a:cxn ang="0">
                  <a:pos x="10" y="20"/>
                </a:cxn>
                <a:cxn ang="0">
                  <a:pos x="0" y="0"/>
                </a:cxn>
                <a:cxn ang="0">
                  <a:pos x="0" y="0"/>
                </a:cxn>
                <a:cxn ang="0">
                  <a:pos x="10" y="0"/>
                </a:cxn>
                <a:cxn ang="0">
                  <a:pos x="10" y="10"/>
                </a:cxn>
                <a:cxn ang="0">
                  <a:pos x="20" y="10"/>
                </a:cxn>
                <a:cxn ang="0">
                  <a:pos x="30" y="10"/>
                </a:cxn>
                <a:cxn ang="0">
                  <a:pos x="30" y="20"/>
                </a:cxn>
                <a:cxn ang="0">
                  <a:pos x="30" y="30"/>
                </a:cxn>
                <a:cxn ang="0">
                  <a:pos x="40" y="30"/>
                </a:cxn>
                <a:cxn ang="0">
                  <a:pos x="40" y="40"/>
                </a:cxn>
                <a:cxn ang="0">
                  <a:pos x="40" y="40"/>
                </a:cxn>
                <a:cxn ang="0">
                  <a:pos x="40" y="50"/>
                </a:cxn>
                <a:cxn ang="0">
                  <a:pos x="30" y="50"/>
                </a:cxn>
                <a:cxn ang="0">
                  <a:pos x="20" y="40"/>
                </a:cxn>
                <a:cxn ang="0">
                  <a:pos x="10" y="30"/>
                </a:cxn>
              </a:cxnLst>
              <a:rect l="0" t="0" r="r" b="b"/>
              <a:pathLst>
                <a:path w="40" h="50">
                  <a:moveTo>
                    <a:pt x="10" y="30"/>
                  </a:moveTo>
                  <a:lnTo>
                    <a:pt x="10" y="20"/>
                  </a:lnTo>
                  <a:lnTo>
                    <a:pt x="0" y="0"/>
                  </a:lnTo>
                  <a:lnTo>
                    <a:pt x="0" y="0"/>
                  </a:lnTo>
                  <a:lnTo>
                    <a:pt x="10" y="0"/>
                  </a:lnTo>
                  <a:lnTo>
                    <a:pt x="10" y="10"/>
                  </a:lnTo>
                  <a:lnTo>
                    <a:pt x="20" y="10"/>
                  </a:lnTo>
                  <a:lnTo>
                    <a:pt x="30" y="10"/>
                  </a:lnTo>
                  <a:lnTo>
                    <a:pt x="30" y="20"/>
                  </a:lnTo>
                  <a:lnTo>
                    <a:pt x="30" y="30"/>
                  </a:lnTo>
                  <a:lnTo>
                    <a:pt x="40" y="30"/>
                  </a:lnTo>
                  <a:lnTo>
                    <a:pt x="40" y="40"/>
                  </a:lnTo>
                  <a:lnTo>
                    <a:pt x="40" y="40"/>
                  </a:lnTo>
                  <a:lnTo>
                    <a:pt x="40" y="50"/>
                  </a:lnTo>
                  <a:lnTo>
                    <a:pt x="30" y="50"/>
                  </a:lnTo>
                  <a:lnTo>
                    <a:pt x="20" y="40"/>
                  </a:lnTo>
                  <a:lnTo>
                    <a:pt x="10"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7" name="Freeform 862">
              <a:extLst>
                <a:ext uri="{FF2B5EF4-FFF2-40B4-BE49-F238E27FC236}">
                  <a16:creationId xmlns:a16="http://schemas.microsoft.com/office/drawing/2014/main" id="{B0F68381-AA7B-0DAF-8D84-62DF08A26A0F}"/>
                </a:ext>
              </a:extLst>
            </p:cNvPr>
            <p:cNvSpPr>
              <a:spLocks/>
            </p:cNvSpPr>
            <p:nvPr/>
          </p:nvSpPr>
          <p:spPr bwMode="auto">
            <a:xfrm>
              <a:off x="11820925" y="3991558"/>
              <a:ext cx="467627" cy="469850"/>
            </a:xfrm>
            <a:custGeom>
              <a:avLst/>
              <a:gdLst/>
              <a:ahLst/>
              <a:cxnLst>
                <a:cxn ang="0">
                  <a:pos x="90" y="219"/>
                </a:cxn>
                <a:cxn ang="0">
                  <a:pos x="80" y="189"/>
                </a:cxn>
                <a:cxn ang="0">
                  <a:pos x="70" y="149"/>
                </a:cxn>
                <a:cxn ang="0">
                  <a:pos x="20" y="179"/>
                </a:cxn>
                <a:cxn ang="0">
                  <a:pos x="0" y="169"/>
                </a:cxn>
                <a:cxn ang="0">
                  <a:pos x="60" y="129"/>
                </a:cxn>
                <a:cxn ang="0">
                  <a:pos x="70" y="100"/>
                </a:cxn>
                <a:cxn ang="0">
                  <a:pos x="100" y="60"/>
                </a:cxn>
                <a:cxn ang="0">
                  <a:pos x="110" y="10"/>
                </a:cxn>
                <a:cxn ang="0">
                  <a:pos x="159" y="10"/>
                </a:cxn>
                <a:cxn ang="0">
                  <a:pos x="169" y="20"/>
                </a:cxn>
                <a:cxn ang="0">
                  <a:pos x="189" y="20"/>
                </a:cxn>
                <a:cxn ang="0">
                  <a:pos x="189" y="40"/>
                </a:cxn>
                <a:cxn ang="0">
                  <a:pos x="219" y="30"/>
                </a:cxn>
                <a:cxn ang="0">
                  <a:pos x="239" y="40"/>
                </a:cxn>
                <a:cxn ang="0">
                  <a:pos x="229" y="20"/>
                </a:cxn>
                <a:cxn ang="0">
                  <a:pos x="268" y="20"/>
                </a:cxn>
                <a:cxn ang="0">
                  <a:pos x="278" y="50"/>
                </a:cxn>
                <a:cxn ang="0">
                  <a:pos x="278" y="60"/>
                </a:cxn>
                <a:cxn ang="0">
                  <a:pos x="268" y="89"/>
                </a:cxn>
                <a:cxn ang="0">
                  <a:pos x="249" y="89"/>
                </a:cxn>
                <a:cxn ang="0">
                  <a:pos x="259" y="119"/>
                </a:cxn>
                <a:cxn ang="0">
                  <a:pos x="298" y="119"/>
                </a:cxn>
                <a:cxn ang="0">
                  <a:pos x="328" y="149"/>
                </a:cxn>
                <a:cxn ang="0">
                  <a:pos x="338" y="179"/>
                </a:cxn>
                <a:cxn ang="0">
                  <a:pos x="338" y="189"/>
                </a:cxn>
                <a:cxn ang="0">
                  <a:pos x="298" y="199"/>
                </a:cxn>
                <a:cxn ang="0">
                  <a:pos x="288" y="179"/>
                </a:cxn>
                <a:cxn ang="0">
                  <a:pos x="259" y="179"/>
                </a:cxn>
                <a:cxn ang="0">
                  <a:pos x="219" y="159"/>
                </a:cxn>
                <a:cxn ang="0">
                  <a:pos x="219" y="189"/>
                </a:cxn>
                <a:cxn ang="0">
                  <a:pos x="229" y="219"/>
                </a:cxn>
                <a:cxn ang="0">
                  <a:pos x="249" y="219"/>
                </a:cxn>
                <a:cxn ang="0">
                  <a:pos x="259" y="238"/>
                </a:cxn>
                <a:cxn ang="0">
                  <a:pos x="259" y="278"/>
                </a:cxn>
                <a:cxn ang="0">
                  <a:pos x="229" y="288"/>
                </a:cxn>
                <a:cxn ang="0">
                  <a:pos x="219" y="298"/>
                </a:cxn>
                <a:cxn ang="0">
                  <a:pos x="219" y="328"/>
                </a:cxn>
                <a:cxn ang="0">
                  <a:pos x="199" y="348"/>
                </a:cxn>
                <a:cxn ang="0">
                  <a:pos x="179" y="348"/>
                </a:cxn>
                <a:cxn ang="0">
                  <a:pos x="139" y="348"/>
                </a:cxn>
                <a:cxn ang="0">
                  <a:pos x="110" y="318"/>
                </a:cxn>
                <a:cxn ang="0">
                  <a:pos x="100" y="288"/>
                </a:cxn>
                <a:cxn ang="0">
                  <a:pos x="90" y="278"/>
                </a:cxn>
                <a:cxn ang="0">
                  <a:pos x="90" y="268"/>
                </a:cxn>
                <a:cxn ang="0">
                  <a:pos x="100" y="238"/>
                </a:cxn>
                <a:cxn ang="0">
                  <a:pos x="90" y="258"/>
                </a:cxn>
                <a:cxn ang="0">
                  <a:pos x="80" y="238"/>
                </a:cxn>
                <a:cxn ang="0">
                  <a:pos x="60" y="238"/>
                </a:cxn>
                <a:cxn ang="0">
                  <a:pos x="60" y="219"/>
                </a:cxn>
                <a:cxn ang="0">
                  <a:pos x="80" y="219"/>
                </a:cxn>
              </a:cxnLst>
              <a:rect l="0" t="0" r="r" b="b"/>
              <a:pathLst>
                <a:path w="348" h="358">
                  <a:moveTo>
                    <a:pt x="90" y="229"/>
                  </a:moveTo>
                  <a:lnTo>
                    <a:pt x="90" y="229"/>
                  </a:lnTo>
                  <a:lnTo>
                    <a:pt x="80" y="219"/>
                  </a:lnTo>
                  <a:lnTo>
                    <a:pt x="90" y="219"/>
                  </a:lnTo>
                  <a:lnTo>
                    <a:pt x="90" y="219"/>
                  </a:lnTo>
                  <a:lnTo>
                    <a:pt x="90" y="219"/>
                  </a:lnTo>
                  <a:lnTo>
                    <a:pt x="80" y="199"/>
                  </a:lnTo>
                  <a:lnTo>
                    <a:pt x="80" y="189"/>
                  </a:lnTo>
                  <a:lnTo>
                    <a:pt x="80" y="189"/>
                  </a:lnTo>
                  <a:lnTo>
                    <a:pt x="80" y="179"/>
                  </a:lnTo>
                  <a:lnTo>
                    <a:pt x="80" y="169"/>
                  </a:lnTo>
                  <a:lnTo>
                    <a:pt x="70" y="149"/>
                  </a:lnTo>
                  <a:lnTo>
                    <a:pt x="60" y="139"/>
                  </a:lnTo>
                  <a:lnTo>
                    <a:pt x="50" y="139"/>
                  </a:lnTo>
                  <a:lnTo>
                    <a:pt x="30" y="169"/>
                  </a:lnTo>
                  <a:lnTo>
                    <a:pt x="20" y="179"/>
                  </a:lnTo>
                  <a:lnTo>
                    <a:pt x="10" y="179"/>
                  </a:lnTo>
                  <a:lnTo>
                    <a:pt x="10" y="189"/>
                  </a:lnTo>
                  <a:lnTo>
                    <a:pt x="10" y="179"/>
                  </a:lnTo>
                  <a:lnTo>
                    <a:pt x="0" y="169"/>
                  </a:lnTo>
                  <a:lnTo>
                    <a:pt x="10" y="169"/>
                  </a:lnTo>
                  <a:lnTo>
                    <a:pt x="10" y="169"/>
                  </a:lnTo>
                  <a:lnTo>
                    <a:pt x="20" y="169"/>
                  </a:lnTo>
                  <a:lnTo>
                    <a:pt x="60" y="129"/>
                  </a:lnTo>
                  <a:lnTo>
                    <a:pt x="60" y="119"/>
                  </a:lnTo>
                  <a:lnTo>
                    <a:pt x="70" y="109"/>
                  </a:lnTo>
                  <a:lnTo>
                    <a:pt x="60" y="100"/>
                  </a:lnTo>
                  <a:lnTo>
                    <a:pt x="70" y="100"/>
                  </a:lnTo>
                  <a:lnTo>
                    <a:pt x="90" y="89"/>
                  </a:lnTo>
                  <a:lnTo>
                    <a:pt x="90" y="80"/>
                  </a:lnTo>
                  <a:lnTo>
                    <a:pt x="100" y="70"/>
                  </a:lnTo>
                  <a:lnTo>
                    <a:pt x="100" y="60"/>
                  </a:lnTo>
                  <a:lnTo>
                    <a:pt x="100" y="40"/>
                  </a:lnTo>
                  <a:lnTo>
                    <a:pt x="100" y="10"/>
                  </a:lnTo>
                  <a:lnTo>
                    <a:pt x="110" y="10"/>
                  </a:lnTo>
                  <a:lnTo>
                    <a:pt x="110" y="10"/>
                  </a:lnTo>
                  <a:lnTo>
                    <a:pt x="120" y="10"/>
                  </a:lnTo>
                  <a:lnTo>
                    <a:pt x="120" y="0"/>
                  </a:lnTo>
                  <a:lnTo>
                    <a:pt x="139" y="0"/>
                  </a:lnTo>
                  <a:lnTo>
                    <a:pt x="159" y="10"/>
                  </a:lnTo>
                  <a:lnTo>
                    <a:pt x="159" y="20"/>
                  </a:lnTo>
                  <a:lnTo>
                    <a:pt x="159" y="20"/>
                  </a:lnTo>
                  <a:lnTo>
                    <a:pt x="169" y="20"/>
                  </a:lnTo>
                  <a:lnTo>
                    <a:pt x="169" y="20"/>
                  </a:lnTo>
                  <a:lnTo>
                    <a:pt x="179" y="30"/>
                  </a:lnTo>
                  <a:lnTo>
                    <a:pt x="179" y="30"/>
                  </a:lnTo>
                  <a:lnTo>
                    <a:pt x="179" y="20"/>
                  </a:lnTo>
                  <a:lnTo>
                    <a:pt x="189" y="20"/>
                  </a:lnTo>
                  <a:lnTo>
                    <a:pt x="189" y="30"/>
                  </a:lnTo>
                  <a:lnTo>
                    <a:pt x="199" y="30"/>
                  </a:lnTo>
                  <a:lnTo>
                    <a:pt x="199" y="40"/>
                  </a:lnTo>
                  <a:lnTo>
                    <a:pt x="189" y="40"/>
                  </a:lnTo>
                  <a:lnTo>
                    <a:pt x="199" y="40"/>
                  </a:lnTo>
                  <a:lnTo>
                    <a:pt x="199" y="40"/>
                  </a:lnTo>
                  <a:lnTo>
                    <a:pt x="209" y="30"/>
                  </a:lnTo>
                  <a:lnTo>
                    <a:pt x="219" y="30"/>
                  </a:lnTo>
                  <a:lnTo>
                    <a:pt x="219" y="40"/>
                  </a:lnTo>
                  <a:lnTo>
                    <a:pt x="219" y="40"/>
                  </a:lnTo>
                  <a:lnTo>
                    <a:pt x="229" y="40"/>
                  </a:lnTo>
                  <a:lnTo>
                    <a:pt x="239" y="40"/>
                  </a:lnTo>
                  <a:lnTo>
                    <a:pt x="239" y="30"/>
                  </a:lnTo>
                  <a:lnTo>
                    <a:pt x="239" y="30"/>
                  </a:lnTo>
                  <a:lnTo>
                    <a:pt x="239" y="30"/>
                  </a:lnTo>
                  <a:lnTo>
                    <a:pt x="229" y="20"/>
                  </a:lnTo>
                  <a:lnTo>
                    <a:pt x="229" y="20"/>
                  </a:lnTo>
                  <a:lnTo>
                    <a:pt x="249" y="20"/>
                  </a:lnTo>
                  <a:lnTo>
                    <a:pt x="259" y="20"/>
                  </a:lnTo>
                  <a:lnTo>
                    <a:pt x="268" y="20"/>
                  </a:lnTo>
                  <a:lnTo>
                    <a:pt x="268" y="30"/>
                  </a:lnTo>
                  <a:lnTo>
                    <a:pt x="278" y="40"/>
                  </a:lnTo>
                  <a:lnTo>
                    <a:pt x="278" y="50"/>
                  </a:lnTo>
                  <a:lnTo>
                    <a:pt x="278" y="50"/>
                  </a:lnTo>
                  <a:lnTo>
                    <a:pt x="278" y="50"/>
                  </a:lnTo>
                  <a:lnTo>
                    <a:pt x="288" y="50"/>
                  </a:lnTo>
                  <a:lnTo>
                    <a:pt x="288" y="60"/>
                  </a:lnTo>
                  <a:lnTo>
                    <a:pt x="278" y="60"/>
                  </a:lnTo>
                  <a:lnTo>
                    <a:pt x="278" y="60"/>
                  </a:lnTo>
                  <a:lnTo>
                    <a:pt x="268" y="70"/>
                  </a:lnTo>
                  <a:lnTo>
                    <a:pt x="268" y="80"/>
                  </a:lnTo>
                  <a:lnTo>
                    <a:pt x="268" y="89"/>
                  </a:lnTo>
                  <a:lnTo>
                    <a:pt x="259" y="80"/>
                  </a:lnTo>
                  <a:lnTo>
                    <a:pt x="259" y="80"/>
                  </a:lnTo>
                  <a:lnTo>
                    <a:pt x="259" y="80"/>
                  </a:lnTo>
                  <a:lnTo>
                    <a:pt x="249" y="89"/>
                  </a:lnTo>
                  <a:lnTo>
                    <a:pt x="249" y="100"/>
                  </a:lnTo>
                  <a:lnTo>
                    <a:pt x="249" y="109"/>
                  </a:lnTo>
                  <a:lnTo>
                    <a:pt x="249" y="109"/>
                  </a:lnTo>
                  <a:lnTo>
                    <a:pt x="259" y="119"/>
                  </a:lnTo>
                  <a:lnTo>
                    <a:pt x="268" y="119"/>
                  </a:lnTo>
                  <a:lnTo>
                    <a:pt x="278" y="119"/>
                  </a:lnTo>
                  <a:lnTo>
                    <a:pt x="288" y="119"/>
                  </a:lnTo>
                  <a:lnTo>
                    <a:pt x="298" y="119"/>
                  </a:lnTo>
                  <a:lnTo>
                    <a:pt x="298" y="139"/>
                  </a:lnTo>
                  <a:lnTo>
                    <a:pt x="308" y="149"/>
                  </a:lnTo>
                  <a:lnTo>
                    <a:pt x="318" y="149"/>
                  </a:lnTo>
                  <a:lnTo>
                    <a:pt x="328" y="149"/>
                  </a:lnTo>
                  <a:lnTo>
                    <a:pt x="338" y="159"/>
                  </a:lnTo>
                  <a:lnTo>
                    <a:pt x="338" y="169"/>
                  </a:lnTo>
                  <a:lnTo>
                    <a:pt x="328" y="169"/>
                  </a:lnTo>
                  <a:lnTo>
                    <a:pt x="338" y="179"/>
                  </a:lnTo>
                  <a:lnTo>
                    <a:pt x="338" y="179"/>
                  </a:lnTo>
                  <a:lnTo>
                    <a:pt x="348" y="179"/>
                  </a:lnTo>
                  <a:lnTo>
                    <a:pt x="348" y="189"/>
                  </a:lnTo>
                  <a:lnTo>
                    <a:pt x="338" y="189"/>
                  </a:lnTo>
                  <a:lnTo>
                    <a:pt x="338" y="189"/>
                  </a:lnTo>
                  <a:lnTo>
                    <a:pt x="328" y="189"/>
                  </a:lnTo>
                  <a:lnTo>
                    <a:pt x="308" y="199"/>
                  </a:lnTo>
                  <a:lnTo>
                    <a:pt x="298" y="199"/>
                  </a:lnTo>
                  <a:lnTo>
                    <a:pt x="288" y="209"/>
                  </a:lnTo>
                  <a:lnTo>
                    <a:pt x="288" y="209"/>
                  </a:lnTo>
                  <a:lnTo>
                    <a:pt x="278" y="209"/>
                  </a:lnTo>
                  <a:lnTo>
                    <a:pt x="288" y="179"/>
                  </a:lnTo>
                  <a:lnTo>
                    <a:pt x="288" y="179"/>
                  </a:lnTo>
                  <a:lnTo>
                    <a:pt x="288" y="179"/>
                  </a:lnTo>
                  <a:lnTo>
                    <a:pt x="268" y="179"/>
                  </a:lnTo>
                  <a:lnTo>
                    <a:pt x="259" y="179"/>
                  </a:lnTo>
                  <a:lnTo>
                    <a:pt x="249" y="169"/>
                  </a:lnTo>
                  <a:lnTo>
                    <a:pt x="249" y="169"/>
                  </a:lnTo>
                  <a:lnTo>
                    <a:pt x="219" y="159"/>
                  </a:lnTo>
                  <a:lnTo>
                    <a:pt x="219" y="159"/>
                  </a:lnTo>
                  <a:lnTo>
                    <a:pt x="219" y="169"/>
                  </a:lnTo>
                  <a:lnTo>
                    <a:pt x="209" y="179"/>
                  </a:lnTo>
                  <a:lnTo>
                    <a:pt x="219" y="189"/>
                  </a:lnTo>
                  <a:lnTo>
                    <a:pt x="219" y="189"/>
                  </a:lnTo>
                  <a:lnTo>
                    <a:pt x="219" y="209"/>
                  </a:lnTo>
                  <a:lnTo>
                    <a:pt x="219" y="219"/>
                  </a:lnTo>
                  <a:lnTo>
                    <a:pt x="219" y="219"/>
                  </a:lnTo>
                  <a:lnTo>
                    <a:pt x="229" y="219"/>
                  </a:lnTo>
                  <a:lnTo>
                    <a:pt x="239" y="219"/>
                  </a:lnTo>
                  <a:lnTo>
                    <a:pt x="239" y="209"/>
                  </a:lnTo>
                  <a:lnTo>
                    <a:pt x="249" y="209"/>
                  </a:lnTo>
                  <a:lnTo>
                    <a:pt x="249" y="219"/>
                  </a:lnTo>
                  <a:lnTo>
                    <a:pt x="249" y="219"/>
                  </a:lnTo>
                  <a:lnTo>
                    <a:pt x="259" y="229"/>
                  </a:lnTo>
                  <a:lnTo>
                    <a:pt x="268" y="229"/>
                  </a:lnTo>
                  <a:lnTo>
                    <a:pt x="259" y="238"/>
                  </a:lnTo>
                  <a:lnTo>
                    <a:pt x="259" y="238"/>
                  </a:lnTo>
                  <a:lnTo>
                    <a:pt x="259" y="249"/>
                  </a:lnTo>
                  <a:lnTo>
                    <a:pt x="259" y="268"/>
                  </a:lnTo>
                  <a:lnTo>
                    <a:pt x="259" y="278"/>
                  </a:lnTo>
                  <a:lnTo>
                    <a:pt x="249" y="288"/>
                  </a:lnTo>
                  <a:lnTo>
                    <a:pt x="239" y="288"/>
                  </a:lnTo>
                  <a:lnTo>
                    <a:pt x="239" y="278"/>
                  </a:lnTo>
                  <a:lnTo>
                    <a:pt x="229" y="288"/>
                  </a:lnTo>
                  <a:lnTo>
                    <a:pt x="229" y="288"/>
                  </a:lnTo>
                  <a:lnTo>
                    <a:pt x="219" y="298"/>
                  </a:lnTo>
                  <a:lnTo>
                    <a:pt x="219" y="298"/>
                  </a:lnTo>
                  <a:lnTo>
                    <a:pt x="219" y="298"/>
                  </a:lnTo>
                  <a:lnTo>
                    <a:pt x="219" y="308"/>
                  </a:lnTo>
                  <a:lnTo>
                    <a:pt x="219" y="308"/>
                  </a:lnTo>
                  <a:lnTo>
                    <a:pt x="229" y="318"/>
                  </a:lnTo>
                  <a:lnTo>
                    <a:pt x="219" y="328"/>
                  </a:lnTo>
                  <a:lnTo>
                    <a:pt x="229" y="338"/>
                  </a:lnTo>
                  <a:lnTo>
                    <a:pt x="229" y="338"/>
                  </a:lnTo>
                  <a:lnTo>
                    <a:pt x="209" y="338"/>
                  </a:lnTo>
                  <a:lnTo>
                    <a:pt x="199" y="348"/>
                  </a:lnTo>
                  <a:lnTo>
                    <a:pt x="189" y="358"/>
                  </a:lnTo>
                  <a:lnTo>
                    <a:pt x="189" y="358"/>
                  </a:lnTo>
                  <a:lnTo>
                    <a:pt x="169" y="348"/>
                  </a:lnTo>
                  <a:lnTo>
                    <a:pt x="179" y="348"/>
                  </a:lnTo>
                  <a:lnTo>
                    <a:pt x="169" y="348"/>
                  </a:lnTo>
                  <a:lnTo>
                    <a:pt x="169" y="348"/>
                  </a:lnTo>
                  <a:lnTo>
                    <a:pt x="149" y="348"/>
                  </a:lnTo>
                  <a:lnTo>
                    <a:pt x="139" y="348"/>
                  </a:lnTo>
                  <a:lnTo>
                    <a:pt x="139" y="358"/>
                  </a:lnTo>
                  <a:lnTo>
                    <a:pt x="139" y="358"/>
                  </a:lnTo>
                  <a:lnTo>
                    <a:pt x="129" y="358"/>
                  </a:lnTo>
                  <a:lnTo>
                    <a:pt x="110" y="318"/>
                  </a:lnTo>
                  <a:lnTo>
                    <a:pt x="100" y="308"/>
                  </a:lnTo>
                  <a:lnTo>
                    <a:pt x="100" y="308"/>
                  </a:lnTo>
                  <a:lnTo>
                    <a:pt x="100" y="298"/>
                  </a:lnTo>
                  <a:lnTo>
                    <a:pt x="100" y="288"/>
                  </a:lnTo>
                  <a:lnTo>
                    <a:pt x="100" y="288"/>
                  </a:lnTo>
                  <a:lnTo>
                    <a:pt x="100" y="288"/>
                  </a:lnTo>
                  <a:lnTo>
                    <a:pt x="90" y="278"/>
                  </a:lnTo>
                  <a:lnTo>
                    <a:pt x="90" y="278"/>
                  </a:lnTo>
                  <a:lnTo>
                    <a:pt x="80" y="278"/>
                  </a:lnTo>
                  <a:lnTo>
                    <a:pt x="80" y="268"/>
                  </a:lnTo>
                  <a:lnTo>
                    <a:pt x="90" y="268"/>
                  </a:lnTo>
                  <a:lnTo>
                    <a:pt x="90" y="268"/>
                  </a:lnTo>
                  <a:lnTo>
                    <a:pt x="90" y="258"/>
                  </a:lnTo>
                  <a:lnTo>
                    <a:pt x="90" y="249"/>
                  </a:lnTo>
                  <a:lnTo>
                    <a:pt x="100" y="238"/>
                  </a:lnTo>
                  <a:lnTo>
                    <a:pt x="100" y="238"/>
                  </a:lnTo>
                  <a:lnTo>
                    <a:pt x="90" y="238"/>
                  </a:lnTo>
                  <a:lnTo>
                    <a:pt x="90" y="249"/>
                  </a:lnTo>
                  <a:lnTo>
                    <a:pt x="90" y="258"/>
                  </a:lnTo>
                  <a:lnTo>
                    <a:pt x="90" y="258"/>
                  </a:lnTo>
                  <a:lnTo>
                    <a:pt x="80" y="268"/>
                  </a:lnTo>
                  <a:lnTo>
                    <a:pt x="80" y="258"/>
                  </a:lnTo>
                  <a:lnTo>
                    <a:pt x="80" y="258"/>
                  </a:lnTo>
                  <a:lnTo>
                    <a:pt x="80" y="238"/>
                  </a:lnTo>
                  <a:lnTo>
                    <a:pt x="70" y="238"/>
                  </a:lnTo>
                  <a:lnTo>
                    <a:pt x="70" y="238"/>
                  </a:lnTo>
                  <a:lnTo>
                    <a:pt x="60" y="238"/>
                  </a:lnTo>
                  <a:lnTo>
                    <a:pt x="60" y="238"/>
                  </a:lnTo>
                  <a:lnTo>
                    <a:pt x="60" y="238"/>
                  </a:lnTo>
                  <a:lnTo>
                    <a:pt x="60" y="229"/>
                  </a:lnTo>
                  <a:lnTo>
                    <a:pt x="60" y="219"/>
                  </a:lnTo>
                  <a:lnTo>
                    <a:pt x="60" y="219"/>
                  </a:lnTo>
                  <a:lnTo>
                    <a:pt x="50" y="219"/>
                  </a:lnTo>
                  <a:lnTo>
                    <a:pt x="50" y="219"/>
                  </a:lnTo>
                  <a:lnTo>
                    <a:pt x="80" y="219"/>
                  </a:lnTo>
                  <a:lnTo>
                    <a:pt x="80" y="219"/>
                  </a:lnTo>
                  <a:lnTo>
                    <a:pt x="80" y="229"/>
                  </a:lnTo>
                  <a:lnTo>
                    <a:pt x="80" y="229"/>
                  </a:lnTo>
                  <a:lnTo>
                    <a:pt x="90" y="2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8" name="Freeform 873">
              <a:extLst>
                <a:ext uri="{FF2B5EF4-FFF2-40B4-BE49-F238E27FC236}">
                  <a16:creationId xmlns:a16="http://schemas.microsoft.com/office/drawing/2014/main" id="{292FAB38-7F37-0987-02B1-80152992B2A6}"/>
                </a:ext>
              </a:extLst>
            </p:cNvPr>
            <p:cNvSpPr>
              <a:spLocks/>
            </p:cNvSpPr>
            <p:nvPr/>
          </p:nvSpPr>
          <p:spPr bwMode="auto">
            <a:xfrm>
              <a:off x="12688991" y="3613578"/>
              <a:ext cx="493158" cy="469850"/>
            </a:xfrm>
            <a:custGeom>
              <a:avLst/>
              <a:gdLst/>
              <a:ahLst/>
              <a:cxnLst>
                <a:cxn ang="0">
                  <a:pos x="248" y="119"/>
                </a:cxn>
                <a:cxn ang="0">
                  <a:pos x="268" y="129"/>
                </a:cxn>
                <a:cxn ang="0">
                  <a:pos x="318" y="169"/>
                </a:cxn>
                <a:cxn ang="0">
                  <a:pos x="318" y="179"/>
                </a:cxn>
                <a:cxn ang="0">
                  <a:pos x="318" y="189"/>
                </a:cxn>
                <a:cxn ang="0">
                  <a:pos x="338" y="219"/>
                </a:cxn>
                <a:cxn ang="0">
                  <a:pos x="358" y="238"/>
                </a:cxn>
                <a:cxn ang="0">
                  <a:pos x="367" y="238"/>
                </a:cxn>
                <a:cxn ang="0">
                  <a:pos x="347" y="288"/>
                </a:cxn>
                <a:cxn ang="0">
                  <a:pos x="338" y="278"/>
                </a:cxn>
                <a:cxn ang="0">
                  <a:pos x="298" y="278"/>
                </a:cxn>
                <a:cxn ang="0">
                  <a:pos x="278" y="278"/>
                </a:cxn>
                <a:cxn ang="0">
                  <a:pos x="218" y="298"/>
                </a:cxn>
                <a:cxn ang="0">
                  <a:pos x="198" y="318"/>
                </a:cxn>
                <a:cxn ang="0">
                  <a:pos x="169" y="338"/>
                </a:cxn>
                <a:cxn ang="0">
                  <a:pos x="139" y="358"/>
                </a:cxn>
                <a:cxn ang="0">
                  <a:pos x="139" y="348"/>
                </a:cxn>
                <a:cxn ang="0">
                  <a:pos x="119" y="338"/>
                </a:cxn>
                <a:cxn ang="0">
                  <a:pos x="109" y="298"/>
                </a:cxn>
                <a:cxn ang="0">
                  <a:pos x="129" y="278"/>
                </a:cxn>
                <a:cxn ang="0">
                  <a:pos x="129" y="258"/>
                </a:cxn>
                <a:cxn ang="0">
                  <a:pos x="109" y="258"/>
                </a:cxn>
                <a:cxn ang="0">
                  <a:pos x="40" y="248"/>
                </a:cxn>
                <a:cxn ang="0">
                  <a:pos x="30" y="219"/>
                </a:cxn>
                <a:cxn ang="0">
                  <a:pos x="40" y="199"/>
                </a:cxn>
                <a:cxn ang="0">
                  <a:pos x="30" y="179"/>
                </a:cxn>
                <a:cxn ang="0">
                  <a:pos x="79" y="169"/>
                </a:cxn>
                <a:cxn ang="0">
                  <a:pos x="89" y="159"/>
                </a:cxn>
                <a:cxn ang="0">
                  <a:pos x="79" y="159"/>
                </a:cxn>
                <a:cxn ang="0">
                  <a:pos x="69" y="149"/>
                </a:cxn>
                <a:cxn ang="0">
                  <a:pos x="79" y="149"/>
                </a:cxn>
                <a:cxn ang="0">
                  <a:pos x="69" y="139"/>
                </a:cxn>
                <a:cxn ang="0">
                  <a:pos x="60" y="119"/>
                </a:cxn>
                <a:cxn ang="0">
                  <a:pos x="30" y="129"/>
                </a:cxn>
                <a:cxn ang="0">
                  <a:pos x="0" y="99"/>
                </a:cxn>
                <a:cxn ang="0">
                  <a:pos x="0" y="89"/>
                </a:cxn>
                <a:cxn ang="0">
                  <a:pos x="0" y="79"/>
                </a:cxn>
                <a:cxn ang="0">
                  <a:pos x="0" y="60"/>
                </a:cxn>
                <a:cxn ang="0">
                  <a:pos x="10" y="30"/>
                </a:cxn>
                <a:cxn ang="0">
                  <a:pos x="30" y="0"/>
                </a:cxn>
                <a:cxn ang="0">
                  <a:pos x="40" y="10"/>
                </a:cxn>
                <a:cxn ang="0">
                  <a:pos x="60" y="20"/>
                </a:cxn>
                <a:cxn ang="0">
                  <a:pos x="60" y="30"/>
                </a:cxn>
                <a:cxn ang="0">
                  <a:pos x="79" y="40"/>
                </a:cxn>
                <a:cxn ang="0">
                  <a:pos x="99" y="70"/>
                </a:cxn>
                <a:cxn ang="0">
                  <a:pos x="119" y="70"/>
                </a:cxn>
                <a:cxn ang="0">
                  <a:pos x="139" y="79"/>
                </a:cxn>
                <a:cxn ang="0">
                  <a:pos x="159" y="119"/>
                </a:cxn>
                <a:cxn ang="0">
                  <a:pos x="169" y="129"/>
                </a:cxn>
                <a:cxn ang="0">
                  <a:pos x="189" y="129"/>
                </a:cxn>
                <a:cxn ang="0">
                  <a:pos x="228" y="109"/>
                </a:cxn>
                <a:cxn ang="0">
                  <a:pos x="238" y="99"/>
                </a:cxn>
              </a:cxnLst>
              <a:rect l="0" t="0" r="r" b="b"/>
              <a:pathLst>
                <a:path w="367" h="358">
                  <a:moveTo>
                    <a:pt x="238" y="99"/>
                  </a:moveTo>
                  <a:lnTo>
                    <a:pt x="248" y="119"/>
                  </a:lnTo>
                  <a:lnTo>
                    <a:pt x="248" y="129"/>
                  </a:lnTo>
                  <a:lnTo>
                    <a:pt x="268" y="129"/>
                  </a:lnTo>
                  <a:lnTo>
                    <a:pt x="328" y="159"/>
                  </a:lnTo>
                  <a:lnTo>
                    <a:pt x="318" y="169"/>
                  </a:lnTo>
                  <a:lnTo>
                    <a:pt x="318" y="179"/>
                  </a:lnTo>
                  <a:lnTo>
                    <a:pt x="318" y="179"/>
                  </a:lnTo>
                  <a:lnTo>
                    <a:pt x="318" y="189"/>
                  </a:lnTo>
                  <a:lnTo>
                    <a:pt x="318" y="189"/>
                  </a:lnTo>
                  <a:lnTo>
                    <a:pt x="328" y="199"/>
                  </a:lnTo>
                  <a:lnTo>
                    <a:pt x="338" y="219"/>
                  </a:lnTo>
                  <a:lnTo>
                    <a:pt x="347" y="228"/>
                  </a:lnTo>
                  <a:lnTo>
                    <a:pt x="358" y="238"/>
                  </a:lnTo>
                  <a:lnTo>
                    <a:pt x="358" y="238"/>
                  </a:lnTo>
                  <a:lnTo>
                    <a:pt x="367" y="238"/>
                  </a:lnTo>
                  <a:lnTo>
                    <a:pt x="358" y="248"/>
                  </a:lnTo>
                  <a:lnTo>
                    <a:pt x="347" y="288"/>
                  </a:lnTo>
                  <a:lnTo>
                    <a:pt x="347" y="298"/>
                  </a:lnTo>
                  <a:lnTo>
                    <a:pt x="338" y="278"/>
                  </a:lnTo>
                  <a:lnTo>
                    <a:pt x="318" y="278"/>
                  </a:lnTo>
                  <a:lnTo>
                    <a:pt x="298" y="278"/>
                  </a:lnTo>
                  <a:lnTo>
                    <a:pt x="278" y="278"/>
                  </a:lnTo>
                  <a:lnTo>
                    <a:pt x="278" y="278"/>
                  </a:lnTo>
                  <a:lnTo>
                    <a:pt x="228" y="288"/>
                  </a:lnTo>
                  <a:lnTo>
                    <a:pt x="218" y="298"/>
                  </a:lnTo>
                  <a:lnTo>
                    <a:pt x="218" y="298"/>
                  </a:lnTo>
                  <a:lnTo>
                    <a:pt x="198" y="318"/>
                  </a:lnTo>
                  <a:lnTo>
                    <a:pt x="179" y="328"/>
                  </a:lnTo>
                  <a:lnTo>
                    <a:pt x="169" y="338"/>
                  </a:lnTo>
                  <a:lnTo>
                    <a:pt x="139" y="348"/>
                  </a:lnTo>
                  <a:lnTo>
                    <a:pt x="139" y="358"/>
                  </a:lnTo>
                  <a:lnTo>
                    <a:pt x="139" y="358"/>
                  </a:lnTo>
                  <a:lnTo>
                    <a:pt x="139" y="348"/>
                  </a:lnTo>
                  <a:lnTo>
                    <a:pt x="129" y="348"/>
                  </a:lnTo>
                  <a:lnTo>
                    <a:pt x="119" y="338"/>
                  </a:lnTo>
                  <a:lnTo>
                    <a:pt x="99" y="308"/>
                  </a:lnTo>
                  <a:lnTo>
                    <a:pt x="109" y="298"/>
                  </a:lnTo>
                  <a:lnTo>
                    <a:pt x="119" y="288"/>
                  </a:lnTo>
                  <a:lnTo>
                    <a:pt x="129" y="278"/>
                  </a:lnTo>
                  <a:lnTo>
                    <a:pt x="129" y="258"/>
                  </a:lnTo>
                  <a:lnTo>
                    <a:pt x="129" y="258"/>
                  </a:lnTo>
                  <a:lnTo>
                    <a:pt x="119" y="258"/>
                  </a:lnTo>
                  <a:lnTo>
                    <a:pt x="109" y="258"/>
                  </a:lnTo>
                  <a:lnTo>
                    <a:pt x="60" y="258"/>
                  </a:lnTo>
                  <a:lnTo>
                    <a:pt x="40" y="248"/>
                  </a:lnTo>
                  <a:lnTo>
                    <a:pt x="30" y="228"/>
                  </a:lnTo>
                  <a:lnTo>
                    <a:pt x="30" y="219"/>
                  </a:lnTo>
                  <a:lnTo>
                    <a:pt x="20" y="209"/>
                  </a:lnTo>
                  <a:lnTo>
                    <a:pt x="40" y="199"/>
                  </a:lnTo>
                  <a:lnTo>
                    <a:pt x="30" y="189"/>
                  </a:lnTo>
                  <a:lnTo>
                    <a:pt x="30" y="179"/>
                  </a:lnTo>
                  <a:lnTo>
                    <a:pt x="30" y="179"/>
                  </a:lnTo>
                  <a:lnTo>
                    <a:pt x="79" y="169"/>
                  </a:lnTo>
                  <a:lnTo>
                    <a:pt x="99" y="169"/>
                  </a:lnTo>
                  <a:lnTo>
                    <a:pt x="89" y="159"/>
                  </a:lnTo>
                  <a:lnTo>
                    <a:pt x="79" y="159"/>
                  </a:lnTo>
                  <a:lnTo>
                    <a:pt x="79" y="159"/>
                  </a:lnTo>
                  <a:lnTo>
                    <a:pt x="69" y="149"/>
                  </a:lnTo>
                  <a:lnTo>
                    <a:pt x="69" y="149"/>
                  </a:lnTo>
                  <a:lnTo>
                    <a:pt x="69" y="149"/>
                  </a:lnTo>
                  <a:lnTo>
                    <a:pt x="79" y="149"/>
                  </a:lnTo>
                  <a:lnTo>
                    <a:pt x="79" y="139"/>
                  </a:lnTo>
                  <a:lnTo>
                    <a:pt x="69" y="139"/>
                  </a:lnTo>
                  <a:lnTo>
                    <a:pt x="60" y="139"/>
                  </a:lnTo>
                  <a:lnTo>
                    <a:pt x="60" y="119"/>
                  </a:lnTo>
                  <a:lnTo>
                    <a:pt x="49" y="119"/>
                  </a:lnTo>
                  <a:lnTo>
                    <a:pt x="30" y="129"/>
                  </a:lnTo>
                  <a:lnTo>
                    <a:pt x="30" y="99"/>
                  </a:lnTo>
                  <a:lnTo>
                    <a:pt x="0" y="99"/>
                  </a:lnTo>
                  <a:lnTo>
                    <a:pt x="0" y="99"/>
                  </a:lnTo>
                  <a:lnTo>
                    <a:pt x="0" y="89"/>
                  </a:lnTo>
                  <a:lnTo>
                    <a:pt x="0" y="89"/>
                  </a:lnTo>
                  <a:lnTo>
                    <a:pt x="0" y="79"/>
                  </a:lnTo>
                  <a:lnTo>
                    <a:pt x="0" y="70"/>
                  </a:lnTo>
                  <a:lnTo>
                    <a:pt x="0" y="60"/>
                  </a:lnTo>
                  <a:lnTo>
                    <a:pt x="0" y="40"/>
                  </a:lnTo>
                  <a:lnTo>
                    <a:pt x="10" y="30"/>
                  </a:lnTo>
                  <a:lnTo>
                    <a:pt x="20" y="10"/>
                  </a:lnTo>
                  <a:lnTo>
                    <a:pt x="30" y="0"/>
                  </a:lnTo>
                  <a:lnTo>
                    <a:pt x="40" y="0"/>
                  </a:lnTo>
                  <a:lnTo>
                    <a:pt x="40" y="10"/>
                  </a:lnTo>
                  <a:lnTo>
                    <a:pt x="49" y="10"/>
                  </a:lnTo>
                  <a:lnTo>
                    <a:pt x="60" y="20"/>
                  </a:lnTo>
                  <a:lnTo>
                    <a:pt x="60" y="20"/>
                  </a:lnTo>
                  <a:lnTo>
                    <a:pt x="60" y="30"/>
                  </a:lnTo>
                  <a:lnTo>
                    <a:pt x="69" y="40"/>
                  </a:lnTo>
                  <a:lnTo>
                    <a:pt x="79" y="40"/>
                  </a:lnTo>
                  <a:lnTo>
                    <a:pt x="89" y="50"/>
                  </a:lnTo>
                  <a:lnTo>
                    <a:pt x="99" y="70"/>
                  </a:lnTo>
                  <a:lnTo>
                    <a:pt x="119" y="70"/>
                  </a:lnTo>
                  <a:lnTo>
                    <a:pt x="119" y="70"/>
                  </a:lnTo>
                  <a:lnTo>
                    <a:pt x="119" y="79"/>
                  </a:lnTo>
                  <a:lnTo>
                    <a:pt x="139" y="79"/>
                  </a:lnTo>
                  <a:lnTo>
                    <a:pt x="149" y="109"/>
                  </a:lnTo>
                  <a:lnTo>
                    <a:pt x="159" y="119"/>
                  </a:lnTo>
                  <a:lnTo>
                    <a:pt x="159" y="129"/>
                  </a:lnTo>
                  <a:lnTo>
                    <a:pt x="169" y="129"/>
                  </a:lnTo>
                  <a:lnTo>
                    <a:pt x="179" y="129"/>
                  </a:lnTo>
                  <a:lnTo>
                    <a:pt x="189" y="129"/>
                  </a:lnTo>
                  <a:lnTo>
                    <a:pt x="198" y="119"/>
                  </a:lnTo>
                  <a:lnTo>
                    <a:pt x="228" y="109"/>
                  </a:lnTo>
                  <a:lnTo>
                    <a:pt x="238" y="99"/>
                  </a:lnTo>
                  <a:lnTo>
                    <a:pt x="238" y="9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39" name="Freeform 966">
              <a:extLst>
                <a:ext uri="{FF2B5EF4-FFF2-40B4-BE49-F238E27FC236}">
                  <a16:creationId xmlns:a16="http://schemas.microsoft.com/office/drawing/2014/main" id="{416ED302-AC23-17A1-6D02-9A682F19D639}"/>
                </a:ext>
              </a:extLst>
            </p:cNvPr>
            <p:cNvSpPr>
              <a:spLocks/>
            </p:cNvSpPr>
            <p:nvPr/>
          </p:nvSpPr>
          <p:spPr bwMode="auto">
            <a:xfrm>
              <a:off x="13569150" y="2987549"/>
              <a:ext cx="26875" cy="26249"/>
            </a:xfrm>
            <a:custGeom>
              <a:avLst/>
              <a:gdLst/>
              <a:ahLst/>
              <a:cxnLst>
                <a:cxn ang="0">
                  <a:pos x="0" y="0"/>
                </a:cxn>
                <a:cxn ang="0">
                  <a:pos x="20" y="0"/>
                </a:cxn>
                <a:cxn ang="0">
                  <a:pos x="20" y="0"/>
                </a:cxn>
                <a:cxn ang="0">
                  <a:pos x="20" y="10"/>
                </a:cxn>
                <a:cxn ang="0">
                  <a:pos x="20" y="10"/>
                </a:cxn>
                <a:cxn ang="0">
                  <a:pos x="0" y="20"/>
                </a:cxn>
                <a:cxn ang="0">
                  <a:pos x="0" y="0"/>
                </a:cxn>
              </a:cxnLst>
              <a:rect l="0" t="0" r="r" b="b"/>
              <a:pathLst>
                <a:path w="20" h="20">
                  <a:moveTo>
                    <a:pt x="0" y="0"/>
                  </a:moveTo>
                  <a:lnTo>
                    <a:pt x="20" y="0"/>
                  </a:lnTo>
                  <a:lnTo>
                    <a:pt x="20" y="0"/>
                  </a:lnTo>
                  <a:lnTo>
                    <a:pt x="20" y="10"/>
                  </a:lnTo>
                  <a:lnTo>
                    <a:pt x="20" y="10"/>
                  </a:lnTo>
                  <a:lnTo>
                    <a:pt x="0" y="20"/>
                  </a:lnTo>
                  <a:lnTo>
                    <a:pt x="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40" name="Freeform 967">
              <a:extLst>
                <a:ext uri="{FF2B5EF4-FFF2-40B4-BE49-F238E27FC236}">
                  <a16:creationId xmlns:a16="http://schemas.microsoft.com/office/drawing/2014/main" id="{0B504EBB-9F9B-2690-BB82-4ACB50AD1F0C}"/>
                </a:ext>
              </a:extLst>
            </p:cNvPr>
            <p:cNvSpPr>
              <a:spLocks/>
            </p:cNvSpPr>
            <p:nvPr/>
          </p:nvSpPr>
          <p:spPr bwMode="auto">
            <a:xfrm>
              <a:off x="13742495" y="2857618"/>
              <a:ext cx="107500" cy="103682"/>
            </a:xfrm>
            <a:custGeom>
              <a:avLst/>
              <a:gdLst/>
              <a:ahLst/>
              <a:cxnLst>
                <a:cxn ang="0">
                  <a:pos x="50" y="10"/>
                </a:cxn>
                <a:cxn ang="0">
                  <a:pos x="50" y="20"/>
                </a:cxn>
                <a:cxn ang="0">
                  <a:pos x="50" y="20"/>
                </a:cxn>
                <a:cxn ang="0">
                  <a:pos x="60" y="29"/>
                </a:cxn>
                <a:cxn ang="0">
                  <a:pos x="70" y="40"/>
                </a:cxn>
                <a:cxn ang="0">
                  <a:pos x="80" y="49"/>
                </a:cxn>
                <a:cxn ang="0">
                  <a:pos x="70" y="40"/>
                </a:cxn>
                <a:cxn ang="0">
                  <a:pos x="60" y="40"/>
                </a:cxn>
                <a:cxn ang="0">
                  <a:pos x="40" y="40"/>
                </a:cxn>
                <a:cxn ang="0">
                  <a:pos x="30" y="40"/>
                </a:cxn>
                <a:cxn ang="0">
                  <a:pos x="30" y="40"/>
                </a:cxn>
                <a:cxn ang="0">
                  <a:pos x="30" y="49"/>
                </a:cxn>
                <a:cxn ang="0">
                  <a:pos x="30" y="59"/>
                </a:cxn>
                <a:cxn ang="0">
                  <a:pos x="40" y="59"/>
                </a:cxn>
                <a:cxn ang="0">
                  <a:pos x="40" y="59"/>
                </a:cxn>
                <a:cxn ang="0">
                  <a:pos x="30" y="79"/>
                </a:cxn>
                <a:cxn ang="0">
                  <a:pos x="20" y="69"/>
                </a:cxn>
                <a:cxn ang="0">
                  <a:pos x="10" y="40"/>
                </a:cxn>
                <a:cxn ang="0">
                  <a:pos x="0" y="29"/>
                </a:cxn>
                <a:cxn ang="0">
                  <a:pos x="0" y="20"/>
                </a:cxn>
                <a:cxn ang="0">
                  <a:pos x="10" y="0"/>
                </a:cxn>
                <a:cxn ang="0">
                  <a:pos x="20" y="0"/>
                </a:cxn>
                <a:cxn ang="0">
                  <a:pos x="30" y="0"/>
                </a:cxn>
                <a:cxn ang="0">
                  <a:pos x="40" y="0"/>
                </a:cxn>
                <a:cxn ang="0">
                  <a:pos x="50" y="10"/>
                </a:cxn>
                <a:cxn ang="0">
                  <a:pos x="50" y="10"/>
                </a:cxn>
                <a:cxn ang="0">
                  <a:pos x="50" y="10"/>
                </a:cxn>
              </a:cxnLst>
              <a:rect l="0" t="0" r="r" b="b"/>
              <a:pathLst>
                <a:path w="80" h="79">
                  <a:moveTo>
                    <a:pt x="50" y="10"/>
                  </a:moveTo>
                  <a:lnTo>
                    <a:pt x="50" y="20"/>
                  </a:lnTo>
                  <a:lnTo>
                    <a:pt x="50" y="20"/>
                  </a:lnTo>
                  <a:lnTo>
                    <a:pt x="60" y="29"/>
                  </a:lnTo>
                  <a:lnTo>
                    <a:pt x="70" y="40"/>
                  </a:lnTo>
                  <a:lnTo>
                    <a:pt x="80" y="49"/>
                  </a:lnTo>
                  <a:lnTo>
                    <a:pt x="70" y="40"/>
                  </a:lnTo>
                  <a:lnTo>
                    <a:pt x="60" y="40"/>
                  </a:lnTo>
                  <a:lnTo>
                    <a:pt x="40" y="40"/>
                  </a:lnTo>
                  <a:lnTo>
                    <a:pt x="30" y="40"/>
                  </a:lnTo>
                  <a:lnTo>
                    <a:pt x="30" y="40"/>
                  </a:lnTo>
                  <a:lnTo>
                    <a:pt x="30" y="49"/>
                  </a:lnTo>
                  <a:lnTo>
                    <a:pt x="30" y="59"/>
                  </a:lnTo>
                  <a:lnTo>
                    <a:pt x="40" y="59"/>
                  </a:lnTo>
                  <a:lnTo>
                    <a:pt x="40" y="59"/>
                  </a:lnTo>
                  <a:lnTo>
                    <a:pt x="30" y="79"/>
                  </a:lnTo>
                  <a:lnTo>
                    <a:pt x="20" y="69"/>
                  </a:lnTo>
                  <a:lnTo>
                    <a:pt x="10" y="40"/>
                  </a:lnTo>
                  <a:lnTo>
                    <a:pt x="0" y="29"/>
                  </a:lnTo>
                  <a:lnTo>
                    <a:pt x="0" y="20"/>
                  </a:lnTo>
                  <a:lnTo>
                    <a:pt x="10" y="0"/>
                  </a:lnTo>
                  <a:lnTo>
                    <a:pt x="20" y="0"/>
                  </a:lnTo>
                  <a:lnTo>
                    <a:pt x="30" y="0"/>
                  </a:lnTo>
                  <a:lnTo>
                    <a:pt x="40" y="0"/>
                  </a:lnTo>
                  <a:lnTo>
                    <a:pt x="50" y="10"/>
                  </a:lnTo>
                  <a:lnTo>
                    <a:pt x="50" y="10"/>
                  </a:lnTo>
                  <a:lnTo>
                    <a:pt x="5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41" name="Freeform 968">
              <a:extLst>
                <a:ext uri="{FF2B5EF4-FFF2-40B4-BE49-F238E27FC236}">
                  <a16:creationId xmlns:a16="http://schemas.microsoft.com/office/drawing/2014/main" id="{9556A670-9B55-079F-4568-0FB35F3AFEDA}"/>
                </a:ext>
              </a:extLst>
            </p:cNvPr>
            <p:cNvSpPr>
              <a:spLocks/>
            </p:cNvSpPr>
            <p:nvPr/>
          </p:nvSpPr>
          <p:spPr bwMode="auto">
            <a:xfrm>
              <a:off x="13930620" y="2883867"/>
              <a:ext cx="92719" cy="26249"/>
            </a:xfrm>
            <a:custGeom>
              <a:avLst/>
              <a:gdLst/>
              <a:ahLst/>
              <a:cxnLst>
                <a:cxn ang="0">
                  <a:pos x="9" y="0"/>
                </a:cxn>
                <a:cxn ang="0">
                  <a:pos x="29" y="0"/>
                </a:cxn>
                <a:cxn ang="0">
                  <a:pos x="49" y="0"/>
                </a:cxn>
                <a:cxn ang="0">
                  <a:pos x="69" y="9"/>
                </a:cxn>
                <a:cxn ang="0">
                  <a:pos x="69" y="20"/>
                </a:cxn>
                <a:cxn ang="0">
                  <a:pos x="69" y="9"/>
                </a:cxn>
                <a:cxn ang="0">
                  <a:pos x="49" y="9"/>
                </a:cxn>
                <a:cxn ang="0">
                  <a:pos x="29" y="9"/>
                </a:cxn>
                <a:cxn ang="0">
                  <a:pos x="19" y="9"/>
                </a:cxn>
                <a:cxn ang="0">
                  <a:pos x="19" y="9"/>
                </a:cxn>
                <a:cxn ang="0">
                  <a:pos x="9" y="9"/>
                </a:cxn>
                <a:cxn ang="0">
                  <a:pos x="0" y="20"/>
                </a:cxn>
                <a:cxn ang="0">
                  <a:pos x="0" y="20"/>
                </a:cxn>
                <a:cxn ang="0">
                  <a:pos x="0" y="9"/>
                </a:cxn>
                <a:cxn ang="0">
                  <a:pos x="9" y="0"/>
                </a:cxn>
                <a:cxn ang="0">
                  <a:pos x="9" y="0"/>
                </a:cxn>
              </a:cxnLst>
              <a:rect l="0" t="0" r="r" b="b"/>
              <a:pathLst>
                <a:path w="69" h="20">
                  <a:moveTo>
                    <a:pt x="9" y="0"/>
                  </a:moveTo>
                  <a:lnTo>
                    <a:pt x="29" y="0"/>
                  </a:lnTo>
                  <a:lnTo>
                    <a:pt x="49" y="0"/>
                  </a:lnTo>
                  <a:lnTo>
                    <a:pt x="69" y="9"/>
                  </a:lnTo>
                  <a:lnTo>
                    <a:pt x="69" y="20"/>
                  </a:lnTo>
                  <a:lnTo>
                    <a:pt x="69" y="9"/>
                  </a:lnTo>
                  <a:lnTo>
                    <a:pt x="49" y="9"/>
                  </a:lnTo>
                  <a:lnTo>
                    <a:pt x="29" y="9"/>
                  </a:lnTo>
                  <a:lnTo>
                    <a:pt x="19" y="9"/>
                  </a:lnTo>
                  <a:lnTo>
                    <a:pt x="19" y="9"/>
                  </a:lnTo>
                  <a:lnTo>
                    <a:pt x="9" y="9"/>
                  </a:lnTo>
                  <a:lnTo>
                    <a:pt x="0" y="20"/>
                  </a:lnTo>
                  <a:lnTo>
                    <a:pt x="0" y="20"/>
                  </a:lnTo>
                  <a:lnTo>
                    <a:pt x="0" y="9"/>
                  </a:lnTo>
                  <a:lnTo>
                    <a:pt x="9" y="0"/>
                  </a:lnTo>
                  <a:lnTo>
                    <a:pt x="9"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42" name="Freeform 975">
              <a:extLst>
                <a:ext uri="{FF2B5EF4-FFF2-40B4-BE49-F238E27FC236}">
                  <a16:creationId xmlns:a16="http://schemas.microsoft.com/office/drawing/2014/main" id="{8C2E23C9-8BF7-FF9A-BA33-2706BA5C119B}"/>
                </a:ext>
              </a:extLst>
            </p:cNvPr>
            <p:cNvSpPr>
              <a:spLocks/>
            </p:cNvSpPr>
            <p:nvPr/>
          </p:nvSpPr>
          <p:spPr bwMode="auto">
            <a:xfrm>
              <a:off x="13289649" y="3365529"/>
              <a:ext cx="40313" cy="26249"/>
            </a:xfrm>
            <a:custGeom>
              <a:avLst/>
              <a:gdLst/>
              <a:ahLst/>
              <a:cxnLst>
                <a:cxn ang="0">
                  <a:pos x="0" y="0"/>
                </a:cxn>
                <a:cxn ang="0">
                  <a:pos x="10" y="10"/>
                </a:cxn>
                <a:cxn ang="0">
                  <a:pos x="10" y="0"/>
                </a:cxn>
                <a:cxn ang="0">
                  <a:pos x="10" y="0"/>
                </a:cxn>
                <a:cxn ang="0">
                  <a:pos x="30" y="10"/>
                </a:cxn>
                <a:cxn ang="0">
                  <a:pos x="30" y="10"/>
                </a:cxn>
                <a:cxn ang="0">
                  <a:pos x="30" y="20"/>
                </a:cxn>
                <a:cxn ang="0">
                  <a:pos x="30" y="20"/>
                </a:cxn>
                <a:cxn ang="0">
                  <a:pos x="20" y="20"/>
                </a:cxn>
                <a:cxn ang="0">
                  <a:pos x="10" y="20"/>
                </a:cxn>
                <a:cxn ang="0">
                  <a:pos x="0" y="10"/>
                </a:cxn>
                <a:cxn ang="0">
                  <a:pos x="0" y="0"/>
                </a:cxn>
                <a:cxn ang="0">
                  <a:pos x="0" y="0"/>
                </a:cxn>
              </a:cxnLst>
              <a:rect l="0" t="0" r="r" b="b"/>
              <a:pathLst>
                <a:path w="30" h="20">
                  <a:moveTo>
                    <a:pt x="0" y="0"/>
                  </a:moveTo>
                  <a:lnTo>
                    <a:pt x="10" y="10"/>
                  </a:lnTo>
                  <a:lnTo>
                    <a:pt x="10" y="0"/>
                  </a:lnTo>
                  <a:lnTo>
                    <a:pt x="10" y="0"/>
                  </a:lnTo>
                  <a:lnTo>
                    <a:pt x="30" y="10"/>
                  </a:lnTo>
                  <a:lnTo>
                    <a:pt x="30" y="10"/>
                  </a:lnTo>
                  <a:lnTo>
                    <a:pt x="30" y="20"/>
                  </a:lnTo>
                  <a:lnTo>
                    <a:pt x="30" y="20"/>
                  </a:lnTo>
                  <a:lnTo>
                    <a:pt x="20" y="20"/>
                  </a:lnTo>
                  <a:lnTo>
                    <a:pt x="10" y="20"/>
                  </a:lnTo>
                  <a:lnTo>
                    <a:pt x="0" y="10"/>
                  </a:lnTo>
                  <a:lnTo>
                    <a:pt x="0" y="0"/>
                  </a:lnTo>
                  <a:lnTo>
                    <a:pt x="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43" name="Freeform 1009">
              <a:extLst>
                <a:ext uri="{FF2B5EF4-FFF2-40B4-BE49-F238E27FC236}">
                  <a16:creationId xmlns:a16="http://schemas.microsoft.com/office/drawing/2014/main" id="{BC333BB6-2E5B-F916-F1F4-B600FA353AF5}"/>
                </a:ext>
              </a:extLst>
            </p:cNvPr>
            <p:cNvSpPr>
              <a:spLocks/>
            </p:cNvSpPr>
            <p:nvPr/>
          </p:nvSpPr>
          <p:spPr bwMode="auto">
            <a:xfrm>
              <a:off x="12488771" y="3365529"/>
              <a:ext cx="373564" cy="287422"/>
            </a:xfrm>
            <a:custGeom>
              <a:avLst/>
              <a:gdLst/>
              <a:ahLst/>
              <a:cxnLst>
                <a:cxn ang="0">
                  <a:pos x="159" y="10"/>
                </a:cxn>
                <a:cxn ang="0">
                  <a:pos x="189" y="30"/>
                </a:cxn>
                <a:cxn ang="0">
                  <a:pos x="198" y="30"/>
                </a:cxn>
                <a:cxn ang="0">
                  <a:pos x="209" y="50"/>
                </a:cxn>
                <a:cxn ang="0">
                  <a:pos x="209" y="60"/>
                </a:cxn>
                <a:cxn ang="0">
                  <a:pos x="218" y="60"/>
                </a:cxn>
                <a:cxn ang="0">
                  <a:pos x="258" y="90"/>
                </a:cxn>
                <a:cxn ang="0">
                  <a:pos x="248" y="90"/>
                </a:cxn>
                <a:cxn ang="0">
                  <a:pos x="258" y="100"/>
                </a:cxn>
                <a:cxn ang="0">
                  <a:pos x="268" y="109"/>
                </a:cxn>
                <a:cxn ang="0">
                  <a:pos x="268" y="119"/>
                </a:cxn>
                <a:cxn ang="0">
                  <a:pos x="278" y="109"/>
                </a:cxn>
                <a:cxn ang="0">
                  <a:pos x="278" y="129"/>
                </a:cxn>
                <a:cxn ang="0">
                  <a:pos x="268" y="139"/>
                </a:cxn>
                <a:cxn ang="0">
                  <a:pos x="228" y="159"/>
                </a:cxn>
                <a:cxn ang="0">
                  <a:pos x="238" y="189"/>
                </a:cxn>
                <a:cxn ang="0">
                  <a:pos x="228" y="209"/>
                </a:cxn>
                <a:cxn ang="0">
                  <a:pos x="209" y="209"/>
                </a:cxn>
                <a:cxn ang="0">
                  <a:pos x="198" y="199"/>
                </a:cxn>
                <a:cxn ang="0">
                  <a:pos x="189" y="189"/>
                </a:cxn>
                <a:cxn ang="0">
                  <a:pos x="169" y="199"/>
                </a:cxn>
                <a:cxn ang="0">
                  <a:pos x="149" y="219"/>
                </a:cxn>
                <a:cxn ang="0">
                  <a:pos x="119" y="219"/>
                </a:cxn>
                <a:cxn ang="0">
                  <a:pos x="119" y="219"/>
                </a:cxn>
                <a:cxn ang="0">
                  <a:pos x="119" y="209"/>
                </a:cxn>
                <a:cxn ang="0">
                  <a:pos x="69" y="189"/>
                </a:cxn>
                <a:cxn ang="0">
                  <a:pos x="49" y="179"/>
                </a:cxn>
                <a:cxn ang="0">
                  <a:pos x="20" y="179"/>
                </a:cxn>
                <a:cxn ang="0">
                  <a:pos x="40" y="149"/>
                </a:cxn>
                <a:cxn ang="0">
                  <a:pos x="20" y="129"/>
                </a:cxn>
                <a:cxn ang="0">
                  <a:pos x="10" y="129"/>
                </a:cxn>
                <a:cxn ang="0">
                  <a:pos x="0" y="90"/>
                </a:cxn>
                <a:cxn ang="0">
                  <a:pos x="60" y="60"/>
                </a:cxn>
                <a:cxn ang="0">
                  <a:pos x="89" y="40"/>
                </a:cxn>
                <a:cxn ang="0">
                  <a:pos x="129" y="30"/>
                </a:cxn>
                <a:cxn ang="0">
                  <a:pos x="139" y="20"/>
                </a:cxn>
              </a:cxnLst>
              <a:rect l="0" t="0" r="r" b="b"/>
              <a:pathLst>
                <a:path w="278" h="219">
                  <a:moveTo>
                    <a:pt x="139" y="20"/>
                  </a:moveTo>
                  <a:lnTo>
                    <a:pt x="159" y="10"/>
                  </a:lnTo>
                  <a:lnTo>
                    <a:pt x="169" y="0"/>
                  </a:lnTo>
                  <a:lnTo>
                    <a:pt x="189" y="30"/>
                  </a:lnTo>
                  <a:lnTo>
                    <a:pt x="198" y="30"/>
                  </a:lnTo>
                  <a:lnTo>
                    <a:pt x="198" y="30"/>
                  </a:lnTo>
                  <a:lnTo>
                    <a:pt x="209" y="40"/>
                  </a:lnTo>
                  <a:lnTo>
                    <a:pt x="209" y="50"/>
                  </a:lnTo>
                  <a:lnTo>
                    <a:pt x="209" y="50"/>
                  </a:lnTo>
                  <a:lnTo>
                    <a:pt x="209" y="60"/>
                  </a:lnTo>
                  <a:lnTo>
                    <a:pt x="218" y="60"/>
                  </a:lnTo>
                  <a:lnTo>
                    <a:pt x="218" y="60"/>
                  </a:lnTo>
                  <a:lnTo>
                    <a:pt x="238" y="70"/>
                  </a:lnTo>
                  <a:lnTo>
                    <a:pt x="258" y="90"/>
                  </a:lnTo>
                  <a:lnTo>
                    <a:pt x="248" y="90"/>
                  </a:lnTo>
                  <a:lnTo>
                    <a:pt x="248" y="90"/>
                  </a:lnTo>
                  <a:lnTo>
                    <a:pt x="258" y="100"/>
                  </a:lnTo>
                  <a:lnTo>
                    <a:pt x="258" y="100"/>
                  </a:lnTo>
                  <a:lnTo>
                    <a:pt x="268" y="100"/>
                  </a:lnTo>
                  <a:lnTo>
                    <a:pt x="268" y="109"/>
                  </a:lnTo>
                  <a:lnTo>
                    <a:pt x="268" y="109"/>
                  </a:lnTo>
                  <a:lnTo>
                    <a:pt x="268" y="119"/>
                  </a:lnTo>
                  <a:lnTo>
                    <a:pt x="278" y="109"/>
                  </a:lnTo>
                  <a:lnTo>
                    <a:pt x="278" y="109"/>
                  </a:lnTo>
                  <a:lnTo>
                    <a:pt x="278" y="119"/>
                  </a:lnTo>
                  <a:lnTo>
                    <a:pt x="278" y="129"/>
                  </a:lnTo>
                  <a:lnTo>
                    <a:pt x="278" y="129"/>
                  </a:lnTo>
                  <a:lnTo>
                    <a:pt x="268" y="139"/>
                  </a:lnTo>
                  <a:lnTo>
                    <a:pt x="228" y="159"/>
                  </a:lnTo>
                  <a:lnTo>
                    <a:pt x="228" y="159"/>
                  </a:lnTo>
                  <a:lnTo>
                    <a:pt x="238" y="179"/>
                  </a:lnTo>
                  <a:lnTo>
                    <a:pt x="238" y="189"/>
                  </a:lnTo>
                  <a:lnTo>
                    <a:pt x="228" y="199"/>
                  </a:lnTo>
                  <a:lnTo>
                    <a:pt x="228" y="209"/>
                  </a:lnTo>
                  <a:lnTo>
                    <a:pt x="209" y="219"/>
                  </a:lnTo>
                  <a:lnTo>
                    <a:pt x="209" y="209"/>
                  </a:lnTo>
                  <a:lnTo>
                    <a:pt x="209" y="209"/>
                  </a:lnTo>
                  <a:lnTo>
                    <a:pt x="198" y="199"/>
                  </a:lnTo>
                  <a:lnTo>
                    <a:pt x="189" y="199"/>
                  </a:lnTo>
                  <a:lnTo>
                    <a:pt x="189" y="189"/>
                  </a:lnTo>
                  <a:lnTo>
                    <a:pt x="179" y="189"/>
                  </a:lnTo>
                  <a:lnTo>
                    <a:pt x="169" y="199"/>
                  </a:lnTo>
                  <a:lnTo>
                    <a:pt x="159" y="219"/>
                  </a:lnTo>
                  <a:lnTo>
                    <a:pt x="149" y="219"/>
                  </a:lnTo>
                  <a:lnTo>
                    <a:pt x="129" y="219"/>
                  </a:lnTo>
                  <a:lnTo>
                    <a:pt x="119" y="219"/>
                  </a:lnTo>
                  <a:lnTo>
                    <a:pt x="119" y="219"/>
                  </a:lnTo>
                  <a:lnTo>
                    <a:pt x="119" y="219"/>
                  </a:lnTo>
                  <a:lnTo>
                    <a:pt x="119" y="209"/>
                  </a:lnTo>
                  <a:lnTo>
                    <a:pt x="119" y="209"/>
                  </a:lnTo>
                  <a:lnTo>
                    <a:pt x="109" y="209"/>
                  </a:lnTo>
                  <a:lnTo>
                    <a:pt x="69" y="189"/>
                  </a:lnTo>
                  <a:lnTo>
                    <a:pt x="60" y="179"/>
                  </a:lnTo>
                  <a:lnTo>
                    <a:pt x="49" y="179"/>
                  </a:lnTo>
                  <a:lnTo>
                    <a:pt x="20" y="179"/>
                  </a:lnTo>
                  <a:lnTo>
                    <a:pt x="20" y="179"/>
                  </a:lnTo>
                  <a:lnTo>
                    <a:pt x="30" y="159"/>
                  </a:lnTo>
                  <a:lnTo>
                    <a:pt x="40" y="149"/>
                  </a:lnTo>
                  <a:lnTo>
                    <a:pt x="40" y="139"/>
                  </a:lnTo>
                  <a:lnTo>
                    <a:pt x="20" y="129"/>
                  </a:lnTo>
                  <a:lnTo>
                    <a:pt x="0" y="129"/>
                  </a:lnTo>
                  <a:lnTo>
                    <a:pt x="10" y="129"/>
                  </a:lnTo>
                  <a:lnTo>
                    <a:pt x="10" y="119"/>
                  </a:lnTo>
                  <a:lnTo>
                    <a:pt x="0" y="90"/>
                  </a:lnTo>
                  <a:lnTo>
                    <a:pt x="20" y="80"/>
                  </a:lnTo>
                  <a:lnTo>
                    <a:pt x="60" y="60"/>
                  </a:lnTo>
                  <a:lnTo>
                    <a:pt x="60" y="60"/>
                  </a:lnTo>
                  <a:lnTo>
                    <a:pt x="89" y="40"/>
                  </a:lnTo>
                  <a:lnTo>
                    <a:pt x="109" y="40"/>
                  </a:lnTo>
                  <a:lnTo>
                    <a:pt x="129" y="30"/>
                  </a:lnTo>
                  <a:lnTo>
                    <a:pt x="139" y="20"/>
                  </a:lnTo>
                  <a:lnTo>
                    <a:pt x="139" y="20"/>
                  </a:lnTo>
                  <a:close/>
                </a:path>
              </a:pathLst>
            </a:custGeom>
            <a:solidFill>
              <a:schemeClr val="bg1"/>
            </a:solidFill>
            <a:ln w="12700" cap="flat" cmpd="sng">
              <a:solidFill>
                <a:schemeClr val="tx1"/>
              </a:solidFill>
              <a:prstDash val="solid"/>
              <a:bevel/>
              <a:headEnd/>
              <a:tailEnd/>
            </a:ln>
          </p:spPr>
          <p:txBody>
            <a:bodyPr/>
            <a:lstStyle/>
            <a:p>
              <a:endParaRPr lang="nl-NL"/>
            </a:p>
          </p:txBody>
        </p:sp>
      </p:grpSp>
      <p:grpSp>
        <p:nvGrpSpPr>
          <p:cNvPr id="44" name="Groep 43">
            <a:extLst>
              <a:ext uri="{FF2B5EF4-FFF2-40B4-BE49-F238E27FC236}">
                <a16:creationId xmlns:a16="http://schemas.microsoft.com/office/drawing/2014/main" id="{AF62A7C0-4992-EE03-2BD8-0DDA706FA770}"/>
              </a:ext>
            </a:extLst>
          </p:cNvPr>
          <p:cNvGrpSpPr>
            <a:grpSpLocks noChangeAspect="1"/>
          </p:cNvGrpSpPr>
          <p:nvPr/>
        </p:nvGrpSpPr>
        <p:grpSpPr>
          <a:xfrm>
            <a:off x="5793858" y="7827586"/>
            <a:ext cx="2488694" cy="2777753"/>
            <a:chOff x="916449" y="2902338"/>
            <a:chExt cx="6702940" cy="7909680"/>
          </a:xfrm>
        </p:grpSpPr>
        <p:sp>
          <p:nvSpPr>
            <p:cNvPr id="45" name="Freeform 531">
              <a:extLst>
                <a:ext uri="{FF2B5EF4-FFF2-40B4-BE49-F238E27FC236}">
                  <a16:creationId xmlns:a16="http://schemas.microsoft.com/office/drawing/2014/main" id="{0EE923C5-4379-A047-6C9D-1E1463A5CDD8}"/>
                </a:ext>
              </a:extLst>
            </p:cNvPr>
            <p:cNvSpPr>
              <a:spLocks noEditPoints="1"/>
            </p:cNvSpPr>
            <p:nvPr/>
          </p:nvSpPr>
          <p:spPr bwMode="auto">
            <a:xfrm>
              <a:off x="1907135" y="6367104"/>
              <a:ext cx="2236949" cy="1765318"/>
            </a:xfrm>
            <a:custGeom>
              <a:avLst/>
              <a:gdLst/>
              <a:ahLst/>
              <a:cxnLst>
                <a:cxn ang="0">
                  <a:pos x="2836" y="1058"/>
                </a:cxn>
                <a:cxn ang="0">
                  <a:pos x="2117" y="1989"/>
                </a:cxn>
                <a:cxn ang="0">
                  <a:pos x="2032" y="2074"/>
                </a:cxn>
                <a:cxn ang="0">
                  <a:pos x="1524" y="2667"/>
                </a:cxn>
                <a:cxn ang="0">
                  <a:pos x="1101" y="3090"/>
                </a:cxn>
                <a:cxn ang="0">
                  <a:pos x="677" y="3132"/>
                </a:cxn>
                <a:cxn ang="0">
                  <a:pos x="550" y="3556"/>
                </a:cxn>
                <a:cxn ang="0">
                  <a:pos x="847" y="3640"/>
                </a:cxn>
                <a:cxn ang="0">
                  <a:pos x="720" y="3979"/>
                </a:cxn>
                <a:cxn ang="0">
                  <a:pos x="1016" y="4402"/>
                </a:cxn>
                <a:cxn ang="0">
                  <a:pos x="1270" y="4529"/>
                </a:cxn>
                <a:cxn ang="0">
                  <a:pos x="1439" y="4572"/>
                </a:cxn>
                <a:cxn ang="0">
                  <a:pos x="1778" y="4783"/>
                </a:cxn>
                <a:cxn ang="0">
                  <a:pos x="1905" y="5037"/>
                </a:cxn>
                <a:cxn ang="0">
                  <a:pos x="2328" y="5249"/>
                </a:cxn>
                <a:cxn ang="0">
                  <a:pos x="2921" y="5545"/>
                </a:cxn>
                <a:cxn ang="0">
                  <a:pos x="3387" y="5630"/>
                </a:cxn>
                <a:cxn ang="0">
                  <a:pos x="3810" y="5630"/>
                </a:cxn>
                <a:cxn ang="0">
                  <a:pos x="4191" y="5503"/>
                </a:cxn>
                <a:cxn ang="0">
                  <a:pos x="4699" y="5207"/>
                </a:cxn>
                <a:cxn ang="0">
                  <a:pos x="4953" y="4868"/>
                </a:cxn>
                <a:cxn ang="0">
                  <a:pos x="5461" y="4783"/>
                </a:cxn>
                <a:cxn ang="0">
                  <a:pos x="5884" y="4572"/>
                </a:cxn>
                <a:cxn ang="0">
                  <a:pos x="6350" y="4656"/>
                </a:cxn>
                <a:cxn ang="0">
                  <a:pos x="6223" y="4402"/>
                </a:cxn>
                <a:cxn ang="0">
                  <a:pos x="6477" y="4275"/>
                </a:cxn>
                <a:cxn ang="0">
                  <a:pos x="6562" y="4148"/>
                </a:cxn>
                <a:cxn ang="0">
                  <a:pos x="6858" y="4021"/>
                </a:cxn>
                <a:cxn ang="0">
                  <a:pos x="7070" y="3640"/>
                </a:cxn>
                <a:cxn ang="0">
                  <a:pos x="7070" y="3259"/>
                </a:cxn>
                <a:cxn ang="0">
                  <a:pos x="6858" y="3005"/>
                </a:cxn>
                <a:cxn ang="0">
                  <a:pos x="6477" y="3175"/>
                </a:cxn>
                <a:cxn ang="0">
                  <a:pos x="6181" y="3217"/>
                </a:cxn>
                <a:cxn ang="0">
                  <a:pos x="5927" y="3344"/>
                </a:cxn>
                <a:cxn ang="0">
                  <a:pos x="5673" y="3556"/>
                </a:cxn>
                <a:cxn ang="0">
                  <a:pos x="5461" y="3344"/>
                </a:cxn>
                <a:cxn ang="0">
                  <a:pos x="5376" y="2963"/>
                </a:cxn>
                <a:cxn ang="0">
                  <a:pos x="5165" y="2878"/>
                </a:cxn>
                <a:cxn ang="0">
                  <a:pos x="5249" y="2540"/>
                </a:cxn>
                <a:cxn ang="0">
                  <a:pos x="5292" y="2328"/>
                </a:cxn>
                <a:cxn ang="0">
                  <a:pos x="5038" y="1905"/>
                </a:cxn>
                <a:cxn ang="0">
                  <a:pos x="5165" y="1735"/>
                </a:cxn>
                <a:cxn ang="0">
                  <a:pos x="5503" y="1735"/>
                </a:cxn>
                <a:cxn ang="0">
                  <a:pos x="5249" y="1270"/>
                </a:cxn>
                <a:cxn ang="0">
                  <a:pos x="5122" y="1016"/>
                </a:cxn>
                <a:cxn ang="0">
                  <a:pos x="4911" y="1016"/>
                </a:cxn>
                <a:cxn ang="0">
                  <a:pos x="4572" y="846"/>
                </a:cxn>
                <a:cxn ang="0">
                  <a:pos x="4318" y="931"/>
                </a:cxn>
                <a:cxn ang="0">
                  <a:pos x="3852" y="1016"/>
                </a:cxn>
                <a:cxn ang="0">
                  <a:pos x="3768" y="846"/>
                </a:cxn>
                <a:cxn ang="0">
                  <a:pos x="3990" y="334"/>
                </a:cxn>
                <a:cxn ang="0">
                  <a:pos x="3906" y="76"/>
                </a:cxn>
                <a:cxn ang="0">
                  <a:pos x="847" y="4445"/>
                </a:cxn>
                <a:cxn ang="0">
                  <a:pos x="169" y="4826"/>
                </a:cxn>
                <a:cxn ang="0">
                  <a:pos x="127" y="4995"/>
                </a:cxn>
              </a:cxnLst>
              <a:rect l="0" t="0" r="r" b="b"/>
              <a:pathLst>
                <a:path w="7239" h="5715">
                  <a:moveTo>
                    <a:pt x="3387" y="0"/>
                  </a:moveTo>
                  <a:lnTo>
                    <a:pt x="3133" y="550"/>
                  </a:lnTo>
                  <a:lnTo>
                    <a:pt x="3048" y="677"/>
                  </a:lnTo>
                  <a:lnTo>
                    <a:pt x="3006" y="762"/>
                  </a:lnTo>
                  <a:lnTo>
                    <a:pt x="2879" y="973"/>
                  </a:lnTo>
                  <a:lnTo>
                    <a:pt x="2836" y="1016"/>
                  </a:lnTo>
                  <a:lnTo>
                    <a:pt x="2836" y="1058"/>
                  </a:lnTo>
                  <a:lnTo>
                    <a:pt x="2752" y="1185"/>
                  </a:lnTo>
                  <a:lnTo>
                    <a:pt x="2709" y="1270"/>
                  </a:lnTo>
                  <a:lnTo>
                    <a:pt x="2582" y="1439"/>
                  </a:lnTo>
                  <a:lnTo>
                    <a:pt x="2328" y="1778"/>
                  </a:lnTo>
                  <a:lnTo>
                    <a:pt x="2201" y="1862"/>
                  </a:lnTo>
                  <a:lnTo>
                    <a:pt x="2201" y="1905"/>
                  </a:lnTo>
                  <a:lnTo>
                    <a:pt x="2117" y="1989"/>
                  </a:lnTo>
                  <a:lnTo>
                    <a:pt x="2074" y="1989"/>
                  </a:lnTo>
                  <a:lnTo>
                    <a:pt x="2074" y="2032"/>
                  </a:lnTo>
                  <a:lnTo>
                    <a:pt x="2074" y="2074"/>
                  </a:lnTo>
                  <a:lnTo>
                    <a:pt x="2117" y="2074"/>
                  </a:lnTo>
                  <a:lnTo>
                    <a:pt x="2074" y="2116"/>
                  </a:lnTo>
                  <a:lnTo>
                    <a:pt x="2074" y="2074"/>
                  </a:lnTo>
                  <a:lnTo>
                    <a:pt x="2032" y="2074"/>
                  </a:lnTo>
                  <a:lnTo>
                    <a:pt x="1990" y="2116"/>
                  </a:lnTo>
                  <a:lnTo>
                    <a:pt x="1947" y="2201"/>
                  </a:lnTo>
                  <a:lnTo>
                    <a:pt x="1905" y="2243"/>
                  </a:lnTo>
                  <a:lnTo>
                    <a:pt x="1778" y="2370"/>
                  </a:lnTo>
                  <a:lnTo>
                    <a:pt x="1693" y="2455"/>
                  </a:lnTo>
                  <a:lnTo>
                    <a:pt x="1566" y="2624"/>
                  </a:lnTo>
                  <a:lnTo>
                    <a:pt x="1524" y="2667"/>
                  </a:lnTo>
                  <a:lnTo>
                    <a:pt x="1439" y="2751"/>
                  </a:lnTo>
                  <a:lnTo>
                    <a:pt x="1397" y="2794"/>
                  </a:lnTo>
                  <a:lnTo>
                    <a:pt x="1397" y="2836"/>
                  </a:lnTo>
                  <a:lnTo>
                    <a:pt x="1312" y="2963"/>
                  </a:lnTo>
                  <a:lnTo>
                    <a:pt x="1228" y="3005"/>
                  </a:lnTo>
                  <a:lnTo>
                    <a:pt x="1143" y="3090"/>
                  </a:lnTo>
                  <a:lnTo>
                    <a:pt x="1101" y="3090"/>
                  </a:lnTo>
                  <a:lnTo>
                    <a:pt x="1058" y="3048"/>
                  </a:lnTo>
                  <a:lnTo>
                    <a:pt x="847" y="3005"/>
                  </a:lnTo>
                  <a:lnTo>
                    <a:pt x="804" y="3048"/>
                  </a:lnTo>
                  <a:lnTo>
                    <a:pt x="762" y="3048"/>
                  </a:lnTo>
                  <a:lnTo>
                    <a:pt x="720" y="3048"/>
                  </a:lnTo>
                  <a:lnTo>
                    <a:pt x="677" y="3090"/>
                  </a:lnTo>
                  <a:lnTo>
                    <a:pt x="677" y="3132"/>
                  </a:lnTo>
                  <a:lnTo>
                    <a:pt x="635" y="3175"/>
                  </a:lnTo>
                  <a:lnTo>
                    <a:pt x="593" y="3259"/>
                  </a:lnTo>
                  <a:lnTo>
                    <a:pt x="635" y="3302"/>
                  </a:lnTo>
                  <a:lnTo>
                    <a:pt x="677" y="3344"/>
                  </a:lnTo>
                  <a:lnTo>
                    <a:pt x="677" y="3386"/>
                  </a:lnTo>
                  <a:lnTo>
                    <a:pt x="593" y="3471"/>
                  </a:lnTo>
                  <a:lnTo>
                    <a:pt x="550" y="3556"/>
                  </a:lnTo>
                  <a:lnTo>
                    <a:pt x="466" y="3683"/>
                  </a:lnTo>
                  <a:lnTo>
                    <a:pt x="508" y="3683"/>
                  </a:lnTo>
                  <a:lnTo>
                    <a:pt x="550" y="3683"/>
                  </a:lnTo>
                  <a:lnTo>
                    <a:pt x="593" y="3725"/>
                  </a:lnTo>
                  <a:lnTo>
                    <a:pt x="635" y="3683"/>
                  </a:lnTo>
                  <a:lnTo>
                    <a:pt x="804" y="3640"/>
                  </a:lnTo>
                  <a:lnTo>
                    <a:pt x="847" y="3640"/>
                  </a:lnTo>
                  <a:lnTo>
                    <a:pt x="889" y="3725"/>
                  </a:lnTo>
                  <a:lnTo>
                    <a:pt x="847" y="3725"/>
                  </a:lnTo>
                  <a:lnTo>
                    <a:pt x="847" y="3767"/>
                  </a:lnTo>
                  <a:lnTo>
                    <a:pt x="762" y="3852"/>
                  </a:lnTo>
                  <a:lnTo>
                    <a:pt x="762" y="3894"/>
                  </a:lnTo>
                  <a:lnTo>
                    <a:pt x="720" y="3937"/>
                  </a:lnTo>
                  <a:lnTo>
                    <a:pt x="720" y="3979"/>
                  </a:lnTo>
                  <a:lnTo>
                    <a:pt x="762" y="4021"/>
                  </a:lnTo>
                  <a:lnTo>
                    <a:pt x="931" y="4275"/>
                  </a:lnTo>
                  <a:lnTo>
                    <a:pt x="931" y="4318"/>
                  </a:lnTo>
                  <a:lnTo>
                    <a:pt x="931" y="4360"/>
                  </a:lnTo>
                  <a:lnTo>
                    <a:pt x="889" y="4402"/>
                  </a:lnTo>
                  <a:lnTo>
                    <a:pt x="974" y="4360"/>
                  </a:lnTo>
                  <a:lnTo>
                    <a:pt x="1016" y="4402"/>
                  </a:lnTo>
                  <a:lnTo>
                    <a:pt x="1058" y="4445"/>
                  </a:lnTo>
                  <a:lnTo>
                    <a:pt x="1101" y="4487"/>
                  </a:lnTo>
                  <a:lnTo>
                    <a:pt x="1101" y="4529"/>
                  </a:lnTo>
                  <a:lnTo>
                    <a:pt x="1143" y="4529"/>
                  </a:lnTo>
                  <a:lnTo>
                    <a:pt x="1185" y="4529"/>
                  </a:lnTo>
                  <a:lnTo>
                    <a:pt x="1228" y="4529"/>
                  </a:lnTo>
                  <a:lnTo>
                    <a:pt x="1270" y="4529"/>
                  </a:lnTo>
                  <a:lnTo>
                    <a:pt x="1228" y="4572"/>
                  </a:lnTo>
                  <a:lnTo>
                    <a:pt x="1270" y="4614"/>
                  </a:lnTo>
                  <a:lnTo>
                    <a:pt x="1312" y="4614"/>
                  </a:lnTo>
                  <a:lnTo>
                    <a:pt x="1312" y="4572"/>
                  </a:lnTo>
                  <a:lnTo>
                    <a:pt x="1355" y="4572"/>
                  </a:lnTo>
                  <a:lnTo>
                    <a:pt x="1397" y="4572"/>
                  </a:lnTo>
                  <a:lnTo>
                    <a:pt x="1439" y="4572"/>
                  </a:lnTo>
                  <a:lnTo>
                    <a:pt x="1482" y="4614"/>
                  </a:lnTo>
                  <a:lnTo>
                    <a:pt x="1566" y="4741"/>
                  </a:lnTo>
                  <a:lnTo>
                    <a:pt x="1609" y="4741"/>
                  </a:lnTo>
                  <a:lnTo>
                    <a:pt x="1651" y="4741"/>
                  </a:lnTo>
                  <a:lnTo>
                    <a:pt x="1693" y="4741"/>
                  </a:lnTo>
                  <a:lnTo>
                    <a:pt x="1693" y="4783"/>
                  </a:lnTo>
                  <a:lnTo>
                    <a:pt x="1778" y="4783"/>
                  </a:lnTo>
                  <a:lnTo>
                    <a:pt x="1820" y="4868"/>
                  </a:lnTo>
                  <a:lnTo>
                    <a:pt x="1863" y="4910"/>
                  </a:lnTo>
                  <a:lnTo>
                    <a:pt x="1905" y="4910"/>
                  </a:lnTo>
                  <a:lnTo>
                    <a:pt x="1947" y="4910"/>
                  </a:lnTo>
                  <a:lnTo>
                    <a:pt x="1905" y="4953"/>
                  </a:lnTo>
                  <a:lnTo>
                    <a:pt x="1863" y="4953"/>
                  </a:lnTo>
                  <a:lnTo>
                    <a:pt x="1905" y="5037"/>
                  </a:lnTo>
                  <a:lnTo>
                    <a:pt x="1947" y="5080"/>
                  </a:lnTo>
                  <a:lnTo>
                    <a:pt x="2074" y="5122"/>
                  </a:lnTo>
                  <a:lnTo>
                    <a:pt x="2074" y="5164"/>
                  </a:lnTo>
                  <a:lnTo>
                    <a:pt x="2159" y="5164"/>
                  </a:lnTo>
                  <a:lnTo>
                    <a:pt x="2244" y="5207"/>
                  </a:lnTo>
                  <a:lnTo>
                    <a:pt x="2328" y="5207"/>
                  </a:lnTo>
                  <a:lnTo>
                    <a:pt x="2328" y="5249"/>
                  </a:lnTo>
                  <a:lnTo>
                    <a:pt x="2498" y="5291"/>
                  </a:lnTo>
                  <a:lnTo>
                    <a:pt x="2582" y="5376"/>
                  </a:lnTo>
                  <a:lnTo>
                    <a:pt x="2625" y="5376"/>
                  </a:lnTo>
                  <a:lnTo>
                    <a:pt x="2709" y="5418"/>
                  </a:lnTo>
                  <a:lnTo>
                    <a:pt x="2836" y="5503"/>
                  </a:lnTo>
                  <a:lnTo>
                    <a:pt x="2879" y="5503"/>
                  </a:lnTo>
                  <a:lnTo>
                    <a:pt x="2921" y="5545"/>
                  </a:lnTo>
                  <a:lnTo>
                    <a:pt x="3006" y="5545"/>
                  </a:lnTo>
                  <a:lnTo>
                    <a:pt x="3006" y="5588"/>
                  </a:lnTo>
                  <a:lnTo>
                    <a:pt x="3175" y="5588"/>
                  </a:lnTo>
                  <a:lnTo>
                    <a:pt x="3217" y="5588"/>
                  </a:lnTo>
                  <a:lnTo>
                    <a:pt x="3302" y="5630"/>
                  </a:lnTo>
                  <a:lnTo>
                    <a:pt x="3344" y="5630"/>
                  </a:lnTo>
                  <a:lnTo>
                    <a:pt x="3387" y="5630"/>
                  </a:lnTo>
                  <a:lnTo>
                    <a:pt x="3429" y="5672"/>
                  </a:lnTo>
                  <a:lnTo>
                    <a:pt x="3471" y="5672"/>
                  </a:lnTo>
                  <a:lnTo>
                    <a:pt x="3514" y="5715"/>
                  </a:lnTo>
                  <a:lnTo>
                    <a:pt x="3556" y="5715"/>
                  </a:lnTo>
                  <a:lnTo>
                    <a:pt x="3641" y="5672"/>
                  </a:lnTo>
                  <a:lnTo>
                    <a:pt x="3683" y="5672"/>
                  </a:lnTo>
                  <a:lnTo>
                    <a:pt x="3810" y="5630"/>
                  </a:lnTo>
                  <a:lnTo>
                    <a:pt x="3852" y="5630"/>
                  </a:lnTo>
                  <a:lnTo>
                    <a:pt x="3895" y="5588"/>
                  </a:lnTo>
                  <a:lnTo>
                    <a:pt x="3979" y="5588"/>
                  </a:lnTo>
                  <a:lnTo>
                    <a:pt x="4022" y="5503"/>
                  </a:lnTo>
                  <a:lnTo>
                    <a:pt x="4064" y="5545"/>
                  </a:lnTo>
                  <a:lnTo>
                    <a:pt x="4106" y="5545"/>
                  </a:lnTo>
                  <a:lnTo>
                    <a:pt x="4191" y="5503"/>
                  </a:lnTo>
                  <a:lnTo>
                    <a:pt x="4191" y="5545"/>
                  </a:lnTo>
                  <a:lnTo>
                    <a:pt x="4360" y="5503"/>
                  </a:lnTo>
                  <a:lnTo>
                    <a:pt x="4403" y="5461"/>
                  </a:lnTo>
                  <a:lnTo>
                    <a:pt x="4445" y="5418"/>
                  </a:lnTo>
                  <a:lnTo>
                    <a:pt x="4530" y="5376"/>
                  </a:lnTo>
                  <a:lnTo>
                    <a:pt x="4657" y="5291"/>
                  </a:lnTo>
                  <a:lnTo>
                    <a:pt x="4699" y="5207"/>
                  </a:lnTo>
                  <a:lnTo>
                    <a:pt x="4741" y="5164"/>
                  </a:lnTo>
                  <a:lnTo>
                    <a:pt x="4784" y="5037"/>
                  </a:lnTo>
                  <a:lnTo>
                    <a:pt x="4826" y="4995"/>
                  </a:lnTo>
                  <a:lnTo>
                    <a:pt x="4868" y="4953"/>
                  </a:lnTo>
                  <a:lnTo>
                    <a:pt x="4868" y="4910"/>
                  </a:lnTo>
                  <a:lnTo>
                    <a:pt x="4911" y="4868"/>
                  </a:lnTo>
                  <a:lnTo>
                    <a:pt x="4953" y="4868"/>
                  </a:lnTo>
                  <a:lnTo>
                    <a:pt x="5038" y="4826"/>
                  </a:lnTo>
                  <a:lnTo>
                    <a:pt x="5122" y="4826"/>
                  </a:lnTo>
                  <a:lnTo>
                    <a:pt x="5207" y="4826"/>
                  </a:lnTo>
                  <a:lnTo>
                    <a:pt x="5292" y="4826"/>
                  </a:lnTo>
                  <a:lnTo>
                    <a:pt x="5334" y="4826"/>
                  </a:lnTo>
                  <a:lnTo>
                    <a:pt x="5419" y="4783"/>
                  </a:lnTo>
                  <a:lnTo>
                    <a:pt x="5461" y="4783"/>
                  </a:lnTo>
                  <a:lnTo>
                    <a:pt x="5546" y="4656"/>
                  </a:lnTo>
                  <a:lnTo>
                    <a:pt x="5588" y="4656"/>
                  </a:lnTo>
                  <a:lnTo>
                    <a:pt x="5673" y="4614"/>
                  </a:lnTo>
                  <a:lnTo>
                    <a:pt x="5715" y="4572"/>
                  </a:lnTo>
                  <a:lnTo>
                    <a:pt x="5800" y="4572"/>
                  </a:lnTo>
                  <a:lnTo>
                    <a:pt x="5842" y="4572"/>
                  </a:lnTo>
                  <a:lnTo>
                    <a:pt x="5884" y="4572"/>
                  </a:lnTo>
                  <a:lnTo>
                    <a:pt x="5969" y="4614"/>
                  </a:lnTo>
                  <a:lnTo>
                    <a:pt x="6054" y="4614"/>
                  </a:lnTo>
                  <a:lnTo>
                    <a:pt x="6096" y="4614"/>
                  </a:lnTo>
                  <a:lnTo>
                    <a:pt x="6138" y="4656"/>
                  </a:lnTo>
                  <a:lnTo>
                    <a:pt x="6223" y="4656"/>
                  </a:lnTo>
                  <a:lnTo>
                    <a:pt x="6265" y="4656"/>
                  </a:lnTo>
                  <a:lnTo>
                    <a:pt x="6350" y="4656"/>
                  </a:lnTo>
                  <a:lnTo>
                    <a:pt x="6350" y="4614"/>
                  </a:lnTo>
                  <a:lnTo>
                    <a:pt x="6392" y="4445"/>
                  </a:lnTo>
                  <a:lnTo>
                    <a:pt x="6308" y="4445"/>
                  </a:lnTo>
                  <a:lnTo>
                    <a:pt x="6265" y="4445"/>
                  </a:lnTo>
                  <a:lnTo>
                    <a:pt x="6223" y="4445"/>
                  </a:lnTo>
                  <a:lnTo>
                    <a:pt x="6181" y="4402"/>
                  </a:lnTo>
                  <a:lnTo>
                    <a:pt x="6223" y="4402"/>
                  </a:lnTo>
                  <a:lnTo>
                    <a:pt x="6181" y="4360"/>
                  </a:lnTo>
                  <a:lnTo>
                    <a:pt x="6181" y="4318"/>
                  </a:lnTo>
                  <a:lnTo>
                    <a:pt x="6181" y="4275"/>
                  </a:lnTo>
                  <a:lnTo>
                    <a:pt x="6223" y="4318"/>
                  </a:lnTo>
                  <a:lnTo>
                    <a:pt x="6308" y="4275"/>
                  </a:lnTo>
                  <a:lnTo>
                    <a:pt x="6350" y="4318"/>
                  </a:lnTo>
                  <a:lnTo>
                    <a:pt x="6477" y="4275"/>
                  </a:lnTo>
                  <a:lnTo>
                    <a:pt x="6519" y="4318"/>
                  </a:lnTo>
                  <a:lnTo>
                    <a:pt x="6562" y="4318"/>
                  </a:lnTo>
                  <a:lnTo>
                    <a:pt x="6562" y="4275"/>
                  </a:lnTo>
                  <a:lnTo>
                    <a:pt x="6519" y="4233"/>
                  </a:lnTo>
                  <a:lnTo>
                    <a:pt x="6519" y="4191"/>
                  </a:lnTo>
                  <a:lnTo>
                    <a:pt x="6519" y="4148"/>
                  </a:lnTo>
                  <a:lnTo>
                    <a:pt x="6562" y="4148"/>
                  </a:lnTo>
                  <a:lnTo>
                    <a:pt x="6604" y="4148"/>
                  </a:lnTo>
                  <a:lnTo>
                    <a:pt x="6646" y="4148"/>
                  </a:lnTo>
                  <a:lnTo>
                    <a:pt x="6689" y="4106"/>
                  </a:lnTo>
                  <a:lnTo>
                    <a:pt x="6689" y="4021"/>
                  </a:lnTo>
                  <a:lnTo>
                    <a:pt x="6731" y="4021"/>
                  </a:lnTo>
                  <a:lnTo>
                    <a:pt x="6816" y="4021"/>
                  </a:lnTo>
                  <a:lnTo>
                    <a:pt x="6858" y="4021"/>
                  </a:lnTo>
                  <a:lnTo>
                    <a:pt x="6858" y="3979"/>
                  </a:lnTo>
                  <a:lnTo>
                    <a:pt x="6900" y="3937"/>
                  </a:lnTo>
                  <a:lnTo>
                    <a:pt x="6943" y="3810"/>
                  </a:lnTo>
                  <a:lnTo>
                    <a:pt x="6943" y="3767"/>
                  </a:lnTo>
                  <a:lnTo>
                    <a:pt x="6985" y="3767"/>
                  </a:lnTo>
                  <a:lnTo>
                    <a:pt x="7027" y="3683"/>
                  </a:lnTo>
                  <a:lnTo>
                    <a:pt x="7070" y="3640"/>
                  </a:lnTo>
                  <a:lnTo>
                    <a:pt x="7027" y="3640"/>
                  </a:lnTo>
                  <a:lnTo>
                    <a:pt x="7070" y="3598"/>
                  </a:lnTo>
                  <a:lnTo>
                    <a:pt x="7154" y="3513"/>
                  </a:lnTo>
                  <a:lnTo>
                    <a:pt x="7197" y="3386"/>
                  </a:lnTo>
                  <a:lnTo>
                    <a:pt x="7239" y="3302"/>
                  </a:lnTo>
                  <a:lnTo>
                    <a:pt x="7197" y="3302"/>
                  </a:lnTo>
                  <a:lnTo>
                    <a:pt x="7070" y="3259"/>
                  </a:lnTo>
                  <a:lnTo>
                    <a:pt x="7070" y="3217"/>
                  </a:lnTo>
                  <a:lnTo>
                    <a:pt x="7027" y="3175"/>
                  </a:lnTo>
                  <a:lnTo>
                    <a:pt x="7027" y="3132"/>
                  </a:lnTo>
                  <a:lnTo>
                    <a:pt x="7027" y="3090"/>
                  </a:lnTo>
                  <a:lnTo>
                    <a:pt x="6985" y="3048"/>
                  </a:lnTo>
                  <a:lnTo>
                    <a:pt x="6900" y="3005"/>
                  </a:lnTo>
                  <a:lnTo>
                    <a:pt x="6858" y="3005"/>
                  </a:lnTo>
                  <a:lnTo>
                    <a:pt x="6816" y="2963"/>
                  </a:lnTo>
                  <a:lnTo>
                    <a:pt x="6773" y="3005"/>
                  </a:lnTo>
                  <a:lnTo>
                    <a:pt x="6731" y="3005"/>
                  </a:lnTo>
                  <a:lnTo>
                    <a:pt x="6646" y="3048"/>
                  </a:lnTo>
                  <a:lnTo>
                    <a:pt x="6604" y="3048"/>
                  </a:lnTo>
                  <a:lnTo>
                    <a:pt x="6562" y="3090"/>
                  </a:lnTo>
                  <a:lnTo>
                    <a:pt x="6477" y="3175"/>
                  </a:lnTo>
                  <a:lnTo>
                    <a:pt x="6435" y="3217"/>
                  </a:lnTo>
                  <a:lnTo>
                    <a:pt x="6435" y="3259"/>
                  </a:lnTo>
                  <a:lnTo>
                    <a:pt x="6392" y="3302"/>
                  </a:lnTo>
                  <a:lnTo>
                    <a:pt x="6350" y="3302"/>
                  </a:lnTo>
                  <a:lnTo>
                    <a:pt x="6265" y="3217"/>
                  </a:lnTo>
                  <a:lnTo>
                    <a:pt x="6223" y="3217"/>
                  </a:lnTo>
                  <a:lnTo>
                    <a:pt x="6181" y="3217"/>
                  </a:lnTo>
                  <a:lnTo>
                    <a:pt x="6138" y="3259"/>
                  </a:lnTo>
                  <a:lnTo>
                    <a:pt x="6096" y="3302"/>
                  </a:lnTo>
                  <a:lnTo>
                    <a:pt x="6096" y="3344"/>
                  </a:lnTo>
                  <a:lnTo>
                    <a:pt x="6054" y="3386"/>
                  </a:lnTo>
                  <a:lnTo>
                    <a:pt x="6011" y="3386"/>
                  </a:lnTo>
                  <a:lnTo>
                    <a:pt x="5969" y="3344"/>
                  </a:lnTo>
                  <a:lnTo>
                    <a:pt x="5927" y="3344"/>
                  </a:lnTo>
                  <a:lnTo>
                    <a:pt x="5884" y="3344"/>
                  </a:lnTo>
                  <a:lnTo>
                    <a:pt x="5842" y="3386"/>
                  </a:lnTo>
                  <a:lnTo>
                    <a:pt x="5800" y="3471"/>
                  </a:lnTo>
                  <a:lnTo>
                    <a:pt x="5757" y="3471"/>
                  </a:lnTo>
                  <a:lnTo>
                    <a:pt x="5757" y="3513"/>
                  </a:lnTo>
                  <a:lnTo>
                    <a:pt x="5715" y="3513"/>
                  </a:lnTo>
                  <a:lnTo>
                    <a:pt x="5673" y="3556"/>
                  </a:lnTo>
                  <a:lnTo>
                    <a:pt x="5630" y="3556"/>
                  </a:lnTo>
                  <a:lnTo>
                    <a:pt x="5546" y="3556"/>
                  </a:lnTo>
                  <a:lnTo>
                    <a:pt x="5503" y="3556"/>
                  </a:lnTo>
                  <a:lnTo>
                    <a:pt x="5503" y="3513"/>
                  </a:lnTo>
                  <a:lnTo>
                    <a:pt x="5503" y="3429"/>
                  </a:lnTo>
                  <a:lnTo>
                    <a:pt x="5461" y="3386"/>
                  </a:lnTo>
                  <a:lnTo>
                    <a:pt x="5461" y="3344"/>
                  </a:lnTo>
                  <a:lnTo>
                    <a:pt x="5419" y="3302"/>
                  </a:lnTo>
                  <a:lnTo>
                    <a:pt x="5376" y="3259"/>
                  </a:lnTo>
                  <a:lnTo>
                    <a:pt x="5334" y="3217"/>
                  </a:lnTo>
                  <a:lnTo>
                    <a:pt x="5292" y="3132"/>
                  </a:lnTo>
                  <a:lnTo>
                    <a:pt x="5249" y="3048"/>
                  </a:lnTo>
                  <a:lnTo>
                    <a:pt x="5207" y="3005"/>
                  </a:lnTo>
                  <a:lnTo>
                    <a:pt x="5376" y="2963"/>
                  </a:lnTo>
                  <a:lnTo>
                    <a:pt x="5419" y="2963"/>
                  </a:lnTo>
                  <a:lnTo>
                    <a:pt x="5376" y="2836"/>
                  </a:lnTo>
                  <a:lnTo>
                    <a:pt x="5334" y="2836"/>
                  </a:lnTo>
                  <a:lnTo>
                    <a:pt x="5292" y="2836"/>
                  </a:lnTo>
                  <a:lnTo>
                    <a:pt x="5249" y="2836"/>
                  </a:lnTo>
                  <a:lnTo>
                    <a:pt x="5207" y="2836"/>
                  </a:lnTo>
                  <a:lnTo>
                    <a:pt x="5165" y="2878"/>
                  </a:lnTo>
                  <a:lnTo>
                    <a:pt x="5122" y="2878"/>
                  </a:lnTo>
                  <a:lnTo>
                    <a:pt x="5080" y="2794"/>
                  </a:lnTo>
                  <a:lnTo>
                    <a:pt x="5122" y="2751"/>
                  </a:lnTo>
                  <a:lnTo>
                    <a:pt x="5122" y="2709"/>
                  </a:lnTo>
                  <a:lnTo>
                    <a:pt x="5165" y="2709"/>
                  </a:lnTo>
                  <a:lnTo>
                    <a:pt x="5207" y="2667"/>
                  </a:lnTo>
                  <a:lnTo>
                    <a:pt x="5249" y="2540"/>
                  </a:lnTo>
                  <a:lnTo>
                    <a:pt x="5376" y="2455"/>
                  </a:lnTo>
                  <a:lnTo>
                    <a:pt x="5419" y="2455"/>
                  </a:lnTo>
                  <a:lnTo>
                    <a:pt x="5461" y="2413"/>
                  </a:lnTo>
                  <a:lnTo>
                    <a:pt x="5503" y="2370"/>
                  </a:lnTo>
                  <a:lnTo>
                    <a:pt x="5334" y="2370"/>
                  </a:lnTo>
                  <a:lnTo>
                    <a:pt x="5249" y="2370"/>
                  </a:lnTo>
                  <a:lnTo>
                    <a:pt x="5292" y="2328"/>
                  </a:lnTo>
                  <a:lnTo>
                    <a:pt x="5249" y="2328"/>
                  </a:lnTo>
                  <a:lnTo>
                    <a:pt x="5249" y="2286"/>
                  </a:lnTo>
                  <a:lnTo>
                    <a:pt x="5207" y="2159"/>
                  </a:lnTo>
                  <a:lnTo>
                    <a:pt x="5207" y="2032"/>
                  </a:lnTo>
                  <a:lnTo>
                    <a:pt x="5249" y="2032"/>
                  </a:lnTo>
                  <a:lnTo>
                    <a:pt x="5207" y="1989"/>
                  </a:lnTo>
                  <a:lnTo>
                    <a:pt x="5038" y="1905"/>
                  </a:lnTo>
                  <a:lnTo>
                    <a:pt x="5038" y="1862"/>
                  </a:lnTo>
                  <a:lnTo>
                    <a:pt x="5080" y="1862"/>
                  </a:lnTo>
                  <a:lnTo>
                    <a:pt x="5122" y="1862"/>
                  </a:lnTo>
                  <a:lnTo>
                    <a:pt x="5122" y="1820"/>
                  </a:lnTo>
                  <a:lnTo>
                    <a:pt x="5165" y="1778"/>
                  </a:lnTo>
                  <a:lnTo>
                    <a:pt x="5122" y="1778"/>
                  </a:lnTo>
                  <a:lnTo>
                    <a:pt x="5165" y="1735"/>
                  </a:lnTo>
                  <a:lnTo>
                    <a:pt x="5207" y="1693"/>
                  </a:lnTo>
                  <a:lnTo>
                    <a:pt x="5292" y="1693"/>
                  </a:lnTo>
                  <a:lnTo>
                    <a:pt x="5292" y="1735"/>
                  </a:lnTo>
                  <a:lnTo>
                    <a:pt x="5334" y="1735"/>
                  </a:lnTo>
                  <a:lnTo>
                    <a:pt x="5419" y="1735"/>
                  </a:lnTo>
                  <a:lnTo>
                    <a:pt x="5461" y="1735"/>
                  </a:lnTo>
                  <a:lnTo>
                    <a:pt x="5503" y="1735"/>
                  </a:lnTo>
                  <a:lnTo>
                    <a:pt x="5503" y="1566"/>
                  </a:lnTo>
                  <a:lnTo>
                    <a:pt x="5630" y="1524"/>
                  </a:lnTo>
                  <a:lnTo>
                    <a:pt x="5461" y="1397"/>
                  </a:lnTo>
                  <a:lnTo>
                    <a:pt x="5419" y="1354"/>
                  </a:lnTo>
                  <a:lnTo>
                    <a:pt x="5334" y="1354"/>
                  </a:lnTo>
                  <a:lnTo>
                    <a:pt x="5292" y="1312"/>
                  </a:lnTo>
                  <a:lnTo>
                    <a:pt x="5249" y="1270"/>
                  </a:lnTo>
                  <a:lnTo>
                    <a:pt x="5249" y="1227"/>
                  </a:lnTo>
                  <a:lnTo>
                    <a:pt x="5207" y="1227"/>
                  </a:lnTo>
                  <a:lnTo>
                    <a:pt x="5165" y="1185"/>
                  </a:lnTo>
                  <a:lnTo>
                    <a:pt x="5165" y="1143"/>
                  </a:lnTo>
                  <a:lnTo>
                    <a:pt x="5122" y="1143"/>
                  </a:lnTo>
                  <a:lnTo>
                    <a:pt x="5122" y="1100"/>
                  </a:lnTo>
                  <a:lnTo>
                    <a:pt x="5122" y="1016"/>
                  </a:lnTo>
                  <a:lnTo>
                    <a:pt x="5080" y="973"/>
                  </a:lnTo>
                  <a:lnTo>
                    <a:pt x="5080" y="931"/>
                  </a:lnTo>
                  <a:lnTo>
                    <a:pt x="5038" y="931"/>
                  </a:lnTo>
                  <a:lnTo>
                    <a:pt x="4995" y="931"/>
                  </a:lnTo>
                  <a:lnTo>
                    <a:pt x="4953" y="931"/>
                  </a:lnTo>
                  <a:lnTo>
                    <a:pt x="4953" y="973"/>
                  </a:lnTo>
                  <a:lnTo>
                    <a:pt x="4911" y="1016"/>
                  </a:lnTo>
                  <a:lnTo>
                    <a:pt x="4826" y="1016"/>
                  </a:lnTo>
                  <a:lnTo>
                    <a:pt x="4784" y="1016"/>
                  </a:lnTo>
                  <a:lnTo>
                    <a:pt x="4741" y="1100"/>
                  </a:lnTo>
                  <a:lnTo>
                    <a:pt x="4699" y="1058"/>
                  </a:lnTo>
                  <a:lnTo>
                    <a:pt x="4657" y="1016"/>
                  </a:lnTo>
                  <a:lnTo>
                    <a:pt x="4699" y="889"/>
                  </a:lnTo>
                  <a:lnTo>
                    <a:pt x="4572" y="846"/>
                  </a:lnTo>
                  <a:lnTo>
                    <a:pt x="4530" y="889"/>
                  </a:lnTo>
                  <a:lnTo>
                    <a:pt x="4487" y="931"/>
                  </a:lnTo>
                  <a:lnTo>
                    <a:pt x="4445" y="931"/>
                  </a:lnTo>
                  <a:lnTo>
                    <a:pt x="4403" y="931"/>
                  </a:lnTo>
                  <a:lnTo>
                    <a:pt x="4360" y="889"/>
                  </a:lnTo>
                  <a:lnTo>
                    <a:pt x="4360" y="931"/>
                  </a:lnTo>
                  <a:lnTo>
                    <a:pt x="4318" y="931"/>
                  </a:lnTo>
                  <a:lnTo>
                    <a:pt x="4233" y="973"/>
                  </a:lnTo>
                  <a:lnTo>
                    <a:pt x="4191" y="1016"/>
                  </a:lnTo>
                  <a:lnTo>
                    <a:pt x="4149" y="1016"/>
                  </a:lnTo>
                  <a:lnTo>
                    <a:pt x="4106" y="1016"/>
                  </a:lnTo>
                  <a:lnTo>
                    <a:pt x="3979" y="1016"/>
                  </a:lnTo>
                  <a:lnTo>
                    <a:pt x="3895" y="973"/>
                  </a:lnTo>
                  <a:lnTo>
                    <a:pt x="3852" y="1016"/>
                  </a:lnTo>
                  <a:lnTo>
                    <a:pt x="3810" y="1016"/>
                  </a:lnTo>
                  <a:lnTo>
                    <a:pt x="3768" y="973"/>
                  </a:lnTo>
                  <a:lnTo>
                    <a:pt x="3725" y="973"/>
                  </a:lnTo>
                  <a:lnTo>
                    <a:pt x="3725" y="931"/>
                  </a:lnTo>
                  <a:lnTo>
                    <a:pt x="3725" y="889"/>
                  </a:lnTo>
                  <a:lnTo>
                    <a:pt x="3725" y="846"/>
                  </a:lnTo>
                  <a:lnTo>
                    <a:pt x="3768" y="846"/>
                  </a:lnTo>
                  <a:lnTo>
                    <a:pt x="3768" y="804"/>
                  </a:lnTo>
                  <a:lnTo>
                    <a:pt x="3810" y="762"/>
                  </a:lnTo>
                  <a:lnTo>
                    <a:pt x="3810" y="677"/>
                  </a:lnTo>
                  <a:lnTo>
                    <a:pt x="3817" y="529"/>
                  </a:lnTo>
                  <a:lnTo>
                    <a:pt x="3934" y="418"/>
                  </a:lnTo>
                  <a:lnTo>
                    <a:pt x="3938" y="339"/>
                  </a:lnTo>
                  <a:lnTo>
                    <a:pt x="3990" y="334"/>
                  </a:lnTo>
                  <a:lnTo>
                    <a:pt x="3984" y="230"/>
                  </a:lnTo>
                  <a:lnTo>
                    <a:pt x="4030" y="198"/>
                  </a:lnTo>
                  <a:lnTo>
                    <a:pt x="4067" y="119"/>
                  </a:lnTo>
                  <a:lnTo>
                    <a:pt x="4031" y="199"/>
                  </a:lnTo>
                  <a:lnTo>
                    <a:pt x="4065" y="118"/>
                  </a:lnTo>
                  <a:lnTo>
                    <a:pt x="3981" y="78"/>
                  </a:lnTo>
                  <a:lnTo>
                    <a:pt x="3906" y="76"/>
                  </a:lnTo>
                  <a:lnTo>
                    <a:pt x="3850" y="113"/>
                  </a:lnTo>
                  <a:lnTo>
                    <a:pt x="3816" y="88"/>
                  </a:lnTo>
                  <a:lnTo>
                    <a:pt x="3810" y="169"/>
                  </a:lnTo>
                  <a:lnTo>
                    <a:pt x="3683" y="127"/>
                  </a:lnTo>
                  <a:lnTo>
                    <a:pt x="3387" y="0"/>
                  </a:lnTo>
                  <a:close/>
                  <a:moveTo>
                    <a:pt x="889" y="4402"/>
                  </a:moveTo>
                  <a:lnTo>
                    <a:pt x="847" y="4445"/>
                  </a:lnTo>
                  <a:lnTo>
                    <a:pt x="889" y="4445"/>
                  </a:lnTo>
                  <a:lnTo>
                    <a:pt x="889" y="4402"/>
                  </a:lnTo>
                  <a:close/>
                  <a:moveTo>
                    <a:pt x="3048" y="4656"/>
                  </a:moveTo>
                  <a:lnTo>
                    <a:pt x="3090" y="4656"/>
                  </a:lnTo>
                  <a:lnTo>
                    <a:pt x="3048" y="4699"/>
                  </a:lnTo>
                  <a:lnTo>
                    <a:pt x="3048" y="4656"/>
                  </a:lnTo>
                  <a:close/>
                  <a:moveTo>
                    <a:pt x="169" y="4826"/>
                  </a:moveTo>
                  <a:lnTo>
                    <a:pt x="127" y="4868"/>
                  </a:lnTo>
                  <a:lnTo>
                    <a:pt x="85" y="4910"/>
                  </a:lnTo>
                  <a:lnTo>
                    <a:pt x="85" y="4953"/>
                  </a:lnTo>
                  <a:lnTo>
                    <a:pt x="0" y="4995"/>
                  </a:lnTo>
                  <a:lnTo>
                    <a:pt x="0" y="5037"/>
                  </a:lnTo>
                  <a:lnTo>
                    <a:pt x="42" y="5037"/>
                  </a:lnTo>
                  <a:lnTo>
                    <a:pt x="127" y="4995"/>
                  </a:lnTo>
                  <a:lnTo>
                    <a:pt x="212" y="4953"/>
                  </a:lnTo>
                  <a:lnTo>
                    <a:pt x="296" y="4953"/>
                  </a:lnTo>
                  <a:lnTo>
                    <a:pt x="212" y="4868"/>
                  </a:lnTo>
                  <a:lnTo>
                    <a:pt x="169" y="4868"/>
                  </a:lnTo>
                  <a:lnTo>
                    <a:pt x="169" y="4826"/>
                  </a:lnTo>
                  <a:close/>
                </a:path>
              </a:pathLst>
            </a:custGeom>
            <a:noFill/>
            <a:ln w="12700" cap="flat" cmpd="sng">
              <a:solidFill>
                <a:schemeClr val="tx1"/>
              </a:solidFill>
              <a:prstDash val="solid"/>
              <a:bevel/>
              <a:headEnd/>
              <a:tailEnd/>
            </a:ln>
          </p:spPr>
          <p:txBody>
            <a:bodyPr/>
            <a:lstStyle/>
            <a:p>
              <a:endParaRPr lang="nl-NL"/>
            </a:p>
          </p:txBody>
        </p:sp>
        <p:sp>
          <p:nvSpPr>
            <p:cNvPr id="46" name="Freeform 532">
              <a:extLst>
                <a:ext uri="{FF2B5EF4-FFF2-40B4-BE49-F238E27FC236}">
                  <a16:creationId xmlns:a16="http://schemas.microsoft.com/office/drawing/2014/main" id="{3C2ECEAC-564F-CDE9-4F36-4BE3C180A727}"/>
                </a:ext>
              </a:extLst>
            </p:cNvPr>
            <p:cNvSpPr>
              <a:spLocks noEditPoints="1"/>
            </p:cNvSpPr>
            <p:nvPr/>
          </p:nvSpPr>
          <p:spPr bwMode="auto">
            <a:xfrm>
              <a:off x="5827723" y="3136835"/>
              <a:ext cx="1791666" cy="1765318"/>
            </a:xfrm>
            <a:custGeom>
              <a:avLst/>
              <a:gdLst/>
              <a:ahLst/>
              <a:cxnLst>
                <a:cxn ang="0">
                  <a:pos x="2455" y="170"/>
                </a:cxn>
                <a:cxn ang="0">
                  <a:pos x="2117" y="297"/>
                </a:cxn>
                <a:cxn ang="0">
                  <a:pos x="1524" y="424"/>
                </a:cxn>
                <a:cxn ang="0">
                  <a:pos x="847" y="593"/>
                </a:cxn>
                <a:cxn ang="0">
                  <a:pos x="423" y="508"/>
                </a:cxn>
                <a:cxn ang="0">
                  <a:pos x="127" y="593"/>
                </a:cxn>
                <a:cxn ang="0">
                  <a:pos x="254" y="678"/>
                </a:cxn>
                <a:cxn ang="0">
                  <a:pos x="212" y="762"/>
                </a:cxn>
                <a:cxn ang="0">
                  <a:pos x="42" y="720"/>
                </a:cxn>
                <a:cxn ang="0">
                  <a:pos x="42" y="847"/>
                </a:cxn>
                <a:cxn ang="0">
                  <a:pos x="296" y="889"/>
                </a:cxn>
                <a:cxn ang="0">
                  <a:pos x="254" y="974"/>
                </a:cxn>
                <a:cxn ang="0">
                  <a:pos x="339" y="1059"/>
                </a:cxn>
                <a:cxn ang="0">
                  <a:pos x="296" y="1143"/>
                </a:cxn>
                <a:cxn ang="0">
                  <a:pos x="550" y="1186"/>
                </a:cxn>
                <a:cxn ang="0">
                  <a:pos x="593" y="1524"/>
                </a:cxn>
                <a:cxn ang="0">
                  <a:pos x="423" y="1736"/>
                </a:cxn>
                <a:cxn ang="0">
                  <a:pos x="381" y="1905"/>
                </a:cxn>
                <a:cxn ang="0">
                  <a:pos x="212" y="2159"/>
                </a:cxn>
                <a:cxn ang="0">
                  <a:pos x="296" y="2371"/>
                </a:cxn>
                <a:cxn ang="0">
                  <a:pos x="85" y="2667"/>
                </a:cxn>
                <a:cxn ang="0">
                  <a:pos x="85" y="3133"/>
                </a:cxn>
                <a:cxn ang="0">
                  <a:pos x="466" y="3260"/>
                </a:cxn>
                <a:cxn ang="0">
                  <a:pos x="804" y="3472"/>
                </a:cxn>
                <a:cxn ang="0">
                  <a:pos x="1058" y="3175"/>
                </a:cxn>
                <a:cxn ang="0">
                  <a:pos x="1270" y="2710"/>
                </a:cxn>
                <a:cxn ang="0">
                  <a:pos x="1609" y="2456"/>
                </a:cxn>
                <a:cxn ang="0">
                  <a:pos x="1947" y="2498"/>
                </a:cxn>
                <a:cxn ang="0">
                  <a:pos x="2159" y="2837"/>
                </a:cxn>
                <a:cxn ang="0">
                  <a:pos x="2371" y="2964"/>
                </a:cxn>
                <a:cxn ang="0">
                  <a:pos x="2540" y="3175"/>
                </a:cxn>
                <a:cxn ang="0">
                  <a:pos x="2879" y="3175"/>
                </a:cxn>
                <a:cxn ang="0">
                  <a:pos x="3175" y="3260"/>
                </a:cxn>
                <a:cxn ang="0">
                  <a:pos x="3810" y="3895"/>
                </a:cxn>
                <a:cxn ang="0">
                  <a:pos x="4276" y="4403"/>
                </a:cxn>
                <a:cxn ang="0">
                  <a:pos x="4487" y="4699"/>
                </a:cxn>
                <a:cxn ang="0">
                  <a:pos x="4826" y="4996"/>
                </a:cxn>
                <a:cxn ang="0">
                  <a:pos x="4826" y="5461"/>
                </a:cxn>
                <a:cxn ang="0">
                  <a:pos x="4995" y="5631"/>
                </a:cxn>
                <a:cxn ang="0">
                  <a:pos x="5419" y="5038"/>
                </a:cxn>
                <a:cxn ang="0">
                  <a:pos x="5673" y="3726"/>
                </a:cxn>
                <a:cxn ang="0">
                  <a:pos x="5546" y="2964"/>
                </a:cxn>
                <a:cxn ang="0">
                  <a:pos x="5673" y="2625"/>
                </a:cxn>
                <a:cxn ang="0">
                  <a:pos x="5715" y="2413"/>
                </a:cxn>
                <a:cxn ang="0">
                  <a:pos x="5461" y="2032"/>
                </a:cxn>
                <a:cxn ang="0">
                  <a:pos x="5292" y="1948"/>
                </a:cxn>
                <a:cxn ang="0">
                  <a:pos x="4995" y="1863"/>
                </a:cxn>
                <a:cxn ang="0">
                  <a:pos x="4953" y="1524"/>
                </a:cxn>
                <a:cxn ang="0">
                  <a:pos x="4784" y="1482"/>
                </a:cxn>
                <a:cxn ang="0">
                  <a:pos x="4530" y="1397"/>
                </a:cxn>
                <a:cxn ang="0">
                  <a:pos x="4149" y="1270"/>
                </a:cxn>
                <a:cxn ang="0">
                  <a:pos x="3979" y="1101"/>
                </a:cxn>
                <a:cxn ang="0">
                  <a:pos x="3895" y="762"/>
                </a:cxn>
                <a:cxn ang="0">
                  <a:pos x="3852" y="297"/>
                </a:cxn>
                <a:cxn ang="0">
                  <a:pos x="3598" y="212"/>
                </a:cxn>
                <a:cxn ang="0">
                  <a:pos x="3598" y="85"/>
                </a:cxn>
                <a:cxn ang="0">
                  <a:pos x="3133" y="43"/>
                </a:cxn>
                <a:cxn ang="0">
                  <a:pos x="5673" y="2075"/>
                </a:cxn>
              </a:cxnLst>
              <a:rect l="0" t="0" r="r" b="b"/>
              <a:pathLst>
                <a:path w="5800" h="5715">
                  <a:moveTo>
                    <a:pt x="3090" y="0"/>
                  </a:moveTo>
                  <a:lnTo>
                    <a:pt x="3006" y="43"/>
                  </a:lnTo>
                  <a:lnTo>
                    <a:pt x="2667" y="85"/>
                  </a:lnTo>
                  <a:lnTo>
                    <a:pt x="2625" y="127"/>
                  </a:lnTo>
                  <a:lnTo>
                    <a:pt x="2498" y="170"/>
                  </a:lnTo>
                  <a:lnTo>
                    <a:pt x="2455" y="170"/>
                  </a:lnTo>
                  <a:lnTo>
                    <a:pt x="2413" y="212"/>
                  </a:lnTo>
                  <a:lnTo>
                    <a:pt x="2328" y="212"/>
                  </a:lnTo>
                  <a:lnTo>
                    <a:pt x="2244" y="297"/>
                  </a:lnTo>
                  <a:lnTo>
                    <a:pt x="2201" y="297"/>
                  </a:lnTo>
                  <a:lnTo>
                    <a:pt x="2159" y="297"/>
                  </a:lnTo>
                  <a:lnTo>
                    <a:pt x="2117" y="297"/>
                  </a:lnTo>
                  <a:lnTo>
                    <a:pt x="2032" y="339"/>
                  </a:lnTo>
                  <a:lnTo>
                    <a:pt x="1947" y="381"/>
                  </a:lnTo>
                  <a:lnTo>
                    <a:pt x="1905" y="339"/>
                  </a:lnTo>
                  <a:lnTo>
                    <a:pt x="1863" y="381"/>
                  </a:lnTo>
                  <a:lnTo>
                    <a:pt x="1651" y="381"/>
                  </a:lnTo>
                  <a:lnTo>
                    <a:pt x="1524" y="424"/>
                  </a:lnTo>
                  <a:lnTo>
                    <a:pt x="1355" y="466"/>
                  </a:lnTo>
                  <a:lnTo>
                    <a:pt x="1270" y="466"/>
                  </a:lnTo>
                  <a:lnTo>
                    <a:pt x="1185" y="508"/>
                  </a:lnTo>
                  <a:lnTo>
                    <a:pt x="1101" y="508"/>
                  </a:lnTo>
                  <a:lnTo>
                    <a:pt x="974" y="551"/>
                  </a:lnTo>
                  <a:lnTo>
                    <a:pt x="847" y="593"/>
                  </a:lnTo>
                  <a:lnTo>
                    <a:pt x="804" y="635"/>
                  </a:lnTo>
                  <a:lnTo>
                    <a:pt x="804" y="678"/>
                  </a:lnTo>
                  <a:lnTo>
                    <a:pt x="720" y="720"/>
                  </a:lnTo>
                  <a:lnTo>
                    <a:pt x="677" y="678"/>
                  </a:lnTo>
                  <a:lnTo>
                    <a:pt x="635" y="635"/>
                  </a:lnTo>
                  <a:lnTo>
                    <a:pt x="423" y="508"/>
                  </a:lnTo>
                  <a:lnTo>
                    <a:pt x="381" y="508"/>
                  </a:lnTo>
                  <a:lnTo>
                    <a:pt x="212" y="593"/>
                  </a:lnTo>
                  <a:lnTo>
                    <a:pt x="212" y="551"/>
                  </a:lnTo>
                  <a:lnTo>
                    <a:pt x="169" y="551"/>
                  </a:lnTo>
                  <a:lnTo>
                    <a:pt x="169" y="593"/>
                  </a:lnTo>
                  <a:lnTo>
                    <a:pt x="127" y="593"/>
                  </a:lnTo>
                  <a:lnTo>
                    <a:pt x="127" y="551"/>
                  </a:lnTo>
                  <a:lnTo>
                    <a:pt x="85" y="593"/>
                  </a:lnTo>
                  <a:lnTo>
                    <a:pt x="127" y="635"/>
                  </a:lnTo>
                  <a:lnTo>
                    <a:pt x="169" y="635"/>
                  </a:lnTo>
                  <a:lnTo>
                    <a:pt x="212" y="678"/>
                  </a:lnTo>
                  <a:lnTo>
                    <a:pt x="254" y="678"/>
                  </a:lnTo>
                  <a:lnTo>
                    <a:pt x="296" y="720"/>
                  </a:lnTo>
                  <a:lnTo>
                    <a:pt x="339" y="720"/>
                  </a:lnTo>
                  <a:lnTo>
                    <a:pt x="339" y="762"/>
                  </a:lnTo>
                  <a:lnTo>
                    <a:pt x="296" y="762"/>
                  </a:lnTo>
                  <a:lnTo>
                    <a:pt x="254" y="762"/>
                  </a:lnTo>
                  <a:lnTo>
                    <a:pt x="212" y="762"/>
                  </a:lnTo>
                  <a:lnTo>
                    <a:pt x="212" y="720"/>
                  </a:lnTo>
                  <a:lnTo>
                    <a:pt x="127" y="678"/>
                  </a:lnTo>
                  <a:lnTo>
                    <a:pt x="127" y="635"/>
                  </a:lnTo>
                  <a:lnTo>
                    <a:pt x="42" y="635"/>
                  </a:lnTo>
                  <a:lnTo>
                    <a:pt x="0" y="720"/>
                  </a:lnTo>
                  <a:lnTo>
                    <a:pt x="42" y="720"/>
                  </a:lnTo>
                  <a:lnTo>
                    <a:pt x="85" y="762"/>
                  </a:lnTo>
                  <a:lnTo>
                    <a:pt x="127" y="762"/>
                  </a:lnTo>
                  <a:lnTo>
                    <a:pt x="127" y="805"/>
                  </a:lnTo>
                  <a:lnTo>
                    <a:pt x="85" y="847"/>
                  </a:lnTo>
                  <a:lnTo>
                    <a:pt x="42" y="805"/>
                  </a:lnTo>
                  <a:lnTo>
                    <a:pt x="42" y="847"/>
                  </a:lnTo>
                  <a:lnTo>
                    <a:pt x="85" y="889"/>
                  </a:lnTo>
                  <a:lnTo>
                    <a:pt x="127" y="889"/>
                  </a:lnTo>
                  <a:lnTo>
                    <a:pt x="169" y="889"/>
                  </a:lnTo>
                  <a:lnTo>
                    <a:pt x="212" y="889"/>
                  </a:lnTo>
                  <a:lnTo>
                    <a:pt x="254" y="889"/>
                  </a:lnTo>
                  <a:lnTo>
                    <a:pt x="296" y="889"/>
                  </a:lnTo>
                  <a:lnTo>
                    <a:pt x="296" y="932"/>
                  </a:lnTo>
                  <a:lnTo>
                    <a:pt x="212" y="932"/>
                  </a:lnTo>
                  <a:lnTo>
                    <a:pt x="169" y="932"/>
                  </a:lnTo>
                  <a:lnTo>
                    <a:pt x="169" y="974"/>
                  </a:lnTo>
                  <a:lnTo>
                    <a:pt x="212" y="974"/>
                  </a:lnTo>
                  <a:lnTo>
                    <a:pt x="254" y="974"/>
                  </a:lnTo>
                  <a:lnTo>
                    <a:pt x="296" y="974"/>
                  </a:lnTo>
                  <a:lnTo>
                    <a:pt x="339" y="932"/>
                  </a:lnTo>
                  <a:lnTo>
                    <a:pt x="339" y="974"/>
                  </a:lnTo>
                  <a:lnTo>
                    <a:pt x="339" y="1016"/>
                  </a:lnTo>
                  <a:lnTo>
                    <a:pt x="296" y="1016"/>
                  </a:lnTo>
                  <a:lnTo>
                    <a:pt x="339" y="1059"/>
                  </a:lnTo>
                  <a:lnTo>
                    <a:pt x="381" y="1016"/>
                  </a:lnTo>
                  <a:lnTo>
                    <a:pt x="423" y="1016"/>
                  </a:lnTo>
                  <a:lnTo>
                    <a:pt x="423" y="1059"/>
                  </a:lnTo>
                  <a:lnTo>
                    <a:pt x="381" y="1101"/>
                  </a:lnTo>
                  <a:lnTo>
                    <a:pt x="296" y="1101"/>
                  </a:lnTo>
                  <a:lnTo>
                    <a:pt x="296" y="1143"/>
                  </a:lnTo>
                  <a:lnTo>
                    <a:pt x="339" y="1186"/>
                  </a:lnTo>
                  <a:lnTo>
                    <a:pt x="381" y="1143"/>
                  </a:lnTo>
                  <a:lnTo>
                    <a:pt x="423" y="1143"/>
                  </a:lnTo>
                  <a:lnTo>
                    <a:pt x="466" y="1143"/>
                  </a:lnTo>
                  <a:lnTo>
                    <a:pt x="508" y="1143"/>
                  </a:lnTo>
                  <a:lnTo>
                    <a:pt x="550" y="1186"/>
                  </a:lnTo>
                  <a:lnTo>
                    <a:pt x="593" y="1186"/>
                  </a:lnTo>
                  <a:lnTo>
                    <a:pt x="593" y="1440"/>
                  </a:lnTo>
                  <a:lnTo>
                    <a:pt x="593" y="1482"/>
                  </a:lnTo>
                  <a:lnTo>
                    <a:pt x="635" y="1482"/>
                  </a:lnTo>
                  <a:lnTo>
                    <a:pt x="635" y="1524"/>
                  </a:lnTo>
                  <a:lnTo>
                    <a:pt x="593" y="1524"/>
                  </a:lnTo>
                  <a:lnTo>
                    <a:pt x="550" y="1567"/>
                  </a:lnTo>
                  <a:lnTo>
                    <a:pt x="550" y="1609"/>
                  </a:lnTo>
                  <a:lnTo>
                    <a:pt x="508" y="1651"/>
                  </a:lnTo>
                  <a:lnTo>
                    <a:pt x="466" y="1651"/>
                  </a:lnTo>
                  <a:lnTo>
                    <a:pt x="423" y="1694"/>
                  </a:lnTo>
                  <a:lnTo>
                    <a:pt x="423" y="1736"/>
                  </a:lnTo>
                  <a:lnTo>
                    <a:pt x="423" y="1778"/>
                  </a:lnTo>
                  <a:lnTo>
                    <a:pt x="423" y="1821"/>
                  </a:lnTo>
                  <a:lnTo>
                    <a:pt x="466" y="1821"/>
                  </a:lnTo>
                  <a:lnTo>
                    <a:pt x="423" y="1863"/>
                  </a:lnTo>
                  <a:lnTo>
                    <a:pt x="381" y="1863"/>
                  </a:lnTo>
                  <a:lnTo>
                    <a:pt x="381" y="1905"/>
                  </a:lnTo>
                  <a:lnTo>
                    <a:pt x="339" y="1948"/>
                  </a:lnTo>
                  <a:lnTo>
                    <a:pt x="339" y="1990"/>
                  </a:lnTo>
                  <a:lnTo>
                    <a:pt x="339" y="2032"/>
                  </a:lnTo>
                  <a:lnTo>
                    <a:pt x="296" y="2075"/>
                  </a:lnTo>
                  <a:lnTo>
                    <a:pt x="254" y="2117"/>
                  </a:lnTo>
                  <a:lnTo>
                    <a:pt x="212" y="2159"/>
                  </a:lnTo>
                  <a:lnTo>
                    <a:pt x="212" y="2202"/>
                  </a:lnTo>
                  <a:lnTo>
                    <a:pt x="254" y="2202"/>
                  </a:lnTo>
                  <a:lnTo>
                    <a:pt x="296" y="2202"/>
                  </a:lnTo>
                  <a:lnTo>
                    <a:pt x="296" y="2286"/>
                  </a:lnTo>
                  <a:lnTo>
                    <a:pt x="296" y="2329"/>
                  </a:lnTo>
                  <a:lnTo>
                    <a:pt x="296" y="2371"/>
                  </a:lnTo>
                  <a:lnTo>
                    <a:pt x="254" y="2456"/>
                  </a:lnTo>
                  <a:lnTo>
                    <a:pt x="212" y="2498"/>
                  </a:lnTo>
                  <a:lnTo>
                    <a:pt x="169" y="2498"/>
                  </a:lnTo>
                  <a:lnTo>
                    <a:pt x="127" y="2540"/>
                  </a:lnTo>
                  <a:lnTo>
                    <a:pt x="127" y="2583"/>
                  </a:lnTo>
                  <a:lnTo>
                    <a:pt x="85" y="2667"/>
                  </a:lnTo>
                  <a:lnTo>
                    <a:pt x="42" y="2710"/>
                  </a:lnTo>
                  <a:lnTo>
                    <a:pt x="42" y="2794"/>
                  </a:lnTo>
                  <a:lnTo>
                    <a:pt x="42" y="2879"/>
                  </a:lnTo>
                  <a:lnTo>
                    <a:pt x="42" y="2921"/>
                  </a:lnTo>
                  <a:lnTo>
                    <a:pt x="42" y="3091"/>
                  </a:lnTo>
                  <a:lnTo>
                    <a:pt x="85" y="3133"/>
                  </a:lnTo>
                  <a:lnTo>
                    <a:pt x="127" y="3175"/>
                  </a:lnTo>
                  <a:lnTo>
                    <a:pt x="169" y="3260"/>
                  </a:lnTo>
                  <a:lnTo>
                    <a:pt x="212" y="3260"/>
                  </a:lnTo>
                  <a:lnTo>
                    <a:pt x="296" y="3260"/>
                  </a:lnTo>
                  <a:lnTo>
                    <a:pt x="381" y="3260"/>
                  </a:lnTo>
                  <a:lnTo>
                    <a:pt x="466" y="3260"/>
                  </a:lnTo>
                  <a:lnTo>
                    <a:pt x="508" y="3260"/>
                  </a:lnTo>
                  <a:lnTo>
                    <a:pt x="550" y="3302"/>
                  </a:lnTo>
                  <a:lnTo>
                    <a:pt x="635" y="3345"/>
                  </a:lnTo>
                  <a:lnTo>
                    <a:pt x="677" y="3387"/>
                  </a:lnTo>
                  <a:lnTo>
                    <a:pt x="677" y="3429"/>
                  </a:lnTo>
                  <a:lnTo>
                    <a:pt x="804" y="3472"/>
                  </a:lnTo>
                  <a:lnTo>
                    <a:pt x="931" y="3514"/>
                  </a:lnTo>
                  <a:lnTo>
                    <a:pt x="974" y="3514"/>
                  </a:lnTo>
                  <a:lnTo>
                    <a:pt x="1016" y="3345"/>
                  </a:lnTo>
                  <a:lnTo>
                    <a:pt x="1058" y="3345"/>
                  </a:lnTo>
                  <a:lnTo>
                    <a:pt x="1058" y="3218"/>
                  </a:lnTo>
                  <a:lnTo>
                    <a:pt x="1058" y="3175"/>
                  </a:lnTo>
                  <a:lnTo>
                    <a:pt x="1143" y="2964"/>
                  </a:lnTo>
                  <a:lnTo>
                    <a:pt x="1143" y="2921"/>
                  </a:lnTo>
                  <a:lnTo>
                    <a:pt x="1185" y="2879"/>
                  </a:lnTo>
                  <a:lnTo>
                    <a:pt x="1228" y="2794"/>
                  </a:lnTo>
                  <a:lnTo>
                    <a:pt x="1270" y="2752"/>
                  </a:lnTo>
                  <a:lnTo>
                    <a:pt x="1270" y="2710"/>
                  </a:lnTo>
                  <a:lnTo>
                    <a:pt x="1312" y="2667"/>
                  </a:lnTo>
                  <a:lnTo>
                    <a:pt x="1397" y="2625"/>
                  </a:lnTo>
                  <a:lnTo>
                    <a:pt x="1482" y="2583"/>
                  </a:lnTo>
                  <a:lnTo>
                    <a:pt x="1482" y="2540"/>
                  </a:lnTo>
                  <a:lnTo>
                    <a:pt x="1524" y="2498"/>
                  </a:lnTo>
                  <a:lnTo>
                    <a:pt x="1609" y="2456"/>
                  </a:lnTo>
                  <a:lnTo>
                    <a:pt x="1693" y="2456"/>
                  </a:lnTo>
                  <a:lnTo>
                    <a:pt x="1736" y="2456"/>
                  </a:lnTo>
                  <a:lnTo>
                    <a:pt x="1778" y="2498"/>
                  </a:lnTo>
                  <a:lnTo>
                    <a:pt x="1820" y="2456"/>
                  </a:lnTo>
                  <a:lnTo>
                    <a:pt x="1863" y="2498"/>
                  </a:lnTo>
                  <a:lnTo>
                    <a:pt x="1947" y="2498"/>
                  </a:lnTo>
                  <a:lnTo>
                    <a:pt x="1990" y="2625"/>
                  </a:lnTo>
                  <a:lnTo>
                    <a:pt x="2032" y="2667"/>
                  </a:lnTo>
                  <a:lnTo>
                    <a:pt x="2074" y="2625"/>
                  </a:lnTo>
                  <a:lnTo>
                    <a:pt x="2117" y="2752"/>
                  </a:lnTo>
                  <a:lnTo>
                    <a:pt x="2117" y="2794"/>
                  </a:lnTo>
                  <a:lnTo>
                    <a:pt x="2159" y="2837"/>
                  </a:lnTo>
                  <a:lnTo>
                    <a:pt x="2244" y="2794"/>
                  </a:lnTo>
                  <a:lnTo>
                    <a:pt x="2244" y="2837"/>
                  </a:lnTo>
                  <a:lnTo>
                    <a:pt x="2244" y="2879"/>
                  </a:lnTo>
                  <a:lnTo>
                    <a:pt x="2286" y="2921"/>
                  </a:lnTo>
                  <a:lnTo>
                    <a:pt x="2286" y="2964"/>
                  </a:lnTo>
                  <a:lnTo>
                    <a:pt x="2371" y="2964"/>
                  </a:lnTo>
                  <a:lnTo>
                    <a:pt x="2371" y="3006"/>
                  </a:lnTo>
                  <a:lnTo>
                    <a:pt x="2413" y="3048"/>
                  </a:lnTo>
                  <a:lnTo>
                    <a:pt x="2455" y="3091"/>
                  </a:lnTo>
                  <a:lnTo>
                    <a:pt x="2498" y="3133"/>
                  </a:lnTo>
                  <a:lnTo>
                    <a:pt x="2498" y="3175"/>
                  </a:lnTo>
                  <a:lnTo>
                    <a:pt x="2540" y="3175"/>
                  </a:lnTo>
                  <a:lnTo>
                    <a:pt x="2498" y="3218"/>
                  </a:lnTo>
                  <a:lnTo>
                    <a:pt x="2540" y="3260"/>
                  </a:lnTo>
                  <a:lnTo>
                    <a:pt x="2540" y="3302"/>
                  </a:lnTo>
                  <a:lnTo>
                    <a:pt x="2752" y="3218"/>
                  </a:lnTo>
                  <a:lnTo>
                    <a:pt x="2794" y="3218"/>
                  </a:lnTo>
                  <a:lnTo>
                    <a:pt x="2879" y="3175"/>
                  </a:lnTo>
                  <a:lnTo>
                    <a:pt x="3006" y="3175"/>
                  </a:lnTo>
                  <a:lnTo>
                    <a:pt x="3048" y="3175"/>
                  </a:lnTo>
                  <a:lnTo>
                    <a:pt x="3090" y="3175"/>
                  </a:lnTo>
                  <a:lnTo>
                    <a:pt x="3133" y="3218"/>
                  </a:lnTo>
                  <a:lnTo>
                    <a:pt x="3175" y="3218"/>
                  </a:lnTo>
                  <a:lnTo>
                    <a:pt x="3175" y="3260"/>
                  </a:lnTo>
                  <a:lnTo>
                    <a:pt x="3344" y="3387"/>
                  </a:lnTo>
                  <a:lnTo>
                    <a:pt x="3387" y="3472"/>
                  </a:lnTo>
                  <a:lnTo>
                    <a:pt x="3556" y="3599"/>
                  </a:lnTo>
                  <a:lnTo>
                    <a:pt x="3556" y="3641"/>
                  </a:lnTo>
                  <a:lnTo>
                    <a:pt x="3683" y="3768"/>
                  </a:lnTo>
                  <a:lnTo>
                    <a:pt x="3810" y="3895"/>
                  </a:lnTo>
                  <a:lnTo>
                    <a:pt x="4022" y="4107"/>
                  </a:lnTo>
                  <a:lnTo>
                    <a:pt x="4064" y="4149"/>
                  </a:lnTo>
                  <a:lnTo>
                    <a:pt x="4149" y="4234"/>
                  </a:lnTo>
                  <a:lnTo>
                    <a:pt x="4233" y="4318"/>
                  </a:lnTo>
                  <a:lnTo>
                    <a:pt x="4276" y="4361"/>
                  </a:lnTo>
                  <a:lnTo>
                    <a:pt x="4276" y="4403"/>
                  </a:lnTo>
                  <a:lnTo>
                    <a:pt x="4318" y="4445"/>
                  </a:lnTo>
                  <a:lnTo>
                    <a:pt x="4360" y="4488"/>
                  </a:lnTo>
                  <a:lnTo>
                    <a:pt x="4403" y="4572"/>
                  </a:lnTo>
                  <a:lnTo>
                    <a:pt x="4445" y="4657"/>
                  </a:lnTo>
                  <a:lnTo>
                    <a:pt x="4487" y="4657"/>
                  </a:lnTo>
                  <a:lnTo>
                    <a:pt x="4487" y="4699"/>
                  </a:lnTo>
                  <a:lnTo>
                    <a:pt x="4530" y="4699"/>
                  </a:lnTo>
                  <a:lnTo>
                    <a:pt x="4614" y="4826"/>
                  </a:lnTo>
                  <a:lnTo>
                    <a:pt x="4657" y="4911"/>
                  </a:lnTo>
                  <a:lnTo>
                    <a:pt x="4699" y="4953"/>
                  </a:lnTo>
                  <a:lnTo>
                    <a:pt x="4741" y="4996"/>
                  </a:lnTo>
                  <a:lnTo>
                    <a:pt x="4826" y="4996"/>
                  </a:lnTo>
                  <a:lnTo>
                    <a:pt x="4826" y="5080"/>
                  </a:lnTo>
                  <a:lnTo>
                    <a:pt x="4784" y="5123"/>
                  </a:lnTo>
                  <a:lnTo>
                    <a:pt x="4699" y="5377"/>
                  </a:lnTo>
                  <a:lnTo>
                    <a:pt x="4699" y="5419"/>
                  </a:lnTo>
                  <a:lnTo>
                    <a:pt x="4826" y="5419"/>
                  </a:lnTo>
                  <a:lnTo>
                    <a:pt x="4826" y="5461"/>
                  </a:lnTo>
                  <a:lnTo>
                    <a:pt x="4868" y="5461"/>
                  </a:lnTo>
                  <a:lnTo>
                    <a:pt x="4953" y="5588"/>
                  </a:lnTo>
                  <a:lnTo>
                    <a:pt x="4995" y="5631"/>
                  </a:lnTo>
                  <a:lnTo>
                    <a:pt x="5038" y="5588"/>
                  </a:lnTo>
                  <a:lnTo>
                    <a:pt x="5038" y="5631"/>
                  </a:lnTo>
                  <a:lnTo>
                    <a:pt x="4995" y="5631"/>
                  </a:lnTo>
                  <a:lnTo>
                    <a:pt x="4995" y="5715"/>
                  </a:lnTo>
                  <a:lnTo>
                    <a:pt x="5122" y="5715"/>
                  </a:lnTo>
                  <a:lnTo>
                    <a:pt x="5080" y="5631"/>
                  </a:lnTo>
                  <a:lnTo>
                    <a:pt x="5080" y="5588"/>
                  </a:lnTo>
                  <a:lnTo>
                    <a:pt x="5165" y="5461"/>
                  </a:lnTo>
                  <a:lnTo>
                    <a:pt x="5419" y="5038"/>
                  </a:lnTo>
                  <a:lnTo>
                    <a:pt x="5588" y="4742"/>
                  </a:lnTo>
                  <a:lnTo>
                    <a:pt x="5673" y="4403"/>
                  </a:lnTo>
                  <a:lnTo>
                    <a:pt x="5715" y="4191"/>
                  </a:lnTo>
                  <a:lnTo>
                    <a:pt x="5757" y="4149"/>
                  </a:lnTo>
                  <a:lnTo>
                    <a:pt x="5757" y="4107"/>
                  </a:lnTo>
                  <a:lnTo>
                    <a:pt x="5673" y="3726"/>
                  </a:lnTo>
                  <a:lnTo>
                    <a:pt x="5673" y="3514"/>
                  </a:lnTo>
                  <a:lnTo>
                    <a:pt x="5673" y="3472"/>
                  </a:lnTo>
                  <a:lnTo>
                    <a:pt x="5673" y="3175"/>
                  </a:lnTo>
                  <a:lnTo>
                    <a:pt x="5546" y="3091"/>
                  </a:lnTo>
                  <a:lnTo>
                    <a:pt x="5546" y="3006"/>
                  </a:lnTo>
                  <a:lnTo>
                    <a:pt x="5546" y="2964"/>
                  </a:lnTo>
                  <a:lnTo>
                    <a:pt x="5546" y="2921"/>
                  </a:lnTo>
                  <a:lnTo>
                    <a:pt x="5588" y="2879"/>
                  </a:lnTo>
                  <a:lnTo>
                    <a:pt x="5588" y="2794"/>
                  </a:lnTo>
                  <a:lnTo>
                    <a:pt x="5588" y="2752"/>
                  </a:lnTo>
                  <a:lnTo>
                    <a:pt x="5630" y="2625"/>
                  </a:lnTo>
                  <a:lnTo>
                    <a:pt x="5673" y="2625"/>
                  </a:lnTo>
                  <a:lnTo>
                    <a:pt x="5715" y="2583"/>
                  </a:lnTo>
                  <a:lnTo>
                    <a:pt x="5800" y="2583"/>
                  </a:lnTo>
                  <a:lnTo>
                    <a:pt x="5715" y="2540"/>
                  </a:lnTo>
                  <a:lnTo>
                    <a:pt x="5673" y="2498"/>
                  </a:lnTo>
                  <a:lnTo>
                    <a:pt x="5715" y="2456"/>
                  </a:lnTo>
                  <a:lnTo>
                    <a:pt x="5715" y="2413"/>
                  </a:lnTo>
                  <a:lnTo>
                    <a:pt x="5715" y="2244"/>
                  </a:lnTo>
                  <a:lnTo>
                    <a:pt x="5673" y="2117"/>
                  </a:lnTo>
                  <a:lnTo>
                    <a:pt x="5673" y="2075"/>
                  </a:lnTo>
                  <a:lnTo>
                    <a:pt x="5630" y="2075"/>
                  </a:lnTo>
                  <a:lnTo>
                    <a:pt x="5503" y="2032"/>
                  </a:lnTo>
                  <a:lnTo>
                    <a:pt x="5461" y="2032"/>
                  </a:lnTo>
                  <a:lnTo>
                    <a:pt x="5461" y="1990"/>
                  </a:lnTo>
                  <a:lnTo>
                    <a:pt x="5419" y="1990"/>
                  </a:lnTo>
                  <a:lnTo>
                    <a:pt x="5376" y="1990"/>
                  </a:lnTo>
                  <a:lnTo>
                    <a:pt x="5334" y="1990"/>
                  </a:lnTo>
                  <a:lnTo>
                    <a:pt x="5292" y="1990"/>
                  </a:lnTo>
                  <a:lnTo>
                    <a:pt x="5292" y="1948"/>
                  </a:lnTo>
                  <a:lnTo>
                    <a:pt x="5249" y="1948"/>
                  </a:lnTo>
                  <a:lnTo>
                    <a:pt x="5207" y="1948"/>
                  </a:lnTo>
                  <a:lnTo>
                    <a:pt x="5122" y="1948"/>
                  </a:lnTo>
                  <a:lnTo>
                    <a:pt x="5080" y="1905"/>
                  </a:lnTo>
                  <a:lnTo>
                    <a:pt x="5038" y="1905"/>
                  </a:lnTo>
                  <a:lnTo>
                    <a:pt x="4995" y="1863"/>
                  </a:lnTo>
                  <a:lnTo>
                    <a:pt x="4953" y="1821"/>
                  </a:lnTo>
                  <a:lnTo>
                    <a:pt x="4953" y="1778"/>
                  </a:lnTo>
                  <a:lnTo>
                    <a:pt x="4953" y="1694"/>
                  </a:lnTo>
                  <a:lnTo>
                    <a:pt x="4995" y="1651"/>
                  </a:lnTo>
                  <a:lnTo>
                    <a:pt x="4953" y="1567"/>
                  </a:lnTo>
                  <a:lnTo>
                    <a:pt x="4953" y="1524"/>
                  </a:lnTo>
                  <a:lnTo>
                    <a:pt x="4995" y="1524"/>
                  </a:lnTo>
                  <a:lnTo>
                    <a:pt x="5038" y="1440"/>
                  </a:lnTo>
                  <a:lnTo>
                    <a:pt x="5038" y="1397"/>
                  </a:lnTo>
                  <a:lnTo>
                    <a:pt x="4953" y="1440"/>
                  </a:lnTo>
                  <a:lnTo>
                    <a:pt x="4911" y="1482"/>
                  </a:lnTo>
                  <a:lnTo>
                    <a:pt x="4784" y="1482"/>
                  </a:lnTo>
                  <a:lnTo>
                    <a:pt x="4741" y="1482"/>
                  </a:lnTo>
                  <a:lnTo>
                    <a:pt x="4699" y="1482"/>
                  </a:lnTo>
                  <a:lnTo>
                    <a:pt x="4657" y="1482"/>
                  </a:lnTo>
                  <a:lnTo>
                    <a:pt x="4572" y="1440"/>
                  </a:lnTo>
                  <a:lnTo>
                    <a:pt x="4572" y="1397"/>
                  </a:lnTo>
                  <a:lnTo>
                    <a:pt x="4530" y="1397"/>
                  </a:lnTo>
                  <a:lnTo>
                    <a:pt x="4487" y="1397"/>
                  </a:lnTo>
                  <a:lnTo>
                    <a:pt x="4403" y="1355"/>
                  </a:lnTo>
                  <a:lnTo>
                    <a:pt x="4318" y="1313"/>
                  </a:lnTo>
                  <a:lnTo>
                    <a:pt x="4318" y="1355"/>
                  </a:lnTo>
                  <a:lnTo>
                    <a:pt x="4233" y="1313"/>
                  </a:lnTo>
                  <a:lnTo>
                    <a:pt x="4149" y="1270"/>
                  </a:lnTo>
                  <a:lnTo>
                    <a:pt x="4106" y="1270"/>
                  </a:lnTo>
                  <a:lnTo>
                    <a:pt x="4106" y="1228"/>
                  </a:lnTo>
                  <a:lnTo>
                    <a:pt x="4149" y="1228"/>
                  </a:lnTo>
                  <a:lnTo>
                    <a:pt x="4106" y="1186"/>
                  </a:lnTo>
                  <a:lnTo>
                    <a:pt x="4022" y="1101"/>
                  </a:lnTo>
                  <a:lnTo>
                    <a:pt x="3979" y="1101"/>
                  </a:lnTo>
                  <a:lnTo>
                    <a:pt x="3937" y="1059"/>
                  </a:lnTo>
                  <a:lnTo>
                    <a:pt x="3937" y="1016"/>
                  </a:lnTo>
                  <a:lnTo>
                    <a:pt x="3937" y="932"/>
                  </a:lnTo>
                  <a:lnTo>
                    <a:pt x="3937" y="847"/>
                  </a:lnTo>
                  <a:lnTo>
                    <a:pt x="3895" y="805"/>
                  </a:lnTo>
                  <a:lnTo>
                    <a:pt x="3895" y="762"/>
                  </a:lnTo>
                  <a:lnTo>
                    <a:pt x="3895" y="720"/>
                  </a:lnTo>
                  <a:lnTo>
                    <a:pt x="3895" y="635"/>
                  </a:lnTo>
                  <a:lnTo>
                    <a:pt x="3852" y="551"/>
                  </a:lnTo>
                  <a:lnTo>
                    <a:pt x="3810" y="551"/>
                  </a:lnTo>
                  <a:lnTo>
                    <a:pt x="3810" y="424"/>
                  </a:lnTo>
                  <a:lnTo>
                    <a:pt x="3852" y="297"/>
                  </a:lnTo>
                  <a:lnTo>
                    <a:pt x="3852" y="254"/>
                  </a:lnTo>
                  <a:lnTo>
                    <a:pt x="3725" y="127"/>
                  </a:lnTo>
                  <a:lnTo>
                    <a:pt x="3641" y="85"/>
                  </a:lnTo>
                  <a:lnTo>
                    <a:pt x="3598" y="170"/>
                  </a:lnTo>
                  <a:lnTo>
                    <a:pt x="3641" y="212"/>
                  </a:lnTo>
                  <a:lnTo>
                    <a:pt x="3598" y="212"/>
                  </a:lnTo>
                  <a:lnTo>
                    <a:pt x="3556" y="212"/>
                  </a:lnTo>
                  <a:lnTo>
                    <a:pt x="3514" y="212"/>
                  </a:lnTo>
                  <a:lnTo>
                    <a:pt x="3514" y="170"/>
                  </a:lnTo>
                  <a:lnTo>
                    <a:pt x="3556" y="212"/>
                  </a:lnTo>
                  <a:lnTo>
                    <a:pt x="3556" y="170"/>
                  </a:lnTo>
                  <a:lnTo>
                    <a:pt x="3598" y="85"/>
                  </a:lnTo>
                  <a:lnTo>
                    <a:pt x="3556" y="85"/>
                  </a:lnTo>
                  <a:lnTo>
                    <a:pt x="3471" y="43"/>
                  </a:lnTo>
                  <a:lnTo>
                    <a:pt x="3387" y="127"/>
                  </a:lnTo>
                  <a:lnTo>
                    <a:pt x="3344" y="85"/>
                  </a:lnTo>
                  <a:lnTo>
                    <a:pt x="3260" y="43"/>
                  </a:lnTo>
                  <a:lnTo>
                    <a:pt x="3133" y="43"/>
                  </a:lnTo>
                  <a:lnTo>
                    <a:pt x="3090" y="0"/>
                  </a:lnTo>
                  <a:close/>
                  <a:moveTo>
                    <a:pt x="4149" y="1228"/>
                  </a:moveTo>
                  <a:lnTo>
                    <a:pt x="4191" y="1270"/>
                  </a:lnTo>
                  <a:lnTo>
                    <a:pt x="4191" y="1228"/>
                  </a:lnTo>
                  <a:lnTo>
                    <a:pt x="4149" y="1228"/>
                  </a:lnTo>
                  <a:close/>
                  <a:moveTo>
                    <a:pt x="5673" y="2075"/>
                  </a:moveTo>
                  <a:lnTo>
                    <a:pt x="5673" y="1990"/>
                  </a:lnTo>
                  <a:lnTo>
                    <a:pt x="5630" y="2032"/>
                  </a:lnTo>
                  <a:lnTo>
                    <a:pt x="5673" y="2075"/>
                  </a:lnTo>
                  <a:close/>
                </a:path>
              </a:pathLst>
            </a:custGeom>
            <a:noFill/>
            <a:ln w="12700" cap="flat" cmpd="sng">
              <a:solidFill>
                <a:schemeClr val="tx1"/>
              </a:solidFill>
              <a:prstDash val="solid"/>
              <a:bevel/>
              <a:headEnd/>
              <a:tailEnd/>
            </a:ln>
          </p:spPr>
          <p:txBody>
            <a:bodyPr/>
            <a:lstStyle/>
            <a:p>
              <a:endParaRPr lang="nl-NL"/>
            </a:p>
          </p:txBody>
        </p:sp>
        <p:sp>
          <p:nvSpPr>
            <p:cNvPr id="47" name="Freeform 533">
              <a:extLst>
                <a:ext uri="{FF2B5EF4-FFF2-40B4-BE49-F238E27FC236}">
                  <a16:creationId xmlns:a16="http://schemas.microsoft.com/office/drawing/2014/main" id="{DFC187AF-32BC-4147-A4A7-30F330BD139C}"/>
                </a:ext>
              </a:extLst>
            </p:cNvPr>
            <p:cNvSpPr>
              <a:spLocks noEditPoints="1"/>
            </p:cNvSpPr>
            <p:nvPr/>
          </p:nvSpPr>
          <p:spPr bwMode="auto">
            <a:xfrm>
              <a:off x="5748679" y="3895658"/>
              <a:ext cx="1659926" cy="1659926"/>
            </a:xfrm>
            <a:custGeom>
              <a:avLst/>
              <a:gdLst/>
              <a:ahLst/>
              <a:cxnLst>
                <a:cxn ang="0">
                  <a:pos x="1651" y="169"/>
                </a:cxn>
                <a:cxn ang="0">
                  <a:pos x="1439" y="423"/>
                </a:cxn>
                <a:cxn ang="0">
                  <a:pos x="1312" y="889"/>
                </a:cxn>
                <a:cxn ang="0">
                  <a:pos x="1016" y="1100"/>
                </a:cxn>
                <a:cxn ang="0">
                  <a:pos x="1312" y="1481"/>
                </a:cxn>
                <a:cxn ang="0">
                  <a:pos x="1651" y="2074"/>
                </a:cxn>
                <a:cxn ang="0">
                  <a:pos x="1482" y="2455"/>
                </a:cxn>
                <a:cxn ang="0">
                  <a:pos x="762" y="2497"/>
                </a:cxn>
                <a:cxn ang="0">
                  <a:pos x="466" y="2836"/>
                </a:cxn>
                <a:cxn ang="0">
                  <a:pos x="0" y="3175"/>
                </a:cxn>
                <a:cxn ang="0">
                  <a:pos x="296" y="3556"/>
                </a:cxn>
                <a:cxn ang="0">
                  <a:pos x="423" y="3810"/>
                </a:cxn>
                <a:cxn ang="0">
                  <a:pos x="212" y="4021"/>
                </a:cxn>
                <a:cxn ang="0">
                  <a:pos x="42" y="4233"/>
                </a:cxn>
                <a:cxn ang="0">
                  <a:pos x="212" y="4614"/>
                </a:cxn>
                <a:cxn ang="0">
                  <a:pos x="381" y="4826"/>
                </a:cxn>
                <a:cxn ang="0">
                  <a:pos x="423" y="4783"/>
                </a:cxn>
                <a:cxn ang="0">
                  <a:pos x="593" y="4783"/>
                </a:cxn>
                <a:cxn ang="0">
                  <a:pos x="762" y="4868"/>
                </a:cxn>
                <a:cxn ang="0">
                  <a:pos x="889" y="4868"/>
                </a:cxn>
                <a:cxn ang="0">
                  <a:pos x="1058" y="4910"/>
                </a:cxn>
                <a:cxn ang="0">
                  <a:pos x="1143" y="4910"/>
                </a:cxn>
                <a:cxn ang="0">
                  <a:pos x="1270" y="5037"/>
                </a:cxn>
                <a:cxn ang="0">
                  <a:pos x="1397" y="5164"/>
                </a:cxn>
                <a:cxn ang="0">
                  <a:pos x="1524" y="5376"/>
                </a:cxn>
                <a:cxn ang="0">
                  <a:pos x="1651" y="5291"/>
                </a:cxn>
                <a:cxn ang="0">
                  <a:pos x="1778" y="5249"/>
                </a:cxn>
                <a:cxn ang="0">
                  <a:pos x="1905" y="5334"/>
                </a:cxn>
                <a:cxn ang="0">
                  <a:pos x="2117" y="5334"/>
                </a:cxn>
                <a:cxn ang="0">
                  <a:pos x="2201" y="5080"/>
                </a:cxn>
                <a:cxn ang="0">
                  <a:pos x="2709" y="4826"/>
                </a:cxn>
                <a:cxn ang="0">
                  <a:pos x="3006" y="4910"/>
                </a:cxn>
                <a:cxn ang="0">
                  <a:pos x="3260" y="5122"/>
                </a:cxn>
                <a:cxn ang="0">
                  <a:pos x="3387" y="5164"/>
                </a:cxn>
                <a:cxn ang="0">
                  <a:pos x="3641" y="4995"/>
                </a:cxn>
                <a:cxn ang="0">
                  <a:pos x="3852" y="4995"/>
                </a:cxn>
                <a:cxn ang="0">
                  <a:pos x="4149" y="4995"/>
                </a:cxn>
                <a:cxn ang="0">
                  <a:pos x="4445" y="5037"/>
                </a:cxn>
                <a:cxn ang="0">
                  <a:pos x="4657" y="5080"/>
                </a:cxn>
                <a:cxn ang="0">
                  <a:pos x="4911" y="5037"/>
                </a:cxn>
                <a:cxn ang="0">
                  <a:pos x="5207" y="5037"/>
                </a:cxn>
                <a:cxn ang="0">
                  <a:pos x="5249" y="3767"/>
                </a:cxn>
                <a:cxn ang="0">
                  <a:pos x="5207" y="3132"/>
                </a:cxn>
                <a:cxn ang="0">
                  <a:pos x="4953" y="2921"/>
                </a:cxn>
                <a:cxn ang="0">
                  <a:pos x="4953" y="2497"/>
                </a:cxn>
                <a:cxn ang="0">
                  <a:pos x="4741" y="2201"/>
                </a:cxn>
                <a:cxn ang="0">
                  <a:pos x="4530" y="1947"/>
                </a:cxn>
                <a:cxn ang="0">
                  <a:pos x="4276" y="1651"/>
                </a:cxn>
                <a:cxn ang="0">
                  <a:pos x="3641" y="1016"/>
                </a:cxn>
                <a:cxn ang="0">
                  <a:pos x="3344" y="719"/>
                </a:cxn>
                <a:cxn ang="0">
                  <a:pos x="3006" y="762"/>
                </a:cxn>
                <a:cxn ang="0">
                  <a:pos x="2752" y="719"/>
                </a:cxn>
                <a:cxn ang="0">
                  <a:pos x="2625" y="508"/>
                </a:cxn>
                <a:cxn ang="0">
                  <a:pos x="2498" y="338"/>
                </a:cxn>
                <a:cxn ang="0">
                  <a:pos x="2286" y="211"/>
                </a:cxn>
                <a:cxn ang="0">
                  <a:pos x="2032" y="42"/>
                </a:cxn>
                <a:cxn ang="0">
                  <a:pos x="5292" y="3175"/>
                </a:cxn>
              </a:cxnLst>
              <a:rect l="0" t="0" r="r" b="b"/>
              <a:pathLst>
                <a:path w="5376" h="5376">
                  <a:moveTo>
                    <a:pt x="1863" y="0"/>
                  </a:moveTo>
                  <a:lnTo>
                    <a:pt x="1778" y="42"/>
                  </a:lnTo>
                  <a:lnTo>
                    <a:pt x="1736" y="84"/>
                  </a:lnTo>
                  <a:lnTo>
                    <a:pt x="1736" y="127"/>
                  </a:lnTo>
                  <a:lnTo>
                    <a:pt x="1651" y="169"/>
                  </a:lnTo>
                  <a:lnTo>
                    <a:pt x="1566" y="211"/>
                  </a:lnTo>
                  <a:lnTo>
                    <a:pt x="1524" y="254"/>
                  </a:lnTo>
                  <a:lnTo>
                    <a:pt x="1524" y="296"/>
                  </a:lnTo>
                  <a:lnTo>
                    <a:pt x="1482" y="338"/>
                  </a:lnTo>
                  <a:lnTo>
                    <a:pt x="1439" y="423"/>
                  </a:lnTo>
                  <a:lnTo>
                    <a:pt x="1397" y="465"/>
                  </a:lnTo>
                  <a:lnTo>
                    <a:pt x="1397" y="508"/>
                  </a:lnTo>
                  <a:lnTo>
                    <a:pt x="1312" y="719"/>
                  </a:lnTo>
                  <a:lnTo>
                    <a:pt x="1312" y="762"/>
                  </a:lnTo>
                  <a:lnTo>
                    <a:pt x="1312" y="889"/>
                  </a:lnTo>
                  <a:lnTo>
                    <a:pt x="1270" y="889"/>
                  </a:lnTo>
                  <a:lnTo>
                    <a:pt x="1228" y="1058"/>
                  </a:lnTo>
                  <a:lnTo>
                    <a:pt x="1185" y="1058"/>
                  </a:lnTo>
                  <a:lnTo>
                    <a:pt x="1058" y="1016"/>
                  </a:lnTo>
                  <a:lnTo>
                    <a:pt x="1016" y="1100"/>
                  </a:lnTo>
                  <a:lnTo>
                    <a:pt x="1143" y="1185"/>
                  </a:lnTo>
                  <a:lnTo>
                    <a:pt x="1270" y="1185"/>
                  </a:lnTo>
                  <a:lnTo>
                    <a:pt x="1355" y="1227"/>
                  </a:lnTo>
                  <a:lnTo>
                    <a:pt x="1312" y="1354"/>
                  </a:lnTo>
                  <a:lnTo>
                    <a:pt x="1312" y="1481"/>
                  </a:lnTo>
                  <a:lnTo>
                    <a:pt x="1312" y="1524"/>
                  </a:lnTo>
                  <a:lnTo>
                    <a:pt x="1397" y="1651"/>
                  </a:lnTo>
                  <a:lnTo>
                    <a:pt x="1566" y="1905"/>
                  </a:lnTo>
                  <a:lnTo>
                    <a:pt x="1609" y="1989"/>
                  </a:lnTo>
                  <a:lnTo>
                    <a:pt x="1651" y="2074"/>
                  </a:lnTo>
                  <a:lnTo>
                    <a:pt x="1693" y="2116"/>
                  </a:lnTo>
                  <a:lnTo>
                    <a:pt x="1566" y="2328"/>
                  </a:lnTo>
                  <a:lnTo>
                    <a:pt x="1566" y="2370"/>
                  </a:lnTo>
                  <a:lnTo>
                    <a:pt x="1524" y="2413"/>
                  </a:lnTo>
                  <a:lnTo>
                    <a:pt x="1482" y="2455"/>
                  </a:lnTo>
                  <a:lnTo>
                    <a:pt x="1355" y="2582"/>
                  </a:lnTo>
                  <a:lnTo>
                    <a:pt x="1185" y="2709"/>
                  </a:lnTo>
                  <a:lnTo>
                    <a:pt x="1016" y="2540"/>
                  </a:lnTo>
                  <a:lnTo>
                    <a:pt x="889" y="2540"/>
                  </a:lnTo>
                  <a:lnTo>
                    <a:pt x="762" y="2497"/>
                  </a:lnTo>
                  <a:lnTo>
                    <a:pt x="677" y="2540"/>
                  </a:lnTo>
                  <a:lnTo>
                    <a:pt x="677" y="2582"/>
                  </a:lnTo>
                  <a:lnTo>
                    <a:pt x="677" y="2624"/>
                  </a:lnTo>
                  <a:lnTo>
                    <a:pt x="593" y="2667"/>
                  </a:lnTo>
                  <a:lnTo>
                    <a:pt x="466" y="2836"/>
                  </a:lnTo>
                  <a:lnTo>
                    <a:pt x="423" y="2878"/>
                  </a:lnTo>
                  <a:lnTo>
                    <a:pt x="381" y="2921"/>
                  </a:lnTo>
                  <a:lnTo>
                    <a:pt x="212" y="3005"/>
                  </a:lnTo>
                  <a:lnTo>
                    <a:pt x="127" y="3090"/>
                  </a:lnTo>
                  <a:lnTo>
                    <a:pt x="0" y="3175"/>
                  </a:lnTo>
                  <a:lnTo>
                    <a:pt x="42" y="3259"/>
                  </a:lnTo>
                  <a:lnTo>
                    <a:pt x="42" y="3302"/>
                  </a:lnTo>
                  <a:lnTo>
                    <a:pt x="169" y="3429"/>
                  </a:lnTo>
                  <a:lnTo>
                    <a:pt x="212" y="3471"/>
                  </a:lnTo>
                  <a:lnTo>
                    <a:pt x="296" y="3556"/>
                  </a:lnTo>
                  <a:lnTo>
                    <a:pt x="339" y="3598"/>
                  </a:lnTo>
                  <a:lnTo>
                    <a:pt x="381" y="3640"/>
                  </a:lnTo>
                  <a:lnTo>
                    <a:pt x="423" y="3725"/>
                  </a:lnTo>
                  <a:lnTo>
                    <a:pt x="466" y="3725"/>
                  </a:lnTo>
                  <a:lnTo>
                    <a:pt x="423" y="3810"/>
                  </a:lnTo>
                  <a:lnTo>
                    <a:pt x="381" y="3852"/>
                  </a:lnTo>
                  <a:lnTo>
                    <a:pt x="296" y="3937"/>
                  </a:lnTo>
                  <a:lnTo>
                    <a:pt x="296" y="3979"/>
                  </a:lnTo>
                  <a:lnTo>
                    <a:pt x="254" y="3979"/>
                  </a:lnTo>
                  <a:lnTo>
                    <a:pt x="212" y="4021"/>
                  </a:lnTo>
                  <a:lnTo>
                    <a:pt x="85" y="4064"/>
                  </a:lnTo>
                  <a:lnTo>
                    <a:pt x="42" y="4106"/>
                  </a:lnTo>
                  <a:lnTo>
                    <a:pt x="0" y="4106"/>
                  </a:lnTo>
                  <a:lnTo>
                    <a:pt x="0" y="4148"/>
                  </a:lnTo>
                  <a:lnTo>
                    <a:pt x="42" y="4233"/>
                  </a:lnTo>
                  <a:lnTo>
                    <a:pt x="85" y="4318"/>
                  </a:lnTo>
                  <a:lnTo>
                    <a:pt x="127" y="4402"/>
                  </a:lnTo>
                  <a:lnTo>
                    <a:pt x="127" y="4445"/>
                  </a:lnTo>
                  <a:lnTo>
                    <a:pt x="127" y="4487"/>
                  </a:lnTo>
                  <a:lnTo>
                    <a:pt x="212" y="4614"/>
                  </a:lnTo>
                  <a:lnTo>
                    <a:pt x="212" y="4656"/>
                  </a:lnTo>
                  <a:lnTo>
                    <a:pt x="296" y="4699"/>
                  </a:lnTo>
                  <a:lnTo>
                    <a:pt x="296" y="4741"/>
                  </a:lnTo>
                  <a:lnTo>
                    <a:pt x="254" y="4783"/>
                  </a:lnTo>
                  <a:lnTo>
                    <a:pt x="381" y="4826"/>
                  </a:lnTo>
                  <a:lnTo>
                    <a:pt x="339" y="4783"/>
                  </a:lnTo>
                  <a:lnTo>
                    <a:pt x="381" y="4741"/>
                  </a:lnTo>
                  <a:lnTo>
                    <a:pt x="381" y="4783"/>
                  </a:lnTo>
                  <a:lnTo>
                    <a:pt x="423" y="4826"/>
                  </a:lnTo>
                  <a:lnTo>
                    <a:pt x="423" y="4783"/>
                  </a:lnTo>
                  <a:lnTo>
                    <a:pt x="466" y="4741"/>
                  </a:lnTo>
                  <a:lnTo>
                    <a:pt x="508" y="4741"/>
                  </a:lnTo>
                  <a:lnTo>
                    <a:pt x="550" y="4741"/>
                  </a:lnTo>
                  <a:lnTo>
                    <a:pt x="593" y="4741"/>
                  </a:lnTo>
                  <a:lnTo>
                    <a:pt x="593" y="4783"/>
                  </a:lnTo>
                  <a:lnTo>
                    <a:pt x="635" y="4783"/>
                  </a:lnTo>
                  <a:lnTo>
                    <a:pt x="677" y="4783"/>
                  </a:lnTo>
                  <a:lnTo>
                    <a:pt x="720" y="4783"/>
                  </a:lnTo>
                  <a:lnTo>
                    <a:pt x="720" y="4826"/>
                  </a:lnTo>
                  <a:lnTo>
                    <a:pt x="762" y="4868"/>
                  </a:lnTo>
                  <a:lnTo>
                    <a:pt x="804" y="4868"/>
                  </a:lnTo>
                  <a:lnTo>
                    <a:pt x="804" y="4910"/>
                  </a:lnTo>
                  <a:lnTo>
                    <a:pt x="847" y="4910"/>
                  </a:lnTo>
                  <a:lnTo>
                    <a:pt x="889" y="4910"/>
                  </a:lnTo>
                  <a:lnTo>
                    <a:pt x="889" y="4868"/>
                  </a:lnTo>
                  <a:lnTo>
                    <a:pt x="931" y="4868"/>
                  </a:lnTo>
                  <a:lnTo>
                    <a:pt x="931" y="4910"/>
                  </a:lnTo>
                  <a:lnTo>
                    <a:pt x="974" y="4910"/>
                  </a:lnTo>
                  <a:lnTo>
                    <a:pt x="1016" y="4910"/>
                  </a:lnTo>
                  <a:lnTo>
                    <a:pt x="1058" y="4910"/>
                  </a:lnTo>
                  <a:lnTo>
                    <a:pt x="1101" y="4868"/>
                  </a:lnTo>
                  <a:lnTo>
                    <a:pt x="1143" y="4868"/>
                  </a:lnTo>
                  <a:lnTo>
                    <a:pt x="1185" y="4868"/>
                  </a:lnTo>
                  <a:lnTo>
                    <a:pt x="1185" y="4910"/>
                  </a:lnTo>
                  <a:lnTo>
                    <a:pt x="1143" y="4910"/>
                  </a:lnTo>
                  <a:lnTo>
                    <a:pt x="1143" y="4953"/>
                  </a:lnTo>
                  <a:lnTo>
                    <a:pt x="1185" y="4953"/>
                  </a:lnTo>
                  <a:lnTo>
                    <a:pt x="1185" y="4995"/>
                  </a:lnTo>
                  <a:lnTo>
                    <a:pt x="1228" y="5037"/>
                  </a:lnTo>
                  <a:lnTo>
                    <a:pt x="1270" y="5037"/>
                  </a:lnTo>
                  <a:lnTo>
                    <a:pt x="1312" y="5080"/>
                  </a:lnTo>
                  <a:lnTo>
                    <a:pt x="1355" y="5080"/>
                  </a:lnTo>
                  <a:lnTo>
                    <a:pt x="1355" y="5122"/>
                  </a:lnTo>
                  <a:lnTo>
                    <a:pt x="1355" y="5164"/>
                  </a:lnTo>
                  <a:lnTo>
                    <a:pt x="1397" y="5164"/>
                  </a:lnTo>
                  <a:lnTo>
                    <a:pt x="1397" y="5207"/>
                  </a:lnTo>
                  <a:lnTo>
                    <a:pt x="1439" y="5249"/>
                  </a:lnTo>
                  <a:lnTo>
                    <a:pt x="1439" y="5334"/>
                  </a:lnTo>
                  <a:lnTo>
                    <a:pt x="1482" y="5376"/>
                  </a:lnTo>
                  <a:lnTo>
                    <a:pt x="1524" y="5376"/>
                  </a:lnTo>
                  <a:lnTo>
                    <a:pt x="1524" y="5334"/>
                  </a:lnTo>
                  <a:lnTo>
                    <a:pt x="1566" y="5334"/>
                  </a:lnTo>
                  <a:lnTo>
                    <a:pt x="1609" y="5334"/>
                  </a:lnTo>
                  <a:lnTo>
                    <a:pt x="1609" y="5291"/>
                  </a:lnTo>
                  <a:lnTo>
                    <a:pt x="1651" y="5291"/>
                  </a:lnTo>
                  <a:lnTo>
                    <a:pt x="1651" y="5334"/>
                  </a:lnTo>
                  <a:lnTo>
                    <a:pt x="1693" y="5334"/>
                  </a:lnTo>
                  <a:lnTo>
                    <a:pt x="1693" y="5291"/>
                  </a:lnTo>
                  <a:lnTo>
                    <a:pt x="1736" y="5249"/>
                  </a:lnTo>
                  <a:lnTo>
                    <a:pt x="1778" y="5249"/>
                  </a:lnTo>
                  <a:lnTo>
                    <a:pt x="1778" y="5291"/>
                  </a:lnTo>
                  <a:lnTo>
                    <a:pt x="1778" y="5334"/>
                  </a:lnTo>
                  <a:lnTo>
                    <a:pt x="1820" y="5334"/>
                  </a:lnTo>
                  <a:lnTo>
                    <a:pt x="1863" y="5376"/>
                  </a:lnTo>
                  <a:lnTo>
                    <a:pt x="1905" y="5334"/>
                  </a:lnTo>
                  <a:lnTo>
                    <a:pt x="1947" y="5291"/>
                  </a:lnTo>
                  <a:lnTo>
                    <a:pt x="1947" y="5249"/>
                  </a:lnTo>
                  <a:lnTo>
                    <a:pt x="1990" y="5291"/>
                  </a:lnTo>
                  <a:lnTo>
                    <a:pt x="2032" y="5334"/>
                  </a:lnTo>
                  <a:lnTo>
                    <a:pt x="2117" y="5334"/>
                  </a:lnTo>
                  <a:lnTo>
                    <a:pt x="2159" y="5334"/>
                  </a:lnTo>
                  <a:lnTo>
                    <a:pt x="2201" y="5376"/>
                  </a:lnTo>
                  <a:lnTo>
                    <a:pt x="2244" y="5376"/>
                  </a:lnTo>
                  <a:lnTo>
                    <a:pt x="2244" y="5334"/>
                  </a:lnTo>
                  <a:lnTo>
                    <a:pt x="2201" y="5080"/>
                  </a:lnTo>
                  <a:lnTo>
                    <a:pt x="2286" y="4995"/>
                  </a:lnTo>
                  <a:lnTo>
                    <a:pt x="2371" y="4910"/>
                  </a:lnTo>
                  <a:lnTo>
                    <a:pt x="2413" y="4868"/>
                  </a:lnTo>
                  <a:lnTo>
                    <a:pt x="2582" y="4868"/>
                  </a:lnTo>
                  <a:lnTo>
                    <a:pt x="2709" y="4826"/>
                  </a:lnTo>
                  <a:lnTo>
                    <a:pt x="2752" y="4826"/>
                  </a:lnTo>
                  <a:lnTo>
                    <a:pt x="2752" y="4783"/>
                  </a:lnTo>
                  <a:lnTo>
                    <a:pt x="2836" y="4826"/>
                  </a:lnTo>
                  <a:lnTo>
                    <a:pt x="2921" y="4868"/>
                  </a:lnTo>
                  <a:lnTo>
                    <a:pt x="3006" y="4910"/>
                  </a:lnTo>
                  <a:lnTo>
                    <a:pt x="3175" y="4995"/>
                  </a:lnTo>
                  <a:lnTo>
                    <a:pt x="3260" y="4995"/>
                  </a:lnTo>
                  <a:lnTo>
                    <a:pt x="3302" y="5037"/>
                  </a:lnTo>
                  <a:lnTo>
                    <a:pt x="3260" y="5080"/>
                  </a:lnTo>
                  <a:lnTo>
                    <a:pt x="3260" y="5122"/>
                  </a:lnTo>
                  <a:lnTo>
                    <a:pt x="3260" y="5164"/>
                  </a:lnTo>
                  <a:lnTo>
                    <a:pt x="3260" y="5207"/>
                  </a:lnTo>
                  <a:lnTo>
                    <a:pt x="3302" y="5207"/>
                  </a:lnTo>
                  <a:lnTo>
                    <a:pt x="3344" y="5164"/>
                  </a:lnTo>
                  <a:lnTo>
                    <a:pt x="3387" y="5164"/>
                  </a:lnTo>
                  <a:lnTo>
                    <a:pt x="3429" y="5122"/>
                  </a:lnTo>
                  <a:lnTo>
                    <a:pt x="3471" y="5037"/>
                  </a:lnTo>
                  <a:lnTo>
                    <a:pt x="3556" y="5037"/>
                  </a:lnTo>
                  <a:lnTo>
                    <a:pt x="3598" y="5037"/>
                  </a:lnTo>
                  <a:lnTo>
                    <a:pt x="3641" y="4995"/>
                  </a:lnTo>
                  <a:lnTo>
                    <a:pt x="3683" y="4995"/>
                  </a:lnTo>
                  <a:lnTo>
                    <a:pt x="3725" y="4995"/>
                  </a:lnTo>
                  <a:lnTo>
                    <a:pt x="3768" y="4995"/>
                  </a:lnTo>
                  <a:lnTo>
                    <a:pt x="3810" y="4995"/>
                  </a:lnTo>
                  <a:lnTo>
                    <a:pt x="3852" y="4995"/>
                  </a:lnTo>
                  <a:lnTo>
                    <a:pt x="3895" y="5037"/>
                  </a:lnTo>
                  <a:lnTo>
                    <a:pt x="3937" y="4995"/>
                  </a:lnTo>
                  <a:lnTo>
                    <a:pt x="3979" y="4995"/>
                  </a:lnTo>
                  <a:lnTo>
                    <a:pt x="4064" y="4995"/>
                  </a:lnTo>
                  <a:lnTo>
                    <a:pt x="4149" y="4995"/>
                  </a:lnTo>
                  <a:lnTo>
                    <a:pt x="4191" y="4953"/>
                  </a:lnTo>
                  <a:lnTo>
                    <a:pt x="4233" y="4995"/>
                  </a:lnTo>
                  <a:lnTo>
                    <a:pt x="4318" y="4995"/>
                  </a:lnTo>
                  <a:lnTo>
                    <a:pt x="4360" y="4995"/>
                  </a:lnTo>
                  <a:lnTo>
                    <a:pt x="4445" y="5037"/>
                  </a:lnTo>
                  <a:lnTo>
                    <a:pt x="4445" y="5080"/>
                  </a:lnTo>
                  <a:lnTo>
                    <a:pt x="4487" y="5080"/>
                  </a:lnTo>
                  <a:lnTo>
                    <a:pt x="4572" y="5080"/>
                  </a:lnTo>
                  <a:lnTo>
                    <a:pt x="4614" y="5080"/>
                  </a:lnTo>
                  <a:lnTo>
                    <a:pt x="4657" y="5080"/>
                  </a:lnTo>
                  <a:lnTo>
                    <a:pt x="4741" y="5080"/>
                  </a:lnTo>
                  <a:lnTo>
                    <a:pt x="4784" y="5037"/>
                  </a:lnTo>
                  <a:lnTo>
                    <a:pt x="4826" y="5037"/>
                  </a:lnTo>
                  <a:lnTo>
                    <a:pt x="4868" y="5080"/>
                  </a:lnTo>
                  <a:lnTo>
                    <a:pt x="4911" y="5037"/>
                  </a:lnTo>
                  <a:lnTo>
                    <a:pt x="4911" y="5080"/>
                  </a:lnTo>
                  <a:lnTo>
                    <a:pt x="4953" y="5080"/>
                  </a:lnTo>
                  <a:lnTo>
                    <a:pt x="5080" y="5122"/>
                  </a:lnTo>
                  <a:lnTo>
                    <a:pt x="5122" y="5122"/>
                  </a:lnTo>
                  <a:lnTo>
                    <a:pt x="5207" y="5037"/>
                  </a:lnTo>
                  <a:lnTo>
                    <a:pt x="5207" y="4995"/>
                  </a:lnTo>
                  <a:lnTo>
                    <a:pt x="5207" y="4910"/>
                  </a:lnTo>
                  <a:lnTo>
                    <a:pt x="5207" y="4741"/>
                  </a:lnTo>
                  <a:lnTo>
                    <a:pt x="5249" y="4318"/>
                  </a:lnTo>
                  <a:lnTo>
                    <a:pt x="5249" y="3767"/>
                  </a:lnTo>
                  <a:lnTo>
                    <a:pt x="5249" y="3513"/>
                  </a:lnTo>
                  <a:lnTo>
                    <a:pt x="5376" y="3259"/>
                  </a:lnTo>
                  <a:lnTo>
                    <a:pt x="5249" y="3259"/>
                  </a:lnTo>
                  <a:lnTo>
                    <a:pt x="5249" y="3175"/>
                  </a:lnTo>
                  <a:lnTo>
                    <a:pt x="5207" y="3132"/>
                  </a:lnTo>
                  <a:lnTo>
                    <a:pt x="5122" y="3005"/>
                  </a:lnTo>
                  <a:lnTo>
                    <a:pt x="5080" y="3005"/>
                  </a:lnTo>
                  <a:lnTo>
                    <a:pt x="5080" y="2963"/>
                  </a:lnTo>
                  <a:lnTo>
                    <a:pt x="4953" y="2963"/>
                  </a:lnTo>
                  <a:lnTo>
                    <a:pt x="4953" y="2921"/>
                  </a:lnTo>
                  <a:lnTo>
                    <a:pt x="5038" y="2667"/>
                  </a:lnTo>
                  <a:lnTo>
                    <a:pt x="5080" y="2624"/>
                  </a:lnTo>
                  <a:lnTo>
                    <a:pt x="5080" y="2540"/>
                  </a:lnTo>
                  <a:lnTo>
                    <a:pt x="4995" y="2540"/>
                  </a:lnTo>
                  <a:lnTo>
                    <a:pt x="4953" y="2497"/>
                  </a:lnTo>
                  <a:lnTo>
                    <a:pt x="4911" y="2455"/>
                  </a:lnTo>
                  <a:lnTo>
                    <a:pt x="4868" y="2370"/>
                  </a:lnTo>
                  <a:lnTo>
                    <a:pt x="4784" y="2243"/>
                  </a:lnTo>
                  <a:lnTo>
                    <a:pt x="4741" y="2243"/>
                  </a:lnTo>
                  <a:lnTo>
                    <a:pt x="4741" y="2201"/>
                  </a:lnTo>
                  <a:lnTo>
                    <a:pt x="4699" y="2201"/>
                  </a:lnTo>
                  <a:lnTo>
                    <a:pt x="4657" y="2116"/>
                  </a:lnTo>
                  <a:lnTo>
                    <a:pt x="4614" y="2032"/>
                  </a:lnTo>
                  <a:lnTo>
                    <a:pt x="4572" y="1989"/>
                  </a:lnTo>
                  <a:lnTo>
                    <a:pt x="4530" y="1947"/>
                  </a:lnTo>
                  <a:lnTo>
                    <a:pt x="4530" y="1905"/>
                  </a:lnTo>
                  <a:lnTo>
                    <a:pt x="4487" y="1862"/>
                  </a:lnTo>
                  <a:lnTo>
                    <a:pt x="4403" y="1778"/>
                  </a:lnTo>
                  <a:lnTo>
                    <a:pt x="4318" y="1693"/>
                  </a:lnTo>
                  <a:lnTo>
                    <a:pt x="4276" y="1651"/>
                  </a:lnTo>
                  <a:lnTo>
                    <a:pt x="4064" y="1439"/>
                  </a:lnTo>
                  <a:lnTo>
                    <a:pt x="3937" y="1312"/>
                  </a:lnTo>
                  <a:lnTo>
                    <a:pt x="3810" y="1185"/>
                  </a:lnTo>
                  <a:lnTo>
                    <a:pt x="3810" y="1143"/>
                  </a:lnTo>
                  <a:lnTo>
                    <a:pt x="3641" y="1016"/>
                  </a:lnTo>
                  <a:lnTo>
                    <a:pt x="3598" y="931"/>
                  </a:lnTo>
                  <a:lnTo>
                    <a:pt x="3429" y="804"/>
                  </a:lnTo>
                  <a:lnTo>
                    <a:pt x="3429" y="762"/>
                  </a:lnTo>
                  <a:lnTo>
                    <a:pt x="3387" y="762"/>
                  </a:lnTo>
                  <a:lnTo>
                    <a:pt x="3344" y="719"/>
                  </a:lnTo>
                  <a:lnTo>
                    <a:pt x="3302" y="719"/>
                  </a:lnTo>
                  <a:lnTo>
                    <a:pt x="3260" y="719"/>
                  </a:lnTo>
                  <a:lnTo>
                    <a:pt x="3133" y="719"/>
                  </a:lnTo>
                  <a:lnTo>
                    <a:pt x="3048" y="762"/>
                  </a:lnTo>
                  <a:lnTo>
                    <a:pt x="3006" y="762"/>
                  </a:lnTo>
                  <a:lnTo>
                    <a:pt x="2794" y="846"/>
                  </a:lnTo>
                  <a:lnTo>
                    <a:pt x="2794" y="804"/>
                  </a:lnTo>
                  <a:lnTo>
                    <a:pt x="2752" y="762"/>
                  </a:lnTo>
                  <a:lnTo>
                    <a:pt x="2794" y="719"/>
                  </a:lnTo>
                  <a:lnTo>
                    <a:pt x="2752" y="719"/>
                  </a:lnTo>
                  <a:lnTo>
                    <a:pt x="2752" y="677"/>
                  </a:lnTo>
                  <a:lnTo>
                    <a:pt x="2709" y="635"/>
                  </a:lnTo>
                  <a:lnTo>
                    <a:pt x="2667" y="592"/>
                  </a:lnTo>
                  <a:lnTo>
                    <a:pt x="2625" y="550"/>
                  </a:lnTo>
                  <a:lnTo>
                    <a:pt x="2625" y="508"/>
                  </a:lnTo>
                  <a:lnTo>
                    <a:pt x="2540" y="508"/>
                  </a:lnTo>
                  <a:lnTo>
                    <a:pt x="2540" y="465"/>
                  </a:lnTo>
                  <a:lnTo>
                    <a:pt x="2498" y="423"/>
                  </a:lnTo>
                  <a:lnTo>
                    <a:pt x="2498" y="381"/>
                  </a:lnTo>
                  <a:lnTo>
                    <a:pt x="2498" y="338"/>
                  </a:lnTo>
                  <a:lnTo>
                    <a:pt x="2413" y="381"/>
                  </a:lnTo>
                  <a:lnTo>
                    <a:pt x="2371" y="338"/>
                  </a:lnTo>
                  <a:lnTo>
                    <a:pt x="2371" y="296"/>
                  </a:lnTo>
                  <a:lnTo>
                    <a:pt x="2328" y="169"/>
                  </a:lnTo>
                  <a:lnTo>
                    <a:pt x="2286" y="211"/>
                  </a:lnTo>
                  <a:lnTo>
                    <a:pt x="2244" y="169"/>
                  </a:lnTo>
                  <a:lnTo>
                    <a:pt x="2201" y="42"/>
                  </a:lnTo>
                  <a:lnTo>
                    <a:pt x="2117" y="42"/>
                  </a:lnTo>
                  <a:lnTo>
                    <a:pt x="2074" y="0"/>
                  </a:lnTo>
                  <a:lnTo>
                    <a:pt x="2032" y="42"/>
                  </a:lnTo>
                  <a:lnTo>
                    <a:pt x="1990" y="0"/>
                  </a:lnTo>
                  <a:lnTo>
                    <a:pt x="1947" y="0"/>
                  </a:lnTo>
                  <a:lnTo>
                    <a:pt x="1863" y="0"/>
                  </a:lnTo>
                  <a:close/>
                  <a:moveTo>
                    <a:pt x="5249" y="3175"/>
                  </a:moveTo>
                  <a:lnTo>
                    <a:pt x="5292" y="3175"/>
                  </a:lnTo>
                  <a:lnTo>
                    <a:pt x="5292" y="3132"/>
                  </a:lnTo>
                  <a:lnTo>
                    <a:pt x="5249" y="3175"/>
                  </a:lnTo>
                  <a:close/>
                </a:path>
              </a:pathLst>
            </a:custGeom>
            <a:noFill/>
            <a:ln w="12700" cap="flat" cmpd="sng">
              <a:solidFill>
                <a:schemeClr val="tx1"/>
              </a:solidFill>
              <a:prstDash val="solid"/>
              <a:bevel/>
              <a:headEnd/>
              <a:tailEnd/>
            </a:ln>
          </p:spPr>
          <p:txBody>
            <a:bodyPr/>
            <a:lstStyle/>
            <a:p>
              <a:endParaRPr lang="nl-NL"/>
            </a:p>
          </p:txBody>
        </p:sp>
        <p:sp>
          <p:nvSpPr>
            <p:cNvPr id="48" name="Freeform 534">
              <a:extLst>
                <a:ext uri="{FF2B5EF4-FFF2-40B4-BE49-F238E27FC236}">
                  <a16:creationId xmlns:a16="http://schemas.microsoft.com/office/drawing/2014/main" id="{589F1374-DAA8-8A38-1C55-2BFB7DADE68A}"/>
                </a:ext>
              </a:extLst>
            </p:cNvPr>
            <p:cNvSpPr>
              <a:spLocks noEditPoints="1"/>
            </p:cNvSpPr>
            <p:nvPr/>
          </p:nvSpPr>
          <p:spPr bwMode="auto">
            <a:xfrm>
              <a:off x="5200639" y="4875805"/>
              <a:ext cx="2207965" cy="2065686"/>
            </a:xfrm>
            <a:custGeom>
              <a:avLst/>
              <a:gdLst/>
              <a:ahLst/>
              <a:cxnLst>
                <a:cxn ang="0">
                  <a:pos x="1439" y="296"/>
                </a:cxn>
                <a:cxn ang="0">
                  <a:pos x="1058" y="338"/>
                </a:cxn>
                <a:cxn ang="0">
                  <a:pos x="720" y="211"/>
                </a:cxn>
                <a:cxn ang="0">
                  <a:pos x="508" y="465"/>
                </a:cxn>
                <a:cxn ang="0">
                  <a:pos x="212" y="423"/>
                </a:cxn>
                <a:cxn ang="0">
                  <a:pos x="127" y="635"/>
                </a:cxn>
                <a:cxn ang="0">
                  <a:pos x="593" y="889"/>
                </a:cxn>
                <a:cxn ang="0">
                  <a:pos x="931" y="1439"/>
                </a:cxn>
                <a:cxn ang="0">
                  <a:pos x="804" y="1735"/>
                </a:cxn>
                <a:cxn ang="0">
                  <a:pos x="1228" y="1947"/>
                </a:cxn>
                <a:cxn ang="0">
                  <a:pos x="677" y="2243"/>
                </a:cxn>
                <a:cxn ang="0">
                  <a:pos x="254" y="2497"/>
                </a:cxn>
                <a:cxn ang="0">
                  <a:pos x="254" y="2667"/>
                </a:cxn>
                <a:cxn ang="0">
                  <a:pos x="381" y="3090"/>
                </a:cxn>
                <a:cxn ang="0">
                  <a:pos x="847" y="3429"/>
                </a:cxn>
                <a:cxn ang="0">
                  <a:pos x="1228" y="3217"/>
                </a:cxn>
                <a:cxn ang="0">
                  <a:pos x="1482" y="3386"/>
                </a:cxn>
                <a:cxn ang="0">
                  <a:pos x="1820" y="3852"/>
                </a:cxn>
                <a:cxn ang="0">
                  <a:pos x="1863" y="4233"/>
                </a:cxn>
                <a:cxn ang="0">
                  <a:pos x="1566" y="4445"/>
                </a:cxn>
                <a:cxn ang="0">
                  <a:pos x="1566" y="4699"/>
                </a:cxn>
                <a:cxn ang="0">
                  <a:pos x="1609" y="5080"/>
                </a:cxn>
                <a:cxn ang="0">
                  <a:pos x="1820" y="5334"/>
                </a:cxn>
                <a:cxn ang="0">
                  <a:pos x="2032" y="5545"/>
                </a:cxn>
                <a:cxn ang="0">
                  <a:pos x="2074" y="5715"/>
                </a:cxn>
                <a:cxn ang="0">
                  <a:pos x="2413" y="5715"/>
                </a:cxn>
                <a:cxn ang="0">
                  <a:pos x="2794" y="5715"/>
                </a:cxn>
                <a:cxn ang="0">
                  <a:pos x="3133" y="5588"/>
                </a:cxn>
                <a:cxn ang="0">
                  <a:pos x="3514" y="5588"/>
                </a:cxn>
                <a:cxn ang="0">
                  <a:pos x="3810" y="5969"/>
                </a:cxn>
                <a:cxn ang="0">
                  <a:pos x="4276" y="6180"/>
                </a:cxn>
                <a:cxn ang="0">
                  <a:pos x="4657" y="6223"/>
                </a:cxn>
                <a:cxn ang="0">
                  <a:pos x="4953" y="6350"/>
                </a:cxn>
                <a:cxn ang="0">
                  <a:pos x="5461" y="6688"/>
                </a:cxn>
                <a:cxn ang="0">
                  <a:pos x="6138" y="6307"/>
                </a:cxn>
                <a:cxn ang="0">
                  <a:pos x="6604" y="5926"/>
                </a:cxn>
                <a:cxn ang="0">
                  <a:pos x="6816" y="5672"/>
                </a:cxn>
                <a:cxn ang="0">
                  <a:pos x="6943" y="5249"/>
                </a:cxn>
                <a:cxn ang="0">
                  <a:pos x="6985" y="4910"/>
                </a:cxn>
                <a:cxn ang="0">
                  <a:pos x="7154" y="4318"/>
                </a:cxn>
                <a:cxn ang="0">
                  <a:pos x="6858" y="3894"/>
                </a:cxn>
                <a:cxn ang="0">
                  <a:pos x="6604" y="3471"/>
                </a:cxn>
                <a:cxn ang="0">
                  <a:pos x="5969" y="3640"/>
                </a:cxn>
                <a:cxn ang="0">
                  <a:pos x="5165" y="3429"/>
                </a:cxn>
                <a:cxn ang="0">
                  <a:pos x="5122" y="2751"/>
                </a:cxn>
                <a:cxn ang="0">
                  <a:pos x="5165" y="2116"/>
                </a:cxn>
                <a:cxn ang="0">
                  <a:pos x="5038" y="1820"/>
                </a:cxn>
                <a:cxn ang="0">
                  <a:pos x="4360" y="1693"/>
                </a:cxn>
                <a:cxn ang="0">
                  <a:pos x="3937" y="2159"/>
                </a:cxn>
                <a:cxn ang="0">
                  <a:pos x="3598" y="2159"/>
                </a:cxn>
                <a:cxn ang="0">
                  <a:pos x="3429" y="2116"/>
                </a:cxn>
                <a:cxn ang="0">
                  <a:pos x="3217" y="2074"/>
                </a:cxn>
                <a:cxn ang="0">
                  <a:pos x="3006" y="1862"/>
                </a:cxn>
                <a:cxn ang="0">
                  <a:pos x="2879" y="1693"/>
                </a:cxn>
                <a:cxn ang="0">
                  <a:pos x="2625" y="1735"/>
                </a:cxn>
                <a:cxn ang="0">
                  <a:pos x="2371" y="1608"/>
                </a:cxn>
                <a:cxn ang="0">
                  <a:pos x="2159" y="1566"/>
                </a:cxn>
                <a:cxn ang="0">
                  <a:pos x="1905" y="1312"/>
                </a:cxn>
                <a:cxn ang="0">
                  <a:pos x="1863" y="889"/>
                </a:cxn>
                <a:cxn ang="0">
                  <a:pos x="2201" y="550"/>
                </a:cxn>
                <a:cxn ang="0">
                  <a:pos x="1778" y="0"/>
                </a:cxn>
              </a:cxnLst>
              <a:rect l="0" t="0" r="r" b="b"/>
              <a:pathLst>
                <a:path w="7154" h="6688">
                  <a:moveTo>
                    <a:pt x="1778" y="0"/>
                  </a:moveTo>
                  <a:lnTo>
                    <a:pt x="1651" y="84"/>
                  </a:lnTo>
                  <a:lnTo>
                    <a:pt x="1609" y="127"/>
                  </a:lnTo>
                  <a:lnTo>
                    <a:pt x="1566" y="169"/>
                  </a:lnTo>
                  <a:lnTo>
                    <a:pt x="1439" y="169"/>
                  </a:lnTo>
                  <a:lnTo>
                    <a:pt x="1397" y="169"/>
                  </a:lnTo>
                  <a:lnTo>
                    <a:pt x="1439" y="254"/>
                  </a:lnTo>
                  <a:lnTo>
                    <a:pt x="1439" y="296"/>
                  </a:lnTo>
                  <a:lnTo>
                    <a:pt x="1397" y="296"/>
                  </a:lnTo>
                  <a:lnTo>
                    <a:pt x="1355" y="338"/>
                  </a:lnTo>
                  <a:lnTo>
                    <a:pt x="1270" y="381"/>
                  </a:lnTo>
                  <a:lnTo>
                    <a:pt x="1270" y="296"/>
                  </a:lnTo>
                  <a:lnTo>
                    <a:pt x="1143" y="338"/>
                  </a:lnTo>
                  <a:lnTo>
                    <a:pt x="1101" y="381"/>
                  </a:lnTo>
                  <a:lnTo>
                    <a:pt x="1101" y="338"/>
                  </a:lnTo>
                  <a:lnTo>
                    <a:pt x="1058" y="338"/>
                  </a:lnTo>
                  <a:lnTo>
                    <a:pt x="1016" y="296"/>
                  </a:lnTo>
                  <a:lnTo>
                    <a:pt x="974" y="211"/>
                  </a:lnTo>
                  <a:lnTo>
                    <a:pt x="974" y="127"/>
                  </a:lnTo>
                  <a:lnTo>
                    <a:pt x="889" y="169"/>
                  </a:lnTo>
                  <a:lnTo>
                    <a:pt x="889" y="211"/>
                  </a:lnTo>
                  <a:lnTo>
                    <a:pt x="804" y="169"/>
                  </a:lnTo>
                  <a:lnTo>
                    <a:pt x="804" y="211"/>
                  </a:lnTo>
                  <a:lnTo>
                    <a:pt x="720" y="211"/>
                  </a:lnTo>
                  <a:lnTo>
                    <a:pt x="677" y="254"/>
                  </a:lnTo>
                  <a:lnTo>
                    <a:pt x="677" y="296"/>
                  </a:lnTo>
                  <a:lnTo>
                    <a:pt x="635" y="338"/>
                  </a:lnTo>
                  <a:lnTo>
                    <a:pt x="635" y="381"/>
                  </a:lnTo>
                  <a:lnTo>
                    <a:pt x="593" y="423"/>
                  </a:lnTo>
                  <a:lnTo>
                    <a:pt x="550" y="423"/>
                  </a:lnTo>
                  <a:lnTo>
                    <a:pt x="550" y="465"/>
                  </a:lnTo>
                  <a:lnTo>
                    <a:pt x="508" y="465"/>
                  </a:lnTo>
                  <a:lnTo>
                    <a:pt x="466" y="508"/>
                  </a:lnTo>
                  <a:lnTo>
                    <a:pt x="423" y="508"/>
                  </a:lnTo>
                  <a:lnTo>
                    <a:pt x="381" y="508"/>
                  </a:lnTo>
                  <a:lnTo>
                    <a:pt x="339" y="508"/>
                  </a:lnTo>
                  <a:lnTo>
                    <a:pt x="296" y="465"/>
                  </a:lnTo>
                  <a:lnTo>
                    <a:pt x="254" y="465"/>
                  </a:lnTo>
                  <a:lnTo>
                    <a:pt x="212" y="465"/>
                  </a:lnTo>
                  <a:lnTo>
                    <a:pt x="212" y="423"/>
                  </a:lnTo>
                  <a:lnTo>
                    <a:pt x="169" y="423"/>
                  </a:lnTo>
                  <a:lnTo>
                    <a:pt x="127" y="423"/>
                  </a:lnTo>
                  <a:lnTo>
                    <a:pt x="127" y="381"/>
                  </a:lnTo>
                  <a:lnTo>
                    <a:pt x="85" y="381"/>
                  </a:lnTo>
                  <a:lnTo>
                    <a:pt x="0" y="465"/>
                  </a:lnTo>
                  <a:lnTo>
                    <a:pt x="42" y="550"/>
                  </a:lnTo>
                  <a:lnTo>
                    <a:pt x="85" y="592"/>
                  </a:lnTo>
                  <a:lnTo>
                    <a:pt x="127" y="635"/>
                  </a:lnTo>
                  <a:lnTo>
                    <a:pt x="127" y="677"/>
                  </a:lnTo>
                  <a:lnTo>
                    <a:pt x="212" y="677"/>
                  </a:lnTo>
                  <a:lnTo>
                    <a:pt x="296" y="677"/>
                  </a:lnTo>
                  <a:lnTo>
                    <a:pt x="339" y="719"/>
                  </a:lnTo>
                  <a:lnTo>
                    <a:pt x="466" y="762"/>
                  </a:lnTo>
                  <a:lnTo>
                    <a:pt x="508" y="846"/>
                  </a:lnTo>
                  <a:lnTo>
                    <a:pt x="550" y="889"/>
                  </a:lnTo>
                  <a:lnTo>
                    <a:pt x="593" y="889"/>
                  </a:lnTo>
                  <a:lnTo>
                    <a:pt x="677" y="973"/>
                  </a:lnTo>
                  <a:lnTo>
                    <a:pt x="720" y="1100"/>
                  </a:lnTo>
                  <a:lnTo>
                    <a:pt x="804" y="1270"/>
                  </a:lnTo>
                  <a:lnTo>
                    <a:pt x="804" y="1312"/>
                  </a:lnTo>
                  <a:lnTo>
                    <a:pt x="847" y="1312"/>
                  </a:lnTo>
                  <a:lnTo>
                    <a:pt x="889" y="1354"/>
                  </a:lnTo>
                  <a:lnTo>
                    <a:pt x="889" y="1397"/>
                  </a:lnTo>
                  <a:lnTo>
                    <a:pt x="931" y="1439"/>
                  </a:lnTo>
                  <a:lnTo>
                    <a:pt x="931" y="1481"/>
                  </a:lnTo>
                  <a:lnTo>
                    <a:pt x="931" y="1524"/>
                  </a:lnTo>
                  <a:lnTo>
                    <a:pt x="847" y="1566"/>
                  </a:lnTo>
                  <a:lnTo>
                    <a:pt x="804" y="1608"/>
                  </a:lnTo>
                  <a:lnTo>
                    <a:pt x="762" y="1651"/>
                  </a:lnTo>
                  <a:lnTo>
                    <a:pt x="762" y="1693"/>
                  </a:lnTo>
                  <a:lnTo>
                    <a:pt x="762" y="1735"/>
                  </a:lnTo>
                  <a:lnTo>
                    <a:pt x="804" y="1735"/>
                  </a:lnTo>
                  <a:lnTo>
                    <a:pt x="804" y="1693"/>
                  </a:lnTo>
                  <a:lnTo>
                    <a:pt x="889" y="1735"/>
                  </a:lnTo>
                  <a:lnTo>
                    <a:pt x="931" y="1735"/>
                  </a:lnTo>
                  <a:lnTo>
                    <a:pt x="1016" y="1778"/>
                  </a:lnTo>
                  <a:lnTo>
                    <a:pt x="1058" y="1820"/>
                  </a:lnTo>
                  <a:lnTo>
                    <a:pt x="1101" y="1862"/>
                  </a:lnTo>
                  <a:lnTo>
                    <a:pt x="1185" y="1862"/>
                  </a:lnTo>
                  <a:lnTo>
                    <a:pt x="1228" y="1947"/>
                  </a:lnTo>
                  <a:lnTo>
                    <a:pt x="1185" y="1989"/>
                  </a:lnTo>
                  <a:lnTo>
                    <a:pt x="1058" y="2074"/>
                  </a:lnTo>
                  <a:lnTo>
                    <a:pt x="1016" y="2074"/>
                  </a:lnTo>
                  <a:lnTo>
                    <a:pt x="889" y="2116"/>
                  </a:lnTo>
                  <a:lnTo>
                    <a:pt x="889" y="2159"/>
                  </a:lnTo>
                  <a:lnTo>
                    <a:pt x="804" y="2201"/>
                  </a:lnTo>
                  <a:lnTo>
                    <a:pt x="762" y="2201"/>
                  </a:lnTo>
                  <a:lnTo>
                    <a:pt x="677" y="2243"/>
                  </a:lnTo>
                  <a:lnTo>
                    <a:pt x="635" y="2201"/>
                  </a:lnTo>
                  <a:lnTo>
                    <a:pt x="593" y="2159"/>
                  </a:lnTo>
                  <a:lnTo>
                    <a:pt x="254" y="2243"/>
                  </a:lnTo>
                  <a:lnTo>
                    <a:pt x="212" y="2286"/>
                  </a:lnTo>
                  <a:lnTo>
                    <a:pt x="212" y="2370"/>
                  </a:lnTo>
                  <a:lnTo>
                    <a:pt x="212" y="2413"/>
                  </a:lnTo>
                  <a:lnTo>
                    <a:pt x="212" y="2455"/>
                  </a:lnTo>
                  <a:lnTo>
                    <a:pt x="254" y="2497"/>
                  </a:lnTo>
                  <a:lnTo>
                    <a:pt x="254" y="2540"/>
                  </a:lnTo>
                  <a:lnTo>
                    <a:pt x="85" y="2497"/>
                  </a:lnTo>
                  <a:lnTo>
                    <a:pt x="127" y="2540"/>
                  </a:lnTo>
                  <a:lnTo>
                    <a:pt x="169" y="2540"/>
                  </a:lnTo>
                  <a:lnTo>
                    <a:pt x="212" y="2540"/>
                  </a:lnTo>
                  <a:lnTo>
                    <a:pt x="212" y="2582"/>
                  </a:lnTo>
                  <a:lnTo>
                    <a:pt x="254" y="2624"/>
                  </a:lnTo>
                  <a:lnTo>
                    <a:pt x="254" y="2667"/>
                  </a:lnTo>
                  <a:lnTo>
                    <a:pt x="254" y="2709"/>
                  </a:lnTo>
                  <a:lnTo>
                    <a:pt x="296" y="2751"/>
                  </a:lnTo>
                  <a:lnTo>
                    <a:pt x="339" y="2794"/>
                  </a:lnTo>
                  <a:lnTo>
                    <a:pt x="339" y="2836"/>
                  </a:lnTo>
                  <a:lnTo>
                    <a:pt x="339" y="2878"/>
                  </a:lnTo>
                  <a:lnTo>
                    <a:pt x="381" y="2921"/>
                  </a:lnTo>
                  <a:lnTo>
                    <a:pt x="381" y="3005"/>
                  </a:lnTo>
                  <a:lnTo>
                    <a:pt x="381" y="3090"/>
                  </a:lnTo>
                  <a:lnTo>
                    <a:pt x="466" y="3048"/>
                  </a:lnTo>
                  <a:lnTo>
                    <a:pt x="508" y="3090"/>
                  </a:lnTo>
                  <a:lnTo>
                    <a:pt x="593" y="3217"/>
                  </a:lnTo>
                  <a:lnTo>
                    <a:pt x="635" y="3302"/>
                  </a:lnTo>
                  <a:lnTo>
                    <a:pt x="720" y="3429"/>
                  </a:lnTo>
                  <a:lnTo>
                    <a:pt x="720" y="3513"/>
                  </a:lnTo>
                  <a:lnTo>
                    <a:pt x="804" y="3471"/>
                  </a:lnTo>
                  <a:lnTo>
                    <a:pt x="847" y="3429"/>
                  </a:lnTo>
                  <a:lnTo>
                    <a:pt x="889" y="3386"/>
                  </a:lnTo>
                  <a:lnTo>
                    <a:pt x="889" y="3429"/>
                  </a:lnTo>
                  <a:lnTo>
                    <a:pt x="931" y="3471"/>
                  </a:lnTo>
                  <a:lnTo>
                    <a:pt x="974" y="3429"/>
                  </a:lnTo>
                  <a:lnTo>
                    <a:pt x="1058" y="3344"/>
                  </a:lnTo>
                  <a:lnTo>
                    <a:pt x="1143" y="3259"/>
                  </a:lnTo>
                  <a:lnTo>
                    <a:pt x="1185" y="3217"/>
                  </a:lnTo>
                  <a:lnTo>
                    <a:pt x="1228" y="3217"/>
                  </a:lnTo>
                  <a:lnTo>
                    <a:pt x="1270" y="3217"/>
                  </a:lnTo>
                  <a:lnTo>
                    <a:pt x="1312" y="3175"/>
                  </a:lnTo>
                  <a:lnTo>
                    <a:pt x="1355" y="3217"/>
                  </a:lnTo>
                  <a:lnTo>
                    <a:pt x="1397" y="3217"/>
                  </a:lnTo>
                  <a:lnTo>
                    <a:pt x="1439" y="3259"/>
                  </a:lnTo>
                  <a:lnTo>
                    <a:pt x="1482" y="3302"/>
                  </a:lnTo>
                  <a:lnTo>
                    <a:pt x="1482" y="3344"/>
                  </a:lnTo>
                  <a:lnTo>
                    <a:pt x="1482" y="3386"/>
                  </a:lnTo>
                  <a:lnTo>
                    <a:pt x="1524" y="3429"/>
                  </a:lnTo>
                  <a:lnTo>
                    <a:pt x="1651" y="3471"/>
                  </a:lnTo>
                  <a:lnTo>
                    <a:pt x="1693" y="3513"/>
                  </a:lnTo>
                  <a:lnTo>
                    <a:pt x="1693" y="3556"/>
                  </a:lnTo>
                  <a:lnTo>
                    <a:pt x="1736" y="3683"/>
                  </a:lnTo>
                  <a:lnTo>
                    <a:pt x="1736" y="3767"/>
                  </a:lnTo>
                  <a:lnTo>
                    <a:pt x="1778" y="3810"/>
                  </a:lnTo>
                  <a:lnTo>
                    <a:pt x="1820" y="3852"/>
                  </a:lnTo>
                  <a:lnTo>
                    <a:pt x="1820" y="3937"/>
                  </a:lnTo>
                  <a:lnTo>
                    <a:pt x="1778" y="3979"/>
                  </a:lnTo>
                  <a:lnTo>
                    <a:pt x="1778" y="4021"/>
                  </a:lnTo>
                  <a:lnTo>
                    <a:pt x="1778" y="4106"/>
                  </a:lnTo>
                  <a:lnTo>
                    <a:pt x="1820" y="4148"/>
                  </a:lnTo>
                  <a:lnTo>
                    <a:pt x="1863" y="4148"/>
                  </a:lnTo>
                  <a:lnTo>
                    <a:pt x="1863" y="4191"/>
                  </a:lnTo>
                  <a:lnTo>
                    <a:pt x="1863" y="4233"/>
                  </a:lnTo>
                  <a:lnTo>
                    <a:pt x="1863" y="4318"/>
                  </a:lnTo>
                  <a:lnTo>
                    <a:pt x="1820" y="4318"/>
                  </a:lnTo>
                  <a:lnTo>
                    <a:pt x="1820" y="4360"/>
                  </a:lnTo>
                  <a:lnTo>
                    <a:pt x="1778" y="4360"/>
                  </a:lnTo>
                  <a:lnTo>
                    <a:pt x="1693" y="4402"/>
                  </a:lnTo>
                  <a:lnTo>
                    <a:pt x="1609" y="4402"/>
                  </a:lnTo>
                  <a:lnTo>
                    <a:pt x="1609" y="4445"/>
                  </a:lnTo>
                  <a:lnTo>
                    <a:pt x="1566" y="4445"/>
                  </a:lnTo>
                  <a:lnTo>
                    <a:pt x="1566" y="4487"/>
                  </a:lnTo>
                  <a:lnTo>
                    <a:pt x="1609" y="4529"/>
                  </a:lnTo>
                  <a:lnTo>
                    <a:pt x="1651" y="4529"/>
                  </a:lnTo>
                  <a:lnTo>
                    <a:pt x="1693" y="4572"/>
                  </a:lnTo>
                  <a:lnTo>
                    <a:pt x="1651" y="4572"/>
                  </a:lnTo>
                  <a:lnTo>
                    <a:pt x="1609" y="4614"/>
                  </a:lnTo>
                  <a:lnTo>
                    <a:pt x="1566" y="4614"/>
                  </a:lnTo>
                  <a:lnTo>
                    <a:pt x="1566" y="4699"/>
                  </a:lnTo>
                  <a:lnTo>
                    <a:pt x="1566" y="4783"/>
                  </a:lnTo>
                  <a:lnTo>
                    <a:pt x="1566" y="4868"/>
                  </a:lnTo>
                  <a:lnTo>
                    <a:pt x="1524" y="4868"/>
                  </a:lnTo>
                  <a:lnTo>
                    <a:pt x="1524" y="4910"/>
                  </a:lnTo>
                  <a:lnTo>
                    <a:pt x="1566" y="4910"/>
                  </a:lnTo>
                  <a:lnTo>
                    <a:pt x="1609" y="4910"/>
                  </a:lnTo>
                  <a:lnTo>
                    <a:pt x="1609" y="4953"/>
                  </a:lnTo>
                  <a:lnTo>
                    <a:pt x="1609" y="5080"/>
                  </a:lnTo>
                  <a:lnTo>
                    <a:pt x="1651" y="5080"/>
                  </a:lnTo>
                  <a:lnTo>
                    <a:pt x="1693" y="5080"/>
                  </a:lnTo>
                  <a:lnTo>
                    <a:pt x="1736" y="5080"/>
                  </a:lnTo>
                  <a:lnTo>
                    <a:pt x="1736" y="5122"/>
                  </a:lnTo>
                  <a:lnTo>
                    <a:pt x="1736" y="5164"/>
                  </a:lnTo>
                  <a:lnTo>
                    <a:pt x="1778" y="5164"/>
                  </a:lnTo>
                  <a:lnTo>
                    <a:pt x="1778" y="5291"/>
                  </a:lnTo>
                  <a:lnTo>
                    <a:pt x="1820" y="5334"/>
                  </a:lnTo>
                  <a:lnTo>
                    <a:pt x="1863" y="5376"/>
                  </a:lnTo>
                  <a:lnTo>
                    <a:pt x="1863" y="5418"/>
                  </a:lnTo>
                  <a:lnTo>
                    <a:pt x="1863" y="5461"/>
                  </a:lnTo>
                  <a:lnTo>
                    <a:pt x="1863" y="5503"/>
                  </a:lnTo>
                  <a:lnTo>
                    <a:pt x="1905" y="5545"/>
                  </a:lnTo>
                  <a:lnTo>
                    <a:pt x="1947" y="5545"/>
                  </a:lnTo>
                  <a:lnTo>
                    <a:pt x="1990" y="5545"/>
                  </a:lnTo>
                  <a:lnTo>
                    <a:pt x="2032" y="5545"/>
                  </a:lnTo>
                  <a:lnTo>
                    <a:pt x="2032" y="5588"/>
                  </a:lnTo>
                  <a:lnTo>
                    <a:pt x="1990" y="5588"/>
                  </a:lnTo>
                  <a:lnTo>
                    <a:pt x="1947" y="5630"/>
                  </a:lnTo>
                  <a:lnTo>
                    <a:pt x="1947" y="5672"/>
                  </a:lnTo>
                  <a:lnTo>
                    <a:pt x="1990" y="5757"/>
                  </a:lnTo>
                  <a:lnTo>
                    <a:pt x="2032" y="5757"/>
                  </a:lnTo>
                  <a:lnTo>
                    <a:pt x="2074" y="5757"/>
                  </a:lnTo>
                  <a:lnTo>
                    <a:pt x="2074" y="5715"/>
                  </a:lnTo>
                  <a:lnTo>
                    <a:pt x="2159" y="5672"/>
                  </a:lnTo>
                  <a:lnTo>
                    <a:pt x="2201" y="5672"/>
                  </a:lnTo>
                  <a:lnTo>
                    <a:pt x="2201" y="5715"/>
                  </a:lnTo>
                  <a:lnTo>
                    <a:pt x="2286" y="5715"/>
                  </a:lnTo>
                  <a:lnTo>
                    <a:pt x="2328" y="5715"/>
                  </a:lnTo>
                  <a:lnTo>
                    <a:pt x="2371" y="5757"/>
                  </a:lnTo>
                  <a:lnTo>
                    <a:pt x="2371" y="5715"/>
                  </a:lnTo>
                  <a:lnTo>
                    <a:pt x="2413" y="5715"/>
                  </a:lnTo>
                  <a:lnTo>
                    <a:pt x="2455" y="5715"/>
                  </a:lnTo>
                  <a:lnTo>
                    <a:pt x="2498" y="5715"/>
                  </a:lnTo>
                  <a:lnTo>
                    <a:pt x="2582" y="5715"/>
                  </a:lnTo>
                  <a:lnTo>
                    <a:pt x="2625" y="5715"/>
                  </a:lnTo>
                  <a:lnTo>
                    <a:pt x="2667" y="5757"/>
                  </a:lnTo>
                  <a:lnTo>
                    <a:pt x="2709" y="5715"/>
                  </a:lnTo>
                  <a:lnTo>
                    <a:pt x="2752" y="5715"/>
                  </a:lnTo>
                  <a:lnTo>
                    <a:pt x="2794" y="5715"/>
                  </a:lnTo>
                  <a:lnTo>
                    <a:pt x="2836" y="5715"/>
                  </a:lnTo>
                  <a:lnTo>
                    <a:pt x="2836" y="5757"/>
                  </a:lnTo>
                  <a:lnTo>
                    <a:pt x="2963" y="5757"/>
                  </a:lnTo>
                  <a:lnTo>
                    <a:pt x="2963" y="5715"/>
                  </a:lnTo>
                  <a:lnTo>
                    <a:pt x="3048" y="5715"/>
                  </a:lnTo>
                  <a:lnTo>
                    <a:pt x="3048" y="5630"/>
                  </a:lnTo>
                  <a:lnTo>
                    <a:pt x="3090" y="5630"/>
                  </a:lnTo>
                  <a:lnTo>
                    <a:pt x="3133" y="5588"/>
                  </a:lnTo>
                  <a:lnTo>
                    <a:pt x="3217" y="5588"/>
                  </a:lnTo>
                  <a:lnTo>
                    <a:pt x="3260" y="5588"/>
                  </a:lnTo>
                  <a:lnTo>
                    <a:pt x="3302" y="5545"/>
                  </a:lnTo>
                  <a:lnTo>
                    <a:pt x="3302" y="5588"/>
                  </a:lnTo>
                  <a:lnTo>
                    <a:pt x="3344" y="5588"/>
                  </a:lnTo>
                  <a:lnTo>
                    <a:pt x="3387" y="5588"/>
                  </a:lnTo>
                  <a:lnTo>
                    <a:pt x="3471" y="5588"/>
                  </a:lnTo>
                  <a:lnTo>
                    <a:pt x="3514" y="5588"/>
                  </a:lnTo>
                  <a:lnTo>
                    <a:pt x="3514" y="5630"/>
                  </a:lnTo>
                  <a:lnTo>
                    <a:pt x="3514" y="5672"/>
                  </a:lnTo>
                  <a:lnTo>
                    <a:pt x="3556" y="5757"/>
                  </a:lnTo>
                  <a:lnTo>
                    <a:pt x="3683" y="5842"/>
                  </a:lnTo>
                  <a:lnTo>
                    <a:pt x="3683" y="5926"/>
                  </a:lnTo>
                  <a:lnTo>
                    <a:pt x="3725" y="5926"/>
                  </a:lnTo>
                  <a:lnTo>
                    <a:pt x="3725" y="5969"/>
                  </a:lnTo>
                  <a:lnTo>
                    <a:pt x="3810" y="5969"/>
                  </a:lnTo>
                  <a:lnTo>
                    <a:pt x="3810" y="6053"/>
                  </a:lnTo>
                  <a:lnTo>
                    <a:pt x="3852" y="6096"/>
                  </a:lnTo>
                  <a:lnTo>
                    <a:pt x="3852" y="6138"/>
                  </a:lnTo>
                  <a:lnTo>
                    <a:pt x="3895" y="6138"/>
                  </a:lnTo>
                  <a:lnTo>
                    <a:pt x="3937" y="6180"/>
                  </a:lnTo>
                  <a:lnTo>
                    <a:pt x="4022" y="6138"/>
                  </a:lnTo>
                  <a:lnTo>
                    <a:pt x="4064" y="6138"/>
                  </a:lnTo>
                  <a:lnTo>
                    <a:pt x="4276" y="6180"/>
                  </a:lnTo>
                  <a:lnTo>
                    <a:pt x="4445" y="6138"/>
                  </a:lnTo>
                  <a:lnTo>
                    <a:pt x="4487" y="6138"/>
                  </a:lnTo>
                  <a:lnTo>
                    <a:pt x="4572" y="6180"/>
                  </a:lnTo>
                  <a:lnTo>
                    <a:pt x="4530" y="6223"/>
                  </a:lnTo>
                  <a:lnTo>
                    <a:pt x="4572" y="6265"/>
                  </a:lnTo>
                  <a:lnTo>
                    <a:pt x="4614" y="6307"/>
                  </a:lnTo>
                  <a:lnTo>
                    <a:pt x="4614" y="6265"/>
                  </a:lnTo>
                  <a:lnTo>
                    <a:pt x="4657" y="6223"/>
                  </a:lnTo>
                  <a:lnTo>
                    <a:pt x="4699" y="6180"/>
                  </a:lnTo>
                  <a:lnTo>
                    <a:pt x="4741" y="6223"/>
                  </a:lnTo>
                  <a:lnTo>
                    <a:pt x="4741" y="6265"/>
                  </a:lnTo>
                  <a:lnTo>
                    <a:pt x="4784" y="6180"/>
                  </a:lnTo>
                  <a:lnTo>
                    <a:pt x="4826" y="6180"/>
                  </a:lnTo>
                  <a:lnTo>
                    <a:pt x="4953" y="6265"/>
                  </a:lnTo>
                  <a:lnTo>
                    <a:pt x="4953" y="6307"/>
                  </a:lnTo>
                  <a:lnTo>
                    <a:pt x="4953" y="6350"/>
                  </a:lnTo>
                  <a:lnTo>
                    <a:pt x="4953" y="6477"/>
                  </a:lnTo>
                  <a:lnTo>
                    <a:pt x="4868" y="6604"/>
                  </a:lnTo>
                  <a:lnTo>
                    <a:pt x="4953" y="6604"/>
                  </a:lnTo>
                  <a:lnTo>
                    <a:pt x="4995" y="6604"/>
                  </a:lnTo>
                  <a:lnTo>
                    <a:pt x="5080" y="6646"/>
                  </a:lnTo>
                  <a:lnTo>
                    <a:pt x="5165" y="6688"/>
                  </a:lnTo>
                  <a:lnTo>
                    <a:pt x="5207" y="6688"/>
                  </a:lnTo>
                  <a:lnTo>
                    <a:pt x="5461" y="6688"/>
                  </a:lnTo>
                  <a:lnTo>
                    <a:pt x="5800" y="6688"/>
                  </a:lnTo>
                  <a:lnTo>
                    <a:pt x="5927" y="6688"/>
                  </a:lnTo>
                  <a:lnTo>
                    <a:pt x="5969" y="6646"/>
                  </a:lnTo>
                  <a:lnTo>
                    <a:pt x="6011" y="6604"/>
                  </a:lnTo>
                  <a:lnTo>
                    <a:pt x="6054" y="6561"/>
                  </a:lnTo>
                  <a:lnTo>
                    <a:pt x="6054" y="6519"/>
                  </a:lnTo>
                  <a:lnTo>
                    <a:pt x="6096" y="6307"/>
                  </a:lnTo>
                  <a:lnTo>
                    <a:pt x="6138" y="6307"/>
                  </a:lnTo>
                  <a:lnTo>
                    <a:pt x="6138" y="6265"/>
                  </a:lnTo>
                  <a:lnTo>
                    <a:pt x="6265" y="6180"/>
                  </a:lnTo>
                  <a:lnTo>
                    <a:pt x="6265" y="6138"/>
                  </a:lnTo>
                  <a:lnTo>
                    <a:pt x="6392" y="6096"/>
                  </a:lnTo>
                  <a:lnTo>
                    <a:pt x="6519" y="6096"/>
                  </a:lnTo>
                  <a:lnTo>
                    <a:pt x="6562" y="6011"/>
                  </a:lnTo>
                  <a:lnTo>
                    <a:pt x="6562" y="5969"/>
                  </a:lnTo>
                  <a:lnTo>
                    <a:pt x="6604" y="5926"/>
                  </a:lnTo>
                  <a:lnTo>
                    <a:pt x="6604" y="5884"/>
                  </a:lnTo>
                  <a:lnTo>
                    <a:pt x="6646" y="5842"/>
                  </a:lnTo>
                  <a:lnTo>
                    <a:pt x="6646" y="5799"/>
                  </a:lnTo>
                  <a:lnTo>
                    <a:pt x="6646" y="5757"/>
                  </a:lnTo>
                  <a:lnTo>
                    <a:pt x="6646" y="5715"/>
                  </a:lnTo>
                  <a:lnTo>
                    <a:pt x="6689" y="5672"/>
                  </a:lnTo>
                  <a:lnTo>
                    <a:pt x="6773" y="5630"/>
                  </a:lnTo>
                  <a:lnTo>
                    <a:pt x="6816" y="5672"/>
                  </a:lnTo>
                  <a:lnTo>
                    <a:pt x="6858" y="5672"/>
                  </a:lnTo>
                  <a:lnTo>
                    <a:pt x="6900" y="5672"/>
                  </a:lnTo>
                  <a:lnTo>
                    <a:pt x="6985" y="5672"/>
                  </a:lnTo>
                  <a:lnTo>
                    <a:pt x="7112" y="5588"/>
                  </a:lnTo>
                  <a:lnTo>
                    <a:pt x="7112" y="5545"/>
                  </a:lnTo>
                  <a:lnTo>
                    <a:pt x="6985" y="5376"/>
                  </a:lnTo>
                  <a:lnTo>
                    <a:pt x="6943" y="5334"/>
                  </a:lnTo>
                  <a:lnTo>
                    <a:pt x="6943" y="5249"/>
                  </a:lnTo>
                  <a:lnTo>
                    <a:pt x="6900" y="5249"/>
                  </a:lnTo>
                  <a:lnTo>
                    <a:pt x="6900" y="5207"/>
                  </a:lnTo>
                  <a:lnTo>
                    <a:pt x="6900" y="5164"/>
                  </a:lnTo>
                  <a:lnTo>
                    <a:pt x="6900" y="5122"/>
                  </a:lnTo>
                  <a:lnTo>
                    <a:pt x="6900" y="5080"/>
                  </a:lnTo>
                  <a:lnTo>
                    <a:pt x="6943" y="4953"/>
                  </a:lnTo>
                  <a:lnTo>
                    <a:pt x="6943" y="4910"/>
                  </a:lnTo>
                  <a:lnTo>
                    <a:pt x="6985" y="4910"/>
                  </a:lnTo>
                  <a:lnTo>
                    <a:pt x="6985" y="4868"/>
                  </a:lnTo>
                  <a:lnTo>
                    <a:pt x="7027" y="4868"/>
                  </a:lnTo>
                  <a:lnTo>
                    <a:pt x="7027" y="4826"/>
                  </a:lnTo>
                  <a:lnTo>
                    <a:pt x="7027" y="4783"/>
                  </a:lnTo>
                  <a:lnTo>
                    <a:pt x="7070" y="4699"/>
                  </a:lnTo>
                  <a:lnTo>
                    <a:pt x="7070" y="4656"/>
                  </a:lnTo>
                  <a:lnTo>
                    <a:pt x="7154" y="4529"/>
                  </a:lnTo>
                  <a:lnTo>
                    <a:pt x="7154" y="4318"/>
                  </a:lnTo>
                  <a:lnTo>
                    <a:pt x="7070" y="4148"/>
                  </a:lnTo>
                  <a:lnTo>
                    <a:pt x="7070" y="4106"/>
                  </a:lnTo>
                  <a:lnTo>
                    <a:pt x="7070" y="4064"/>
                  </a:lnTo>
                  <a:lnTo>
                    <a:pt x="7027" y="4064"/>
                  </a:lnTo>
                  <a:lnTo>
                    <a:pt x="6985" y="4064"/>
                  </a:lnTo>
                  <a:lnTo>
                    <a:pt x="6943" y="4064"/>
                  </a:lnTo>
                  <a:lnTo>
                    <a:pt x="6900" y="3979"/>
                  </a:lnTo>
                  <a:lnTo>
                    <a:pt x="6858" y="3894"/>
                  </a:lnTo>
                  <a:lnTo>
                    <a:pt x="6773" y="3810"/>
                  </a:lnTo>
                  <a:lnTo>
                    <a:pt x="6773" y="3767"/>
                  </a:lnTo>
                  <a:lnTo>
                    <a:pt x="6731" y="3683"/>
                  </a:lnTo>
                  <a:lnTo>
                    <a:pt x="6731" y="3598"/>
                  </a:lnTo>
                  <a:lnTo>
                    <a:pt x="6689" y="3513"/>
                  </a:lnTo>
                  <a:lnTo>
                    <a:pt x="6689" y="3471"/>
                  </a:lnTo>
                  <a:lnTo>
                    <a:pt x="6646" y="3471"/>
                  </a:lnTo>
                  <a:lnTo>
                    <a:pt x="6604" y="3471"/>
                  </a:lnTo>
                  <a:lnTo>
                    <a:pt x="6562" y="3556"/>
                  </a:lnTo>
                  <a:lnTo>
                    <a:pt x="6519" y="3683"/>
                  </a:lnTo>
                  <a:lnTo>
                    <a:pt x="6435" y="3725"/>
                  </a:lnTo>
                  <a:lnTo>
                    <a:pt x="6435" y="3767"/>
                  </a:lnTo>
                  <a:lnTo>
                    <a:pt x="6392" y="3767"/>
                  </a:lnTo>
                  <a:lnTo>
                    <a:pt x="6181" y="3725"/>
                  </a:lnTo>
                  <a:lnTo>
                    <a:pt x="6096" y="3683"/>
                  </a:lnTo>
                  <a:lnTo>
                    <a:pt x="5969" y="3640"/>
                  </a:lnTo>
                  <a:lnTo>
                    <a:pt x="5884" y="3640"/>
                  </a:lnTo>
                  <a:lnTo>
                    <a:pt x="5927" y="3556"/>
                  </a:lnTo>
                  <a:lnTo>
                    <a:pt x="5842" y="3556"/>
                  </a:lnTo>
                  <a:lnTo>
                    <a:pt x="5715" y="3556"/>
                  </a:lnTo>
                  <a:lnTo>
                    <a:pt x="5461" y="3556"/>
                  </a:lnTo>
                  <a:lnTo>
                    <a:pt x="5376" y="3556"/>
                  </a:lnTo>
                  <a:lnTo>
                    <a:pt x="5334" y="3513"/>
                  </a:lnTo>
                  <a:lnTo>
                    <a:pt x="5165" y="3429"/>
                  </a:lnTo>
                  <a:lnTo>
                    <a:pt x="5122" y="3386"/>
                  </a:lnTo>
                  <a:lnTo>
                    <a:pt x="5038" y="3344"/>
                  </a:lnTo>
                  <a:lnTo>
                    <a:pt x="5080" y="3005"/>
                  </a:lnTo>
                  <a:lnTo>
                    <a:pt x="4995" y="2878"/>
                  </a:lnTo>
                  <a:lnTo>
                    <a:pt x="4911" y="2709"/>
                  </a:lnTo>
                  <a:lnTo>
                    <a:pt x="4953" y="2709"/>
                  </a:lnTo>
                  <a:lnTo>
                    <a:pt x="5038" y="2751"/>
                  </a:lnTo>
                  <a:lnTo>
                    <a:pt x="5122" y="2751"/>
                  </a:lnTo>
                  <a:lnTo>
                    <a:pt x="5165" y="2624"/>
                  </a:lnTo>
                  <a:lnTo>
                    <a:pt x="5249" y="2624"/>
                  </a:lnTo>
                  <a:lnTo>
                    <a:pt x="5334" y="2667"/>
                  </a:lnTo>
                  <a:lnTo>
                    <a:pt x="5376" y="2624"/>
                  </a:lnTo>
                  <a:lnTo>
                    <a:pt x="5122" y="2413"/>
                  </a:lnTo>
                  <a:lnTo>
                    <a:pt x="5122" y="2328"/>
                  </a:lnTo>
                  <a:lnTo>
                    <a:pt x="5165" y="2159"/>
                  </a:lnTo>
                  <a:lnTo>
                    <a:pt x="5165" y="2116"/>
                  </a:lnTo>
                  <a:lnTo>
                    <a:pt x="5122" y="2074"/>
                  </a:lnTo>
                  <a:lnTo>
                    <a:pt x="5080" y="2032"/>
                  </a:lnTo>
                  <a:lnTo>
                    <a:pt x="5038" y="2032"/>
                  </a:lnTo>
                  <a:lnTo>
                    <a:pt x="5038" y="1989"/>
                  </a:lnTo>
                  <a:lnTo>
                    <a:pt x="5038" y="1947"/>
                  </a:lnTo>
                  <a:lnTo>
                    <a:pt x="5038" y="1905"/>
                  </a:lnTo>
                  <a:lnTo>
                    <a:pt x="5080" y="1862"/>
                  </a:lnTo>
                  <a:lnTo>
                    <a:pt x="5038" y="1820"/>
                  </a:lnTo>
                  <a:lnTo>
                    <a:pt x="4953" y="1820"/>
                  </a:lnTo>
                  <a:lnTo>
                    <a:pt x="4784" y="1735"/>
                  </a:lnTo>
                  <a:lnTo>
                    <a:pt x="4699" y="1693"/>
                  </a:lnTo>
                  <a:lnTo>
                    <a:pt x="4614" y="1651"/>
                  </a:lnTo>
                  <a:lnTo>
                    <a:pt x="4530" y="1608"/>
                  </a:lnTo>
                  <a:lnTo>
                    <a:pt x="4530" y="1651"/>
                  </a:lnTo>
                  <a:lnTo>
                    <a:pt x="4487" y="1651"/>
                  </a:lnTo>
                  <a:lnTo>
                    <a:pt x="4360" y="1693"/>
                  </a:lnTo>
                  <a:lnTo>
                    <a:pt x="4191" y="1693"/>
                  </a:lnTo>
                  <a:lnTo>
                    <a:pt x="4149" y="1735"/>
                  </a:lnTo>
                  <a:lnTo>
                    <a:pt x="4064" y="1820"/>
                  </a:lnTo>
                  <a:lnTo>
                    <a:pt x="3979" y="1905"/>
                  </a:lnTo>
                  <a:lnTo>
                    <a:pt x="4022" y="2159"/>
                  </a:lnTo>
                  <a:lnTo>
                    <a:pt x="4022" y="2201"/>
                  </a:lnTo>
                  <a:lnTo>
                    <a:pt x="3979" y="2201"/>
                  </a:lnTo>
                  <a:lnTo>
                    <a:pt x="3937" y="2159"/>
                  </a:lnTo>
                  <a:lnTo>
                    <a:pt x="3895" y="2159"/>
                  </a:lnTo>
                  <a:lnTo>
                    <a:pt x="3810" y="2159"/>
                  </a:lnTo>
                  <a:lnTo>
                    <a:pt x="3768" y="2116"/>
                  </a:lnTo>
                  <a:lnTo>
                    <a:pt x="3725" y="2074"/>
                  </a:lnTo>
                  <a:lnTo>
                    <a:pt x="3725" y="2116"/>
                  </a:lnTo>
                  <a:lnTo>
                    <a:pt x="3683" y="2159"/>
                  </a:lnTo>
                  <a:lnTo>
                    <a:pt x="3641" y="2201"/>
                  </a:lnTo>
                  <a:lnTo>
                    <a:pt x="3598" y="2159"/>
                  </a:lnTo>
                  <a:lnTo>
                    <a:pt x="3556" y="2159"/>
                  </a:lnTo>
                  <a:lnTo>
                    <a:pt x="3556" y="2116"/>
                  </a:lnTo>
                  <a:lnTo>
                    <a:pt x="3556" y="2074"/>
                  </a:lnTo>
                  <a:lnTo>
                    <a:pt x="3514" y="2074"/>
                  </a:lnTo>
                  <a:lnTo>
                    <a:pt x="3471" y="2116"/>
                  </a:lnTo>
                  <a:lnTo>
                    <a:pt x="3471" y="2159"/>
                  </a:lnTo>
                  <a:lnTo>
                    <a:pt x="3429" y="2159"/>
                  </a:lnTo>
                  <a:lnTo>
                    <a:pt x="3429" y="2116"/>
                  </a:lnTo>
                  <a:lnTo>
                    <a:pt x="3387" y="2116"/>
                  </a:lnTo>
                  <a:lnTo>
                    <a:pt x="3387" y="2159"/>
                  </a:lnTo>
                  <a:lnTo>
                    <a:pt x="3344" y="2159"/>
                  </a:lnTo>
                  <a:lnTo>
                    <a:pt x="3302" y="2159"/>
                  </a:lnTo>
                  <a:lnTo>
                    <a:pt x="3302" y="2201"/>
                  </a:lnTo>
                  <a:lnTo>
                    <a:pt x="3260" y="2201"/>
                  </a:lnTo>
                  <a:lnTo>
                    <a:pt x="3217" y="2159"/>
                  </a:lnTo>
                  <a:lnTo>
                    <a:pt x="3217" y="2074"/>
                  </a:lnTo>
                  <a:lnTo>
                    <a:pt x="3175" y="2032"/>
                  </a:lnTo>
                  <a:lnTo>
                    <a:pt x="3175" y="1989"/>
                  </a:lnTo>
                  <a:lnTo>
                    <a:pt x="3133" y="1989"/>
                  </a:lnTo>
                  <a:lnTo>
                    <a:pt x="3133" y="1947"/>
                  </a:lnTo>
                  <a:lnTo>
                    <a:pt x="3133" y="1905"/>
                  </a:lnTo>
                  <a:lnTo>
                    <a:pt x="3090" y="1905"/>
                  </a:lnTo>
                  <a:lnTo>
                    <a:pt x="3048" y="1862"/>
                  </a:lnTo>
                  <a:lnTo>
                    <a:pt x="3006" y="1862"/>
                  </a:lnTo>
                  <a:lnTo>
                    <a:pt x="2963" y="1820"/>
                  </a:lnTo>
                  <a:lnTo>
                    <a:pt x="2963" y="1778"/>
                  </a:lnTo>
                  <a:lnTo>
                    <a:pt x="2921" y="1778"/>
                  </a:lnTo>
                  <a:lnTo>
                    <a:pt x="2921" y="1735"/>
                  </a:lnTo>
                  <a:lnTo>
                    <a:pt x="2963" y="1735"/>
                  </a:lnTo>
                  <a:lnTo>
                    <a:pt x="2963" y="1693"/>
                  </a:lnTo>
                  <a:lnTo>
                    <a:pt x="2921" y="1693"/>
                  </a:lnTo>
                  <a:lnTo>
                    <a:pt x="2879" y="1693"/>
                  </a:lnTo>
                  <a:lnTo>
                    <a:pt x="2836" y="1735"/>
                  </a:lnTo>
                  <a:lnTo>
                    <a:pt x="2794" y="1735"/>
                  </a:lnTo>
                  <a:lnTo>
                    <a:pt x="2752" y="1735"/>
                  </a:lnTo>
                  <a:lnTo>
                    <a:pt x="2709" y="1735"/>
                  </a:lnTo>
                  <a:lnTo>
                    <a:pt x="2709" y="1693"/>
                  </a:lnTo>
                  <a:lnTo>
                    <a:pt x="2667" y="1693"/>
                  </a:lnTo>
                  <a:lnTo>
                    <a:pt x="2667" y="1735"/>
                  </a:lnTo>
                  <a:lnTo>
                    <a:pt x="2625" y="1735"/>
                  </a:lnTo>
                  <a:lnTo>
                    <a:pt x="2582" y="1735"/>
                  </a:lnTo>
                  <a:lnTo>
                    <a:pt x="2582" y="1693"/>
                  </a:lnTo>
                  <a:lnTo>
                    <a:pt x="2540" y="1693"/>
                  </a:lnTo>
                  <a:lnTo>
                    <a:pt x="2498" y="1651"/>
                  </a:lnTo>
                  <a:lnTo>
                    <a:pt x="2498" y="1608"/>
                  </a:lnTo>
                  <a:lnTo>
                    <a:pt x="2455" y="1608"/>
                  </a:lnTo>
                  <a:lnTo>
                    <a:pt x="2413" y="1608"/>
                  </a:lnTo>
                  <a:lnTo>
                    <a:pt x="2371" y="1608"/>
                  </a:lnTo>
                  <a:lnTo>
                    <a:pt x="2371" y="1566"/>
                  </a:lnTo>
                  <a:lnTo>
                    <a:pt x="2328" y="1566"/>
                  </a:lnTo>
                  <a:lnTo>
                    <a:pt x="2286" y="1566"/>
                  </a:lnTo>
                  <a:lnTo>
                    <a:pt x="2244" y="1566"/>
                  </a:lnTo>
                  <a:lnTo>
                    <a:pt x="2201" y="1608"/>
                  </a:lnTo>
                  <a:lnTo>
                    <a:pt x="2201" y="1651"/>
                  </a:lnTo>
                  <a:lnTo>
                    <a:pt x="2159" y="1608"/>
                  </a:lnTo>
                  <a:lnTo>
                    <a:pt x="2159" y="1566"/>
                  </a:lnTo>
                  <a:lnTo>
                    <a:pt x="2117" y="1608"/>
                  </a:lnTo>
                  <a:lnTo>
                    <a:pt x="2159" y="1651"/>
                  </a:lnTo>
                  <a:lnTo>
                    <a:pt x="2032" y="1608"/>
                  </a:lnTo>
                  <a:lnTo>
                    <a:pt x="2074" y="1566"/>
                  </a:lnTo>
                  <a:lnTo>
                    <a:pt x="2074" y="1524"/>
                  </a:lnTo>
                  <a:lnTo>
                    <a:pt x="1990" y="1481"/>
                  </a:lnTo>
                  <a:lnTo>
                    <a:pt x="1990" y="1439"/>
                  </a:lnTo>
                  <a:lnTo>
                    <a:pt x="1905" y="1312"/>
                  </a:lnTo>
                  <a:lnTo>
                    <a:pt x="1905" y="1270"/>
                  </a:lnTo>
                  <a:lnTo>
                    <a:pt x="1905" y="1227"/>
                  </a:lnTo>
                  <a:lnTo>
                    <a:pt x="1863" y="1143"/>
                  </a:lnTo>
                  <a:lnTo>
                    <a:pt x="1820" y="1058"/>
                  </a:lnTo>
                  <a:lnTo>
                    <a:pt x="1778" y="973"/>
                  </a:lnTo>
                  <a:lnTo>
                    <a:pt x="1778" y="931"/>
                  </a:lnTo>
                  <a:lnTo>
                    <a:pt x="1820" y="931"/>
                  </a:lnTo>
                  <a:lnTo>
                    <a:pt x="1863" y="889"/>
                  </a:lnTo>
                  <a:lnTo>
                    <a:pt x="1990" y="846"/>
                  </a:lnTo>
                  <a:lnTo>
                    <a:pt x="2032" y="804"/>
                  </a:lnTo>
                  <a:lnTo>
                    <a:pt x="2074" y="804"/>
                  </a:lnTo>
                  <a:lnTo>
                    <a:pt x="2074" y="762"/>
                  </a:lnTo>
                  <a:lnTo>
                    <a:pt x="2159" y="677"/>
                  </a:lnTo>
                  <a:lnTo>
                    <a:pt x="2201" y="635"/>
                  </a:lnTo>
                  <a:lnTo>
                    <a:pt x="2244" y="550"/>
                  </a:lnTo>
                  <a:lnTo>
                    <a:pt x="2201" y="550"/>
                  </a:lnTo>
                  <a:lnTo>
                    <a:pt x="2159" y="465"/>
                  </a:lnTo>
                  <a:lnTo>
                    <a:pt x="2117" y="423"/>
                  </a:lnTo>
                  <a:lnTo>
                    <a:pt x="2074" y="381"/>
                  </a:lnTo>
                  <a:lnTo>
                    <a:pt x="1990" y="296"/>
                  </a:lnTo>
                  <a:lnTo>
                    <a:pt x="1947" y="254"/>
                  </a:lnTo>
                  <a:lnTo>
                    <a:pt x="1820" y="127"/>
                  </a:lnTo>
                  <a:lnTo>
                    <a:pt x="1820" y="84"/>
                  </a:lnTo>
                  <a:lnTo>
                    <a:pt x="1778" y="0"/>
                  </a:lnTo>
                  <a:close/>
                  <a:moveTo>
                    <a:pt x="2074" y="5757"/>
                  </a:moveTo>
                  <a:lnTo>
                    <a:pt x="2074" y="5799"/>
                  </a:lnTo>
                  <a:lnTo>
                    <a:pt x="2074" y="5842"/>
                  </a:lnTo>
                  <a:lnTo>
                    <a:pt x="2117" y="5799"/>
                  </a:lnTo>
                  <a:lnTo>
                    <a:pt x="2074" y="5757"/>
                  </a:lnTo>
                  <a:close/>
                </a:path>
              </a:pathLst>
            </a:custGeom>
            <a:noFill/>
            <a:ln w="12700" cap="flat" cmpd="sng">
              <a:solidFill>
                <a:schemeClr val="tx1"/>
              </a:solidFill>
              <a:prstDash val="solid"/>
              <a:bevel/>
              <a:headEnd/>
              <a:tailEnd/>
            </a:ln>
          </p:spPr>
          <p:txBody>
            <a:bodyPr/>
            <a:lstStyle/>
            <a:p>
              <a:endParaRPr lang="nl-NL"/>
            </a:p>
          </p:txBody>
        </p:sp>
        <p:sp>
          <p:nvSpPr>
            <p:cNvPr id="49" name="Freeform 535">
              <a:extLst>
                <a:ext uri="{FF2B5EF4-FFF2-40B4-BE49-F238E27FC236}">
                  <a16:creationId xmlns:a16="http://schemas.microsoft.com/office/drawing/2014/main" id="{BC29DCD3-77F6-370E-9A6C-D42DCEEDDA6B}"/>
                </a:ext>
              </a:extLst>
            </p:cNvPr>
            <p:cNvSpPr>
              <a:spLocks noEditPoints="1"/>
            </p:cNvSpPr>
            <p:nvPr/>
          </p:nvSpPr>
          <p:spPr bwMode="auto">
            <a:xfrm>
              <a:off x="3814733" y="5816431"/>
              <a:ext cx="3203921" cy="2236947"/>
            </a:xfrm>
            <a:custGeom>
              <a:avLst/>
              <a:gdLst/>
              <a:ahLst/>
              <a:cxnLst>
                <a:cxn ang="0">
                  <a:pos x="4699" y="592"/>
                </a:cxn>
                <a:cxn ang="0">
                  <a:pos x="4445" y="931"/>
                </a:cxn>
                <a:cxn ang="0">
                  <a:pos x="3979" y="1270"/>
                </a:cxn>
                <a:cxn ang="0">
                  <a:pos x="3471" y="1608"/>
                </a:cxn>
                <a:cxn ang="0">
                  <a:pos x="3132" y="2032"/>
                </a:cxn>
                <a:cxn ang="0">
                  <a:pos x="2413" y="2497"/>
                </a:cxn>
                <a:cxn ang="0">
                  <a:pos x="2497" y="3217"/>
                </a:cxn>
                <a:cxn ang="0">
                  <a:pos x="2921" y="3556"/>
                </a:cxn>
                <a:cxn ang="0">
                  <a:pos x="2921" y="3852"/>
                </a:cxn>
                <a:cxn ang="0">
                  <a:pos x="3259" y="4360"/>
                </a:cxn>
                <a:cxn ang="0">
                  <a:pos x="3513" y="4953"/>
                </a:cxn>
                <a:cxn ang="0">
                  <a:pos x="3090" y="5080"/>
                </a:cxn>
                <a:cxn ang="0">
                  <a:pos x="2455" y="4953"/>
                </a:cxn>
                <a:cxn ang="0">
                  <a:pos x="1905" y="5164"/>
                </a:cxn>
                <a:cxn ang="0">
                  <a:pos x="1270" y="5122"/>
                </a:cxn>
                <a:cxn ang="0">
                  <a:pos x="804" y="5545"/>
                </a:cxn>
                <a:cxn ang="0">
                  <a:pos x="381" y="5926"/>
                </a:cxn>
                <a:cxn ang="0">
                  <a:pos x="0" y="6096"/>
                </a:cxn>
                <a:cxn ang="0">
                  <a:pos x="84" y="6519"/>
                </a:cxn>
                <a:cxn ang="0">
                  <a:pos x="508" y="6773"/>
                </a:cxn>
                <a:cxn ang="0">
                  <a:pos x="719" y="7112"/>
                </a:cxn>
                <a:cxn ang="0">
                  <a:pos x="1397" y="7196"/>
                </a:cxn>
                <a:cxn ang="0">
                  <a:pos x="2074" y="6900"/>
                </a:cxn>
                <a:cxn ang="0">
                  <a:pos x="2455" y="6519"/>
                </a:cxn>
                <a:cxn ang="0">
                  <a:pos x="2963" y="6434"/>
                </a:cxn>
                <a:cxn ang="0">
                  <a:pos x="3513" y="6434"/>
                </a:cxn>
                <a:cxn ang="0">
                  <a:pos x="3979" y="6815"/>
                </a:cxn>
                <a:cxn ang="0">
                  <a:pos x="4487" y="7027"/>
                </a:cxn>
                <a:cxn ang="0">
                  <a:pos x="5080" y="6815"/>
                </a:cxn>
                <a:cxn ang="0">
                  <a:pos x="5418" y="7069"/>
                </a:cxn>
                <a:cxn ang="0">
                  <a:pos x="5545" y="6646"/>
                </a:cxn>
                <a:cxn ang="0">
                  <a:pos x="5588" y="6307"/>
                </a:cxn>
                <a:cxn ang="0">
                  <a:pos x="6053" y="6011"/>
                </a:cxn>
                <a:cxn ang="0">
                  <a:pos x="6519" y="5969"/>
                </a:cxn>
                <a:cxn ang="0">
                  <a:pos x="6561" y="5630"/>
                </a:cxn>
                <a:cxn ang="0">
                  <a:pos x="6985" y="5926"/>
                </a:cxn>
                <a:cxn ang="0">
                  <a:pos x="7493" y="6096"/>
                </a:cxn>
                <a:cxn ang="0">
                  <a:pos x="8001" y="6307"/>
                </a:cxn>
                <a:cxn ang="0">
                  <a:pos x="7958" y="5926"/>
                </a:cxn>
                <a:cxn ang="0">
                  <a:pos x="8509" y="6011"/>
                </a:cxn>
                <a:cxn ang="0">
                  <a:pos x="8847" y="5799"/>
                </a:cxn>
                <a:cxn ang="0">
                  <a:pos x="9567" y="5503"/>
                </a:cxn>
                <a:cxn ang="0">
                  <a:pos x="10033" y="5461"/>
                </a:cxn>
                <a:cxn ang="0">
                  <a:pos x="10202" y="4741"/>
                </a:cxn>
                <a:cxn ang="0">
                  <a:pos x="9567" y="4064"/>
                </a:cxn>
                <a:cxn ang="0">
                  <a:pos x="9567" y="3598"/>
                </a:cxn>
                <a:cxn ang="0">
                  <a:pos x="9186" y="3132"/>
                </a:cxn>
                <a:cxn ang="0">
                  <a:pos x="8424" y="3132"/>
                </a:cxn>
                <a:cxn ang="0">
                  <a:pos x="8001" y="2582"/>
                </a:cxn>
                <a:cxn ang="0">
                  <a:pos x="7535" y="2667"/>
                </a:cxn>
                <a:cxn ang="0">
                  <a:pos x="6942" y="2667"/>
                </a:cxn>
                <a:cxn ang="0">
                  <a:pos x="6561" y="2794"/>
                </a:cxn>
                <a:cxn ang="0">
                  <a:pos x="6392" y="2497"/>
                </a:cxn>
                <a:cxn ang="0">
                  <a:pos x="6138" y="2032"/>
                </a:cxn>
                <a:cxn ang="0">
                  <a:pos x="6138" y="1524"/>
                </a:cxn>
                <a:cxn ang="0">
                  <a:pos x="6350" y="1270"/>
                </a:cxn>
                <a:cxn ang="0">
                  <a:pos x="6223" y="635"/>
                </a:cxn>
                <a:cxn ang="0">
                  <a:pos x="5757" y="169"/>
                </a:cxn>
                <a:cxn ang="0">
                  <a:pos x="5207" y="381"/>
                </a:cxn>
              </a:cxnLst>
              <a:rect l="0" t="0" r="r" b="b"/>
              <a:pathLst>
                <a:path w="10371" h="7239">
                  <a:moveTo>
                    <a:pt x="4953" y="0"/>
                  </a:moveTo>
                  <a:lnTo>
                    <a:pt x="4868" y="42"/>
                  </a:lnTo>
                  <a:lnTo>
                    <a:pt x="4868" y="84"/>
                  </a:lnTo>
                  <a:lnTo>
                    <a:pt x="4826" y="211"/>
                  </a:lnTo>
                  <a:lnTo>
                    <a:pt x="4783" y="296"/>
                  </a:lnTo>
                  <a:lnTo>
                    <a:pt x="4783" y="338"/>
                  </a:lnTo>
                  <a:lnTo>
                    <a:pt x="4783" y="381"/>
                  </a:lnTo>
                  <a:lnTo>
                    <a:pt x="4741" y="465"/>
                  </a:lnTo>
                  <a:lnTo>
                    <a:pt x="4741" y="508"/>
                  </a:lnTo>
                  <a:lnTo>
                    <a:pt x="4741" y="550"/>
                  </a:lnTo>
                  <a:lnTo>
                    <a:pt x="4699" y="508"/>
                  </a:lnTo>
                  <a:lnTo>
                    <a:pt x="4699" y="592"/>
                  </a:lnTo>
                  <a:lnTo>
                    <a:pt x="4656" y="592"/>
                  </a:lnTo>
                  <a:lnTo>
                    <a:pt x="4656" y="550"/>
                  </a:lnTo>
                  <a:lnTo>
                    <a:pt x="4656" y="508"/>
                  </a:lnTo>
                  <a:lnTo>
                    <a:pt x="4614" y="592"/>
                  </a:lnTo>
                  <a:lnTo>
                    <a:pt x="4614" y="635"/>
                  </a:lnTo>
                  <a:lnTo>
                    <a:pt x="4656" y="635"/>
                  </a:lnTo>
                  <a:lnTo>
                    <a:pt x="4656" y="677"/>
                  </a:lnTo>
                  <a:lnTo>
                    <a:pt x="4614" y="677"/>
                  </a:lnTo>
                  <a:lnTo>
                    <a:pt x="4656" y="719"/>
                  </a:lnTo>
                  <a:lnTo>
                    <a:pt x="4614" y="762"/>
                  </a:lnTo>
                  <a:lnTo>
                    <a:pt x="4572" y="804"/>
                  </a:lnTo>
                  <a:lnTo>
                    <a:pt x="4445" y="931"/>
                  </a:lnTo>
                  <a:lnTo>
                    <a:pt x="4360" y="1016"/>
                  </a:lnTo>
                  <a:lnTo>
                    <a:pt x="4275" y="1058"/>
                  </a:lnTo>
                  <a:lnTo>
                    <a:pt x="4275" y="1100"/>
                  </a:lnTo>
                  <a:lnTo>
                    <a:pt x="4233" y="1100"/>
                  </a:lnTo>
                  <a:lnTo>
                    <a:pt x="4191" y="1143"/>
                  </a:lnTo>
                  <a:lnTo>
                    <a:pt x="4148" y="1143"/>
                  </a:lnTo>
                  <a:lnTo>
                    <a:pt x="4106" y="1185"/>
                  </a:lnTo>
                  <a:lnTo>
                    <a:pt x="4106" y="1227"/>
                  </a:lnTo>
                  <a:lnTo>
                    <a:pt x="4064" y="1227"/>
                  </a:lnTo>
                  <a:lnTo>
                    <a:pt x="4064" y="1270"/>
                  </a:lnTo>
                  <a:lnTo>
                    <a:pt x="4021" y="1270"/>
                  </a:lnTo>
                  <a:lnTo>
                    <a:pt x="3979" y="1270"/>
                  </a:lnTo>
                  <a:lnTo>
                    <a:pt x="3894" y="1312"/>
                  </a:lnTo>
                  <a:lnTo>
                    <a:pt x="3852" y="1354"/>
                  </a:lnTo>
                  <a:lnTo>
                    <a:pt x="3810" y="1354"/>
                  </a:lnTo>
                  <a:lnTo>
                    <a:pt x="3767" y="1397"/>
                  </a:lnTo>
                  <a:lnTo>
                    <a:pt x="3683" y="1439"/>
                  </a:lnTo>
                  <a:lnTo>
                    <a:pt x="3640" y="1439"/>
                  </a:lnTo>
                  <a:lnTo>
                    <a:pt x="3598" y="1481"/>
                  </a:lnTo>
                  <a:lnTo>
                    <a:pt x="3556" y="1524"/>
                  </a:lnTo>
                  <a:lnTo>
                    <a:pt x="3556" y="1566"/>
                  </a:lnTo>
                  <a:lnTo>
                    <a:pt x="3513" y="1566"/>
                  </a:lnTo>
                  <a:lnTo>
                    <a:pt x="3471" y="1566"/>
                  </a:lnTo>
                  <a:lnTo>
                    <a:pt x="3471" y="1608"/>
                  </a:lnTo>
                  <a:lnTo>
                    <a:pt x="3471" y="1651"/>
                  </a:lnTo>
                  <a:lnTo>
                    <a:pt x="3429" y="1651"/>
                  </a:lnTo>
                  <a:lnTo>
                    <a:pt x="3429" y="1693"/>
                  </a:lnTo>
                  <a:lnTo>
                    <a:pt x="3386" y="1693"/>
                  </a:lnTo>
                  <a:lnTo>
                    <a:pt x="3386" y="1735"/>
                  </a:lnTo>
                  <a:lnTo>
                    <a:pt x="3344" y="1735"/>
                  </a:lnTo>
                  <a:lnTo>
                    <a:pt x="3344" y="1778"/>
                  </a:lnTo>
                  <a:lnTo>
                    <a:pt x="3259" y="1820"/>
                  </a:lnTo>
                  <a:lnTo>
                    <a:pt x="3217" y="1862"/>
                  </a:lnTo>
                  <a:lnTo>
                    <a:pt x="3175" y="1905"/>
                  </a:lnTo>
                  <a:lnTo>
                    <a:pt x="3175" y="1947"/>
                  </a:lnTo>
                  <a:lnTo>
                    <a:pt x="3132" y="2032"/>
                  </a:lnTo>
                  <a:lnTo>
                    <a:pt x="3132" y="2116"/>
                  </a:lnTo>
                  <a:lnTo>
                    <a:pt x="3090" y="2201"/>
                  </a:lnTo>
                  <a:lnTo>
                    <a:pt x="3090" y="2243"/>
                  </a:lnTo>
                  <a:lnTo>
                    <a:pt x="3048" y="2328"/>
                  </a:lnTo>
                  <a:lnTo>
                    <a:pt x="3005" y="2370"/>
                  </a:lnTo>
                  <a:lnTo>
                    <a:pt x="2836" y="2370"/>
                  </a:lnTo>
                  <a:lnTo>
                    <a:pt x="2794" y="2370"/>
                  </a:lnTo>
                  <a:lnTo>
                    <a:pt x="2709" y="2455"/>
                  </a:lnTo>
                  <a:lnTo>
                    <a:pt x="2667" y="2413"/>
                  </a:lnTo>
                  <a:lnTo>
                    <a:pt x="2624" y="2455"/>
                  </a:lnTo>
                  <a:lnTo>
                    <a:pt x="2497" y="2497"/>
                  </a:lnTo>
                  <a:lnTo>
                    <a:pt x="2413" y="2497"/>
                  </a:lnTo>
                  <a:lnTo>
                    <a:pt x="2370" y="2540"/>
                  </a:lnTo>
                  <a:lnTo>
                    <a:pt x="2286" y="2540"/>
                  </a:lnTo>
                  <a:lnTo>
                    <a:pt x="2243" y="2751"/>
                  </a:lnTo>
                  <a:lnTo>
                    <a:pt x="2243" y="2794"/>
                  </a:lnTo>
                  <a:lnTo>
                    <a:pt x="2328" y="2836"/>
                  </a:lnTo>
                  <a:lnTo>
                    <a:pt x="2328" y="2794"/>
                  </a:lnTo>
                  <a:lnTo>
                    <a:pt x="2497" y="2921"/>
                  </a:lnTo>
                  <a:lnTo>
                    <a:pt x="2497" y="2963"/>
                  </a:lnTo>
                  <a:lnTo>
                    <a:pt x="2497" y="3005"/>
                  </a:lnTo>
                  <a:lnTo>
                    <a:pt x="2497" y="3048"/>
                  </a:lnTo>
                  <a:lnTo>
                    <a:pt x="2497" y="3090"/>
                  </a:lnTo>
                  <a:lnTo>
                    <a:pt x="2497" y="3217"/>
                  </a:lnTo>
                  <a:lnTo>
                    <a:pt x="2540" y="3259"/>
                  </a:lnTo>
                  <a:lnTo>
                    <a:pt x="2751" y="3259"/>
                  </a:lnTo>
                  <a:lnTo>
                    <a:pt x="2751" y="3302"/>
                  </a:lnTo>
                  <a:lnTo>
                    <a:pt x="2709" y="3302"/>
                  </a:lnTo>
                  <a:lnTo>
                    <a:pt x="2751" y="3344"/>
                  </a:lnTo>
                  <a:lnTo>
                    <a:pt x="2751" y="3386"/>
                  </a:lnTo>
                  <a:lnTo>
                    <a:pt x="2751" y="3429"/>
                  </a:lnTo>
                  <a:lnTo>
                    <a:pt x="2794" y="3429"/>
                  </a:lnTo>
                  <a:lnTo>
                    <a:pt x="2836" y="3429"/>
                  </a:lnTo>
                  <a:lnTo>
                    <a:pt x="2836" y="3513"/>
                  </a:lnTo>
                  <a:lnTo>
                    <a:pt x="2921" y="3513"/>
                  </a:lnTo>
                  <a:lnTo>
                    <a:pt x="2921" y="3556"/>
                  </a:lnTo>
                  <a:lnTo>
                    <a:pt x="2921" y="3598"/>
                  </a:lnTo>
                  <a:lnTo>
                    <a:pt x="2836" y="3598"/>
                  </a:lnTo>
                  <a:lnTo>
                    <a:pt x="2836" y="3640"/>
                  </a:lnTo>
                  <a:lnTo>
                    <a:pt x="2836" y="3683"/>
                  </a:lnTo>
                  <a:lnTo>
                    <a:pt x="2878" y="3683"/>
                  </a:lnTo>
                  <a:lnTo>
                    <a:pt x="2878" y="3725"/>
                  </a:lnTo>
                  <a:lnTo>
                    <a:pt x="2836" y="3725"/>
                  </a:lnTo>
                  <a:lnTo>
                    <a:pt x="2794" y="3725"/>
                  </a:lnTo>
                  <a:lnTo>
                    <a:pt x="2794" y="3767"/>
                  </a:lnTo>
                  <a:lnTo>
                    <a:pt x="2836" y="3767"/>
                  </a:lnTo>
                  <a:lnTo>
                    <a:pt x="2921" y="3810"/>
                  </a:lnTo>
                  <a:lnTo>
                    <a:pt x="2921" y="3852"/>
                  </a:lnTo>
                  <a:lnTo>
                    <a:pt x="2963" y="3852"/>
                  </a:lnTo>
                  <a:lnTo>
                    <a:pt x="3005" y="3852"/>
                  </a:lnTo>
                  <a:lnTo>
                    <a:pt x="3132" y="3810"/>
                  </a:lnTo>
                  <a:lnTo>
                    <a:pt x="3175" y="3894"/>
                  </a:lnTo>
                  <a:lnTo>
                    <a:pt x="3175" y="3937"/>
                  </a:lnTo>
                  <a:lnTo>
                    <a:pt x="3175" y="3979"/>
                  </a:lnTo>
                  <a:lnTo>
                    <a:pt x="3175" y="4021"/>
                  </a:lnTo>
                  <a:lnTo>
                    <a:pt x="3217" y="4064"/>
                  </a:lnTo>
                  <a:lnTo>
                    <a:pt x="3175" y="4106"/>
                  </a:lnTo>
                  <a:lnTo>
                    <a:pt x="3175" y="4148"/>
                  </a:lnTo>
                  <a:lnTo>
                    <a:pt x="3175" y="4360"/>
                  </a:lnTo>
                  <a:lnTo>
                    <a:pt x="3259" y="4360"/>
                  </a:lnTo>
                  <a:lnTo>
                    <a:pt x="3259" y="4402"/>
                  </a:lnTo>
                  <a:lnTo>
                    <a:pt x="3217" y="4402"/>
                  </a:lnTo>
                  <a:lnTo>
                    <a:pt x="3344" y="4487"/>
                  </a:lnTo>
                  <a:lnTo>
                    <a:pt x="3344" y="4614"/>
                  </a:lnTo>
                  <a:lnTo>
                    <a:pt x="3344" y="4656"/>
                  </a:lnTo>
                  <a:lnTo>
                    <a:pt x="3344" y="4699"/>
                  </a:lnTo>
                  <a:lnTo>
                    <a:pt x="3344" y="4741"/>
                  </a:lnTo>
                  <a:lnTo>
                    <a:pt x="3386" y="4783"/>
                  </a:lnTo>
                  <a:lnTo>
                    <a:pt x="3429" y="4826"/>
                  </a:lnTo>
                  <a:lnTo>
                    <a:pt x="3471" y="4826"/>
                  </a:lnTo>
                  <a:lnTo>
                    <a:pt x="3471" y="4868"/>
                  </a:lnTo>
                  <a:lnTo>
                    <a:pt x="3513" y="4953"/>
                  </a:lnTo>
                  <a:lnTo>
                    <a:pt x="3513" y="4995"/>
                  </a:lnTo>
                  <a:lnTo>
                    <a:pt x="3556" y="5037"/>
                  </a:lnTo>
                  <a:lnTo>
                    <a:pt x="3513" y="5080"/>
                  </a:lnTo>
                  <a:lnTo>
                    <a:pt x="3556" y="5122"/>
                  </a:lnTo>
                  <a:lnTo>
                    <a:pt x="3556" y="5164"/>
                  </a:lnTo>
                  <a:lnTo>
                    <a:pt x="3556" y="5207"/>
                  </a:lnTo>
                  <a:lnTo>
                    <a:pt x="3513" y="5249"/>
                  </a:lnTo>
                  <a:lnTo>
                    <a:pt x="3429" y="5291"/>
                  </a:lnTo>
                  <a:lnTo>
                    <a:pt x="3344" y="5249"/>
                  </a:lnTo>
                  <a:lnTo>
                    <a:pt x="3217" y="5207"/>
                  </a:lnTo>
                  <a:lnTo>
                    <a:pt x="3132" y="5164"/>
                  </a:lnTo>
                  <a:lnTo>
                    <a:pt x="3090" y="5080"/>
                  </a:lnTo>
                  <a:lnTo>
                    <a:pt x="3048" y="5080"/>
                  </a:lnTo>
                  <a:lnTo>
                    <a:pt x="3005" y="5080"/>
                  </a:lnTo>
                  <a:lnTo>
                    <a:pt x="2963" y="5037"/>
                  </a:lnTo>
                  <a:lnTo>
                    <a:pt x="2921" y="5037"/>
                  </a:lnTo>
                  <a:lnTo>
                    <a:pt x="2836" y="4995"/>
                  </a:lnTo>
                  <a:lnTo>
                    <a:pt x="2794" y="4953"/>
                  </a:lnTo>
                  <a:lnTo>
                    <a:pt x="2751" y="4953"/>
                  </a:lnTo>
                  <a:lnTo>
                    <a:pt x="2709" y="4953"/>
                  </a:lnTo>
                  <a:lnTo>
                    <a:pt x="2582" y="4953"/>
                  </a:lnTo>
                  <a:lnTo>
                    <a:pt x="2540" y="4910"/>
                  </a:lnTo>
                  <a:lnTo>
                    <a:pt x="2497" y="4910"/>
                  </a:lnTo>
                  <a:lnTo>
                    <a:pt x="2455" y="4953"/>
                  </a:lnTo>
                  <a:lnTo>
                    <a:pt x="2413" y="4995"/>
                  </a:lnTo>
                  <a:lnTo>
                    <a:pt x="2370" y="4995"/>
                  </a:lnTo>
                  <a:lnTo>
                    <a:pt x="2286" y="5037"/>
                  </a:lnTo>
                  <a:lnTo>
                    <a:pt x="2243" y="5037"/>
                  </a:lnTo>
                  <a:lnTo>
                    <a:pt x="2201" y="5080"/>
                  </a:lnTo>
                  <a:lnTo>
                    <a:pt x="2159" y="5080"/>
                  </a:lnTo>
                  <a:lnTo>
                    <a:pt x="2074" y="5037"/>
                  </a:lnTo>
                  <a:lnTo>
                    <a:pt x="2032" y="5080"/>
                  </a:lnTo>
                  <a:lnTo>
                    <a:pt x="1989" y="5080"/>
                  </a:lnTo>
                  <a:lnTo>
                    <a:pt x="1947" y="5122"/>
                  </a:lnTo>
                  <a:lnTo>
                    <a:pt x="1947" y="5164"/>
                  </a:lnTo>
                  <a:lnTo>
                    <a:pt x="1905" y="5164"/>
                  </a:lnTo>
                  <a:lnTo>
                    <a:pt x="1862" y="5207"/>
                  </a:lnTo>
                  <a:lnTo>
                    <a:pt x="1820" y="5207"/>
                  </a:lnTo>
                  <a:lnTo>
                    <a:pt x="1778" y="5164"/>
                  </a:lnTo>
                  <a:lnTo>
                    <a:pt x="1735" y="5122"/>
                  </a:lnTo>
                  <a:lnTo>
                    <a:pt x="1608" y="5122"/>
                  </a:lnTo>
                  <a:lnTo>
                    <a:pt x="1566" y="5122"/>
                  </a:lnTo>
                  <a:lnTo>
                    <a:pt x="1481" y="5037"/>
                  </a:lnTo>
                  <a:lnTo>
                    <a:pt x="1397" y="4995"/>
                  </a:lnTo>
                  <a:lnTo>
                    <a:pt x="1354" y="4995"/>
                  </a:lnTo>
                  <a:lnTo>
                    <a:pt x="1312" y="4995"/>
                  </a:lnTo>
                  <a:lnTo>
                    <a:pt x="1312" y="5080"/>
                  </a:lnTo>
                  <a:lnTo>
                    <a:pt x="1270" y="5122"/>
                  </a:lnTo>
                  <a:lnTo>
                    <a:pt x="1227" y="5164"/>
                  </a:lnTo>
                  <a:lnTo>
                    <a:pt x="1185" y="5164"/>
                  </a:lnTo>
                  <a:lnTo>
                    <a:pt x="1143" y="5164"/>
                  </a:lnTo>
                  <a:lnTo>
                    <a:pt x="1100" y="5122"/>
                  </a:lnTo>
                  <a:lnTo>
                    <a:pt x="1058" y="5080"/>
                  </a:lnTo>
                  <a:lnTo>
                    <a:pt x="1016" y="5164"/>
                  </a:lnTo>
                  <a:lnTo>
                    <a:pt x="973" y="5291"/>
                  </a:lnTo>
                  <a:lnTo>
                    <a:pt x="889" y="5376"/>
                  </a:lnTo>
                  <a:lnTo>
                    <a:pt x="846" y="5418"/>
                  </a:lnTo>
                  <a:lnTo>
                    <a:pt x="889" y="5418"/>
                  </a:lnTo>
                  <a:lnTo>
                    <a:pt x="846" y="5461"/>
                  </a:lnTo>
                  <a:lnTo>
                    <a:pt x="804" y="5545"/>
                  </a:lnTo>
                  <a:lnTo>
                    <a:pt x="762" y="5545"/>
                  </a:lnTo>
                  <a:lnTo>
                    <a:pt x="762" y="5588"/>
                  </a:lnTo>
                  <a:lnTo>
                    <a:pt x="719" y="5715"/>
                  </a:lnTo>
                  <a:lnTo>
                    <a:pt x="677" y="5757"/>
                  </a:lnTo>
                  <a:lnTo>
                    <a:pt x="677" y="5799"/>
                  </a:lnTo>
                  <a:lnTo>
                    <a:pt x="635" y="5799"/>
                  </a:lnTo>
                  <a:lnTo>
                    <a:pt x="550" y="5799"/>
                  </a:lnTo>
                  <a:lnTo>
                    <a:pt x="508" y="5799"/>
                  </a:lnTo>
                  <a:lnTo>
                    <a:pt x="508" y="5884"/>
                  </a:lnTo>
                  <a:lnTo>
                    <a:pt x="465" y="5926"/>
                  </a:lnTo>
                  <a:lnTo>
                    <a:pt x="423" y="5926"/>
                  </a:lnTo>
                  <a:lnTo>
                    <a:pt x="381" y="5926"/>
                  </a:lnTo>
                  <a:lnTo>
                    <a:pt x="338" y="5926"/>
                  </a:lnTo>
                  <a:lnTo>
                    <a:pt x="338" y="5969"/>
                  </a:lnTo>
                  <a:lnTo>
                    <a:pt x="338" y="6011"/>
                  </a:lnTo>
                  <a:lnTo>
                    <a:pt x="381" y="6053"/>
                  </a:lnTo>
                  <a:lnTo>
                    <a:pt x="381" y="6096"/>
                  </a:lnTo>
                  <a:lnTo>
                    <a:pt x="338" y="6096"/>
                  </a:lnTo>
                  <a:lnTo>
                    <a:pt x="296" y="6053"/>
                  </a:lnTo>
                  <a:lnTo>
                    <a:pt x="169" y="6096"/>
                  </a:lnTo>
                  <a:lnTo>
                    <a:pt x="127" y="6053"/>
                  </a:lnTo>
                  <a:lnTo>
                    <a:pt x="42" y="6096"/>
                  </a:lnTo>
                  <a:lnTo>
                    <a:pt x="0" y="6053"/>
                  </a:lnTo>
                  <a:lnTo>
                    <a:pt x="0" y="6096"/>
                  </a:lnTo>
                  <a:lnTo>
                    <a:pt x="0" y="6138"/>
                  </a:lnTo>
                  <a:lnTo>
                    <a:pt x="42" y="6180"/>
                  </a:lnTo>
                  <a:lnTo>
                    <a:pt x="0" y="6180"/>
                  </a:lnTo>
                  <a:lnTo>
                    <a:pt x="42" y="6223"/>
                  </a:lnTo>
                  <a:lnTo>
                    <a:pt x="84" y="6223"/>
                  </a:lnTo>
                  <a:lnTo>
                    <a:pt x="127" y="6223"/>
                  </a:lnTo>
                  <a:lnTo>
                    <a:pt x="211" y="6223"/>
                  </a:lnTo>
                  <a:lnTo>
                    <a:pt x="169" y="6392"/>
                  </a:lnTo>
                  <a:lnTo>
                    <a:pt x="169" y="6434"/>
                  </a:lnTo>
                  <a:lnTo>
                    <a:pt x="84" y="6434"/>
                  </a:lnTo>
                  <a:lnTo>
                    <a:pt x="84" y="6477"/>
                  </a:lnTo>
                  <a:lnTo>
                    <a:pt x="84" y="6519"/>
                  </a:lnTo>
                  <a:lnTo>
                    <a:pt x="127" y="6519"/>
                  </a:lnTo>
                  <a:lnTo>
                    <a:pt x="169" y="6561"/>
                  </a:lnTo>
                  <a:lnTo>
                    <a:pt x="254" y="6604"/>
                  </a:lnTo>
                  <a:lnTo>
                    <a:pt x="296" y="6646"/>
                  </a:lnTo>
                  <a:lnTo>
                    <a:pt x="338" y="6646"/>
                  </a:lnTo>
                  <a:lnTo>
                    <a:pt x="338" y="6688"/>
                  </a:lnTo>
                  <a:lnTo>
                    <a:pt x="381" y="6731"/>
                  </a:lnTo>
                  <a:lnTo>
                    <a:pt x="381" y="6773"/>
                  </a:lnTo>
                  <a:lnTo>
                    <a:pt x="423" y="6773"/>
                  </a:lnTo>
                  <a:lnTo>
                    <a:pt x="423" y="6815"/>
                  </a:lnTo>
                  <a:lnTo>
                    <a:pt x="465" y="6815"/>
                  </a:lnTo>
                  <a:lnTo>
                    <a:pt x="508" y="6773"/>
                  </a:lnTo>
                  <a:lnTo>
                    <a:pt x="550" y="6731"/>
                  </a:lnTo>
                  <a:lnTo>
                    <a:pt x="592" y="6731"/>
                  </a:lnTo>
                  <a:lnTo>
                    <a:pt x="635" y="6773"/>
                  </a:lnTo>
                  <a:lnTo>
                    <a:pt x="677" y="6815"/>
                  </a:lnTo>
                  <a:lnTo>
                    <a:pt x="804" y="6858"/>
                  </a:lnTo>
                  <a:lnTo>
                    <a:pt x="804" y="6900"/>
                  </a:lnTo>
                  <a:lnTo>
                    <a:pt x="804" y="6942"/>
                  </a:lnTo>
                  <a:lnTo>
                    <a:pt x="804" y="6985"/>
                  </a:lnTo>
                  <a:lnTo>
                    <a:pt x="846" y="7027"/>
                  </a:lnTo>
                  <a:lnTo>
                    <a:pt x="804" y="7069"/>
                  </a:lnTo>
                  <a:lnTo>
                    <a:pt x="762" y="7112"/>
                  </a:lnTo>
                  <a:lnTo>
                    <a:pt x="719" y="7112"/>
                  </a:lnTo>
                  <a:lnTo>
                    <a:pt x="719" y="7154"/>
                  </a:lnTo>
                  <a:lnTo>
                    <a:pt x="762" y="7196"/>
                  </a:lnTo>
                  <a:lnTo>
                    <a:pt x="846" y="7154"/>
                  </a:lnTo>
                  <a:lnTo>
                    <a:pt x="931" y="7154"/>
                  </a:lnTo>
                  <a:lnTo>
                    <a:pt x="1016" y="7154"/>
                  </a:lnTo>
                  <a:lnTo>
                    <a:pt x="1058" y="7154"/>
                  </a:lnTo>
                  <a:lnTo>
                    <a:pt x="1143" y="7154"/>
                  </a:lnTo>
                  <a:lnTo>
                    <a:pt x="1185" y="7154"/>
                  </a:lnTo>
                  <a:lnTo>
                    <a:pt x="1227" y="7154"/>
                  </a:lnTo>
                  <a:lnTo>
                    <a:pt x="1270" y="7112"/>
                  </a:lnTo>
                  <a:lnTo>
                    <a:pt x="1312" y="7154"/>
                  </a:lnTo>
                  <a:lnTo>
                    <a:pt x="1397" y="7196"/>
                  </a:lnTo>
                  <a:lnTo>
                    <a:pt x="1439" y="7239"/>
                  </a:lnTo>
                  <a:lnTo>
                    <a:pt x="1481" y="7196"/>
                  </a:lnTo>
                  <a:lnTo>
                    <a:pt x="1524" y="7154"/>
                  </a:lnTo>
                  <a:lnTo>
                    <a:pt x="1608" y="7154"/>
                  </a:lnTo>
                  <a:lnTo>
                    <a:pt x="1693" y="7196"/>
                  </a:lnTo>
                  <a:lnTo>
                    <a:pt x="1735" y="7196"/>
                  </a:lnTo>
                  <a:lnTo>
                    <a:pt x="1735" y="7154"/>
                  </a:lnTo>
                  <a:lnTo>
                    <a:pt x="1820" y="7112"/>
                  </a:lnTo>
                  <a:lnTo>
                    <a:pt x="2032" y="7027"/>
                  </a:lnTo>
                  <a:lnTo>
                    <a:pt x="2032" y="6985"/>
                  </a:lnTo>
                  <a:lnTo>
                    <a:pt x="2074" y="6985"/>
                  </a:lnTo>
                  <a:lnTo>
                    <a:pt x="2074" y="6900"/>
                  </a:lnTo>
                  <a:lnTo>
                    <a:pt x="2074" y="6815"/>
                  </a:lnTo>
                  <a:lnTo>
                    <a:pt x="2116" y="6731"/>
                  </a:lnTo>
                  <a:lnTo>
                    <a:pt x="2116" y="6688"/>
                  </a:lnTo>
                  <a:lnTo>
                    <a:pt x="2201" y="6561"/>
                  </a:lnTo>
                  <a:lnTo>
                    <a:pt x="2243" y="6519"/>
                  </a:lnTo>
                  <a:lnTo>
                    <a:pt x="2286" y="6477"/>
                  </a:lnTo>
                  <a:lnTo>
                    <a:pt x="2286" y="6434"/>
                  </a:lnTo>
                  <a:lnTo>
                    <a:pt x="2328" y="6392"/>
                  </a:lnTo>
                  <a:lnTo>
                    <a:pt x="2370" y="6392"/>
                  </a:lnTo>
                  <a:lnTo>
                    <a:pt x="2370" y="6434"/>
                  </a:lnTo>
                  <a:lnTo>
                    <a:pt x="2413" y="6477"/>
                  </a:lnTo>
                  <a:lnTo>
                    <a:pt x="2455" y="6519"/>
                  </a:lnTo>
                  <a:lnTo>
                    <a:pt x="2497" y="6519"/>
                  </a:lnTo>
                  <a:lnTo>
                    <a:pt x="2582" y="6519"/>
                  </a:lnTo>
                  <a:lnTo>
                    <a:pt x="2667" y="6519"/>
                  </a:lnTo>
                  <a:lnTo>
                    <a:pt x="2709" y="6477"/>
                  </a:lnTo>
                  <a:lnTo>
                    <a:pt x="2751" y="6392"/>
                  </a:lnTo>
                  <a:lnTo>
                    <a:pt x="2751" y="6350"/>
                  </a:lnTo>
                  <a:lnTo>
                    <a:pt x="2794" y="6350"/>
                  </a:lnTo>
                  <a:lnTo>
                    <a:pt x="2836" y="6350"/>
                  </a:lnTo>
                  <a:lnTo>
                    <a:pt x="2878" y="6350"/>
                  </a:lnTo>
                  <a:lnTo>
                    <a:pt x="2921" y="6392"/>
                  </a:lnTo>
                  <a:lnTo>
                    <a:pt x="2921" y="6434"/>
                  </a:lnTo>
                  <a:lnTo>
                    <a:pt x="2963" y="6434"/>
                  </a:lnTo>
                  <a:lnTo>
                    <a:pt x="3005" y="6434"/>
                  </a:lnTo>
                  <a:lnTo>
                    <a:pt x="3048" y="6477"/>
                  </a:lnTo>
                  <a:lnTo>
                    <a:pt x="3090" y="6477"/>
                  </a:lnTo>
                  <a:lnTo>
                    <a:pt x="3132" y="6434"/>
                  </a:lnTo>
                  <a:lnTo>
                    <a:pt x="3132" y="6392"/>
                  </a:lnTo>
                  <a:lnTo>
                    <a:pt x="3175" y="6350"/>
                  </a:lnTo>
                  <a:lnTo>
                    <a:pt x="3217" y="6350"/>
                  </a:lnTo>
                  <a:lnTo>
                    <a:pt x="3302" y="6350"/>
                  </a:lnTo>
                  <a:lnTo>
                    <a:pt x="3344" y="6350"/>
                  </a:lnTo>
                  <a:lnTo>
                    <a:pt x="3386" y="6350"/>
                  </a:lnTo>
                  <a:lnTo>
                    <a:pt x="3471" y="6392"/>
                  </a:lnTo>
                  <a:lnTo>
                    <a:pt x="3513" y="6434"/>
                  </a:lnTo>
                  <a:lnTo>
                    <a:pt x="3556" y="6434"/>
                  </a:lnTo>
                  <a:lnTo>
                    <a:pt x="3640" y="6434"/>
                  </a:lnTo>
                  <a:lnTo>
                    <a:pt x="3683" y="6477"/>
                  </a:lnTo>
                  <a:lnTo>
                    <a:pt x="3683" y="6561"/>
                  </a:lnTo>
                  <a:lnTo>
                    <a:pt x="3725" y="6604"/>
                  </a:lnTo>
                  <a:lnTo>
                    <a:pt x="3767" y="6646"/>
                  </a:lnTo>
                  <a:lnTo>
                    <a:pt x="3810" y="6688"/>
                  </a:lnTo>
                  <a:lnTo>
                    <a:pt x="3852" y="6688"/>
                  </a:lnTo>
                  <a:lnTo>
                    <a:pt x="3894" y="6688"/>
                  </a:lnTo>
                  <a:lnTo>
                    <a:pt x="3937" y="6731"/>
                  </a:lnTo>
                  <a:lnTo>
                    <a:pt x="3979" y="6731"/>
                  </a:lnTo>
                  <a:lnTo>
                    <a:pt x="3979" y="6815"/>
                  </a:lnTo>
                  <a:lnTo>
                    <a:pt x="4021" y="6815"/>
                  </a:lnTo>
                  <a:lnTo>
                    <a:pt x="4064" y="6858"/>
                  </a:lnTo>
                  <a:lnTo>
                    <a:pt x="4106" y="6858"/>
                  </a:lnTo>
                  <a:lnTo>
                    <a:pt x="4148" y="6858"/>
                  </a:lnTo>
                  <a:lnTo>
                    <a:pt x="4191" y="6900"/>
                  </a:lnTo>
                  <a:lnTo>
                    <a:pt x="4233" y="6942"/>
                  </a:lnTo>
                  <a:lnTo>
                    <a:pt x="4233" y="6985"/>
                  </a:lnTo>
                  <a:lnTo>
                    <a:pt x="4275" y="7027"/>
                  </a:lnTo>
                  <a:lnTo>
                    <a:pt x="4318" y="7027"/>
                  </a:lnTo>
                  <a:lnTo>
                    <a:pt x="4360" y="7027"/>
                  </a:lnTo>
                  <a:lnTo>
                    <a:pt x="4445" y="7027"/>
                  </a:lnTo>
                  <a:lnTo>
                    <a:pt x="4487" y="7027"/>
                  </a:lnTo>
                  <a:lnTo>
                    <a:pt x="4614" y="6985"/>
                  </a:lnTo>
                  <a:lnTo>
                    <a:pt x="4656" y="6985"/>
                  </a:lnTo>
                  <a:lnTo>
                    <a:pt x="4783" y="6985"/>
                  </a:lnTo>
                  <a:lnTo>
                    <a:pt x="4868" y="6985"/>
                  </a:lnTo>
                  <a:lnTo>
                    <a:pt x="4910" y="6985"/>
                  </a:lnTo>
                  <a:lnTo>
                    <a:pt x="4953" y="6985"/>
                  </a:lnTo>
                  <a:lnTo>
                    <a:pt x="4953" y="6942"/>
                  </a:lnTo>
                  <a:lnTo>
                    <a:pt x="4953" y="6900"/>
                  </a:lnTo>
                  <a:lnTo>
                    <a:pt x="4910" y="6858"/>
                  </a:lnTo>
                  <a:lnTo>
                    <a:pt x="4953" y="6815"/>
                  </a:lnTo>
                  <a:lnTo>
                    <a:pt x="5037" y="6815"/>
                  </a:lnTo>
                  <a:lnTo>
                    <a:pt x="5080" y="6815"/>
                  </a:lnTo>
                  <a:lnTo>
                    <a:pt x="5122" y="6858"/>
                  </a:lnTo>
                  <a:lnTo>
                    <a:pt x="5164" y="6900"/>
                  </a:lnTo>
                  <a:lnTo>
                    <a:pt x="5164" y="6942"/>
                  </a:lnTo>
                  <a:lnTo>
                    <a:pt x="5207" y="6985"/>
                  </a:lnTo>
                  <a:lnTo>
                    <a:pt x="5207" y="7027"/>
                  </a:lnTo>
                  <a:lnTo>
                    <a:pt x="5249" y="7069"/>
                  </a:lnTo>
                  <a:lnTo>
                    <a:pt x="5291" y="7069"/>
                  </a:lnTo>
                  <a:lnTo>
                    <a:pt x="5291" y="7112"/>
                  </a:lnTo>
                  <a:lnTo>
                    <a:pt x="5334" y="7154"/>
                  </a:lnTo>
                  <a:lnTo>
                    <a:pt x="5376" y="7154"/>
                  </a:lnTo>
                  <a:lnTo>
                    <a:pt x="5418" y="7112"/>
                  </a:lnTo>
                  <a:lnTo>
                    <a:pt x="5418" y="7069"/>
                  </a:lnTo>
                  <a:lnTo>
                    <a:pt x="5461" y="7027"/>
                  </a:lnTo>
                  <a:lnTo>
                    <a:pt x="5545" y="6985"/>
                  </a:lnTo>
                  <a:lnTo>
                    <a:pt x="5588" y="6985"/>
                  </a:lnTo>
                  <a:lnTo>
                    <a:pt x="5630" y="6900"/>
                  </a:lnTo>
                  <a:lnTo>
                    <a:pt x="5630" y="6858"/>
                  </a:lnTo>
                  <a:lnTo>
                    <a:pt x="5588" y="6858"/>
                  </a:lnTo>
                  <a:lnTo>
                    <a:pt x="5588" y="6773"/>
                  </a:lnTo>
                  <a:lnTo>
                    <a:pt x="5630" y="6773"/>
                  </a:lnTo>
                  <a:lnTo>
                    <a:pt x="5588" y="6731"/>
                  </a:lnTo>
                  <a:lnTo>
                    <a:pt x="5545" y="6731"/>
                  </a:lnTo>
                  <a:lnTo>
                    <a:pt x="5545" y="6688"/>
                  </a:lnTo>
                  <a:lnTo>
                    <a:pt x="5545" y="6646"/>
                  </a:lnTo>
                  <a:lnTo>
                    <a:pt x="5545" y="6604"/>
                  </a:lnTo>
                  <a:lnTo>
                    <a:pt x="5461" y="6519"/>
                  </a:lnTo>
                  <a:lnTo>
                    <a:pt x="5418" y="6519"/>
                  </a:lnTo>
                  <a:lnTo>
                    <a:pt x="5376" y="6519"/>
                  </a:lnTo>
                  <a:lnTo>
                    <a:pt x="5376" y="6477"/>
                  </a:lnTo>
                  <a:lnTo>
                    <a:pt x="5418" y="6434"/>
                  </a:lnTo>
                  <a:lnTo>
                    <a:pt x="5461" y="6434"/>
                  </a:lnTo>
                  <a:lnTo>
                    <a:pt x="5376" y="6392"/>
                  </a:lnTo>
                  <a:lnTo>
                    <a:pt x="5461" y="6265"/>
                  </a:lnTo>
                  <a:lnTo>
                    <a:pt x="5503" y="6265"/>
                  </a:lnTo>
                  <a:lnTo>
                    <a:pt x="5503" y="6307"/>
                  </a:lnTo>
                  <a:lnTo>
                    <a:pt x="5588" y="6307"/>
                  </a:lnTo>
                  <a:lnTo>
                    <a:pt x="5630" y="6307"/>
                  </a:lnTo>
                  <a:lnTo>
                    <a:pt x="5715" y="6265"/>
                  </a:lnTo>
                  <a:lnTo>
                    <a:pt x="5757" y="6265"/>
                  </a:lnTo>
                  <a:lnTo>
                    <a:pt x="5799" y="6223"/>
                  </a:lnTo>
                  <a:lnTo>
                    <a:pt x="5842" y="6180"/>
                  </a:lnTo>
                  <a:lnTo>
                    <a:pt x="5884" y="6223"/>
                  </a:lnTo>
                  <a:lnTo>
                    <a:pt x="5926" y="6180"/>
                  </a:lnTo>
                  <a:lnTo>
                    <a:pt x="5969" y="6138"/>
                  </a:lnTo>
                  <a:lnTo>
                    <a:pt x="6011" y="6138"/>
                  </a:lnTo>
                  <a:lnTo>
                    <a:pt x="5969" y="6096"/>
                  </a:lnTo>
                  <a:lnTo>
                    <a:pt x="6011" y="6053"/>
                  </a:lnTo>
                  <a:lnTo>
                    <a:pt x="6053" y="6011"/>
                  </a:lnTo>
                  <a:lnTo>
                    <a:pt x="6096" y="6053"/>
                  </a:lnTo>
                  <a:lnTo>
                    <a:pt x="6180" y="6138"/>
                  </a:lnTo>
                  <a:lnTo>
                    <a:pt x="6223" y="6138"/>
                  </a:lnTo>
                  <a:lnTo>
                    <a:pt x="6265" y="6138"/>
                  </a:lnTo>
                  <a:lnTo>
                    <a:pt x="6434" y="6180"/>
                  </a:lnTo>
                  <a:lnTo>
                    <a:pt x="6561" y="6180"/>
                  </a:lnTo>
                  <a:lnTo>
                    <a:pt x="6604" y="6223"/>
                  </a:lnTo>
                  <a:lnTo>
                    <a:pt x="6604" y="6138"/>
                  </a:lnTo>
                  <a:lnTo>
                    <a:pt x="6604" y="6096"/>
                  </a:lnTo>
                  <a:lnTo>
                    <a:pt x="6604" y="6053"/>
                  </a:lnTo>
                  <a:lnTo>
                    <a:pt x="6604" y="6011"/>
                  </a:lnTo>
                  <a:lnTo>
                    <a:pt x="6519" y="5969"/>
                  </a:lnTo>
                  <a:lnTo>
                    <a:pt x="6477" y="5969"/>
                  </a:lnTo>
                  <a:lnTo>
                    <a:pt x="6477" y="5926"/>
                  </a:lnTo>
                  <a:lnTo>
                    <a:pt x="6477" y="5884"/>
                  </a:lnTo>
                  <a:lnTo>
                    <a:pt x="6434" y="5799"/>
                  </a:lnTo>
                  <a:lnTo>
                    <a:pt x="6392" y="5757"/>
                  </a:lnTo>
                  <a:lnTo>
                    <a:pt x="6307" y="5757"/>
                  </a:lnTo>
                  <a:lnTo>
                    <a:pt x="6265" y="5757"/>
                  </a:lnTo>
                  <a:lnTo>
                    <a:pt x="6307" y="5715"/>
                  </a:lnTo>
                  <a:lnTo>
                    <a:pt x="6307" y="5672"/>
                  </a:lnTo>
                  <a:lnTo>
                    <a:pt x="6350" y="5672"/>
                  </a:lnTo>
                  <a:lnTo>
                    <a:pt x="6392" y="5715"/>
                  </a:lnTo>
                  <a:lnTo>
                    <a:pt x="6561" y="5630"/>
                  </a:lnTo>
                  <a:lnTo>
                    <a:pt x="6604" y="5672"/>
                  </a:lnTo>
                  <a:lnTo>
                    <a:pt x="6646" y="5672"/>
                  </a:lnTo>
                  <a:lnTo>
                    <a:pt x="6688" y="5715"/>
                  </a:lnTo>
                  <a:lnTo>
                    <a:pt x="6773" y="5757"/>
                  </a:lnTo>
                  <a:lnTo>
                    <a:pt x="6773" y="5799"/>
                  </a:lnTo>
                  <a:lnTo>
                    <a:pt x="6688" y="5799"/>
                  </a:lnTo>
                  <a:lnTo>
                    <a:pt x="6731" y="5842"/>
                  </a:lnTo>
                  <a:lnTo>
                    <a:pt x="6773" y="5884"/>
                  </a:lnTo>
                  <a:lnTo>
                    <a:pt x="6815" y="5926"/>
                  </a:lnTo>
                  <a:lnTo>
                    <a:pt x="6900" y="5969"/>
                  </a:lnTo>
                  <a:lnTo>
                    <a:pt x="6985" y="5969"/>
                  </a:lnTo>
                  <a:lnTo>
                    <a:pt x="6985" y="5926"/>
                  </a:lnTo>
                  <a:lnTo>
                    <a:pt x="7069" y="5926"/>
                  </a:lnTo>
                  <a:lnTo>
                    <a:pt x="7112" y="5969"/>
                  </a:lnTo>
                  <a:lnTo>
                    <a:pt x="7154" y="5969"/>
                  </a:lnTo>
                  <a:lnTo>
                    <a:pt x="7154" y="5926"/>
                  </a:lnTo>
                  <a:lnTo>
                    <a:pt x="7196" y="5926"/>
                  </a:lnTo>
                  <a:lnTo>
                    <a:pt x="7196" y="5884"/>
                  </a:lnTo>
                  <a:lnTo>
                    <a:pt x="7239" y="5926"/>
                  </a:lnTo>
                  <a:lnTo>
                    <a:pt x="7366" y="5969"/>
                  </a:lnTo>
                  <a:lnTo>
                    <a:pt x="7366" y="6011"/>
                  </a:lnTo>
                  <a:lnTo>
                    <a:pt x="7408" y="6096"/>
                  </a:lnTo>
                  <a:lnTo>
                    <a:pt x="7408" y="6138"/>
                  </a:lnTo>
                  <a:lnTo>
                    <a:pt x="7493" y="6096"/>
                  </a:lnTo>
                  <a:lnTo>
                    <a:pt x="7577" y="6096"/>
                  </a:lnTo>
                  <a:lnTo>
                    <a:pt x="7620" y="6096"/>
                  </a:lnTo>
                  <a:lnTo>
                    <a:pt x="7662" y="6138"/>
                  </a:lnTo>
                  <a:lnTo>
                    <a:pt x="7704" y="6138"/>
                  </a:lnTo>
                  <a:lnTo>
                    <a:pt x="7747" y="6180"/>
                  </a:lnTo>
                  <a:lnTo>
                    <a:pt x="7747" y="6223"/>
                  </a:lnTo>
                  <a:lnTo>
                    <a:pt x="7747" y="6265"/>
                  </a:lnTo>
                  <a:lnTo>
                    <a:pt x="7789" y="6265"/>
                  </a:lnTo>
                  <a:lnTo>
                    <a:pt x="7831" y="6265"/>
                  </a:lnTo>
                  <a:lnTo>
                    <a:pt x="7874" y="6265"/>
                  </a:lnTo>
                  <a:lnTo>
                    <a:pt x="7958" y="6307"/>
                  </a:lnTo>
                  <a:lnTo>
                    <a:pt x="8001" y="6307"/>
                  </a:lnTo>
                  <a:lnTo>
                    <a:pt x="7958" y="6223"/>
                  </a:lnTo>
                  <a:lnTo>
                    <a:pt x="8001" y="6265"/>
                  </a:lnTo>
                  <a:lnTo>
                    <a:pt x="7958" y="6180"/>
                  </a:lnTo>
                  <a:lnTo>
                    <a:pt x="7958" y="6138"/>
                  </a:lnTo>
                  <a:lnTo>
                    <a:pt x="8001" y="6096"/>
                  </a:lnTo>
                  <a:lnTo>
                    <a:pt x="7958" y="6096"/>
                  </a:lnTo>
                  <a:lnTo>
                    <a:pt x="7958" y="6053"/>
                  </a:lnTo>
                  <a:lnTo>
                    <a:pt x="7916" y="6053"/>
                  </a:lnTo>
                  <a:lnTo>
                    <a:pt x="7874" y="6011"/>
                  </a:lnTo>
                  <a:lnTo>
                    <a:pt x="7874" y="5969"/>
                  </a:lnTo>
                  <a:lnTo>
                    <a:pt x="7874" y="5884"/>
                  </a:lnTo>
                  <a:lnTo>
                    <a:pt x="7958" y="5926"/>
                  </a:lnTo>
                  <a:lnTo>
                    <a:pt x="8001" y="5926"/>
                  </a:lnTo>
                  <a:lnTo>
                    <a:pt x="8043" y="5969"/>
                  </a:lnTo>
                  <a:lnTo>
                    <a:pt x="8085" y="5969"/>
                  </a:lnTo>
                  <a:lnTo>
                    <a:pt x="8085" y="6011"/>
                  </a:lnTo>
                  <a:lnTo>
                    <a:pt x="8128" y="6011"/>
                  </a:lnTo>
                  <a:lnTo>
                    <a:pt x="8170" y="6011"/>
                  </a:lnTo>
                  <a:lnTo>
                    <a:pt x="8212" y="5969"/>
                  </a:lnTo>
                  <a:lnTo>
                    <a:pt x="8255" y="6053"/>
                  </a:lnTo>
                  <a:lnTo>
                    <a:pt x="8297" y="6053"/>
                  </a:lnTo>
                  <a:lnTo>
                    <a:pt x="8339" y="6096"/>
                  </a:lnTo>
                  <a:lnTo>
                    <a:pt x="8382" y="6053"/>
                  </a:lnTo>
                  <a:lnTo>
                    <a:pt x="8509" y="6011"/>
                  </a:lnTo>
                  <a:lnTo>
                    <a:pt x="8509" y="5969"/>
                  </a:lnTo>
                  <a:lnTo>
                    <a:pt x="8509" y="5926"/>
                  </a:lnTo>
                  <a:lnTo>
                    <a:pt x="8551" y="5926"/>
                  </a:lnTo>
                  <a:lnTo>
                    <a:pt x="8593" y="5884"/>
                  </a:lnTo>
                  <a:lnTo>
                    <a:pt x="8636" y="5884"/>
                  </a:lnTo>
                  <a:lnTo>
                    <a:pt x="8678" y="5884"/>
                  </a:lnTo>
                  <a:lnTo>
                    <a:pt x="8720" y="5842"/>
                  </a:lnTo>
                  <a:lnTo>
                    <a:pt x="8720" y="5799"/>
                  </a:lnTo>
                  <a:lnTo>
                    <a:pt x="8763" y="5799"/>
                  </a:lnTo>
                  <a:lnTo>
                    <a:pt x="8805" y="5757"/>
                  </a:lnTo>
                  <a:lnTo>
                    <a:pt x="8805" y="5799"/>
                  </a:lnTo>
                  <a:lnTo>
                    <a:pt x="8847" y="5799"/>
                  </a:lnTo>
                  <a:lnTo>
                    <a:pt x="8890" y="5757"/>
                  </a:lnTo>
                  <a:lnTo>
                    <a:pt x="8974" y="5715"/>
                  </a:lnTo>
                  <a:lnTo>
                    <a:pt x="9186" y="5630"/>
                  </a:lnTo>
                  <a:lnTo>
                    <a:pt x="9228" y="5630"/>
                  </a:lnTo>
                  <a:lnTo>
                    <a:pt x="9271" y="5630"/>
                  </a:lnTo>
                  <a:lnTo>
                    <a:pt x="9271" y="5588"/>
                  </a:lnTo>
                  <a:lnTo>
                    <a:pt x="9355" y="5545"/>
                  </a:lnTo>
                  <a:lnTo>
                    <a:pt x="9440" y="5503"/>
                  </a:lnTo>
                  <a:lnTo>
                    <a:pt x="9482" y="5503"/>
                  </a:lnTo>
                  <a:lnTo>
                    <a:pt x="9525" y="5461"/>
                  </a:lnTo>
                  <a:lnTo>
                    <a:pt x="9525" y="5503"/>
                  </a:lnTo>
                  <a:lnTo>
                    <a:pt x="9567" y="5503"/>
                  </a:lnTo>
                  <a:lnTo>
                    <a:pt x="9609" y="5503"/>
                  </a:lnTo>
                  <a:lnTo>
                    <a:pt x="9609" y="5545"/>
                  </a:lnTo>
                  <a:lnTo>
                    <a:pt x="9652" y="5588"/>
                  </a:lnTo>
                  <a:lnTo>
                    <a:pt x="9736" y="5672"/>
                  </a:lnTo>
                  <a:lnTo>
                    <a:pt x="9821" y="5630"/>
                  </a:lnTo>
                  <a:lnTo>
                    <a:pt x="9821" y="5588"/>
                  </a:lnTo>
                  <a:lnTo>
                    <a:pt x="9863" y="5588"/>
                  </a:lnTo>
                  <a:lnTo>
                    <a:pt x="9906" y="5545"/>
                  </a:lnTo>
                  <a:lnTo>
                    <a:pt x="9948" y="5545"/>
                  </a:lnTo>
                  <a:lnTo>
                    <a:pt x="9948" y="5503"/>
                  </a:lnTo>
                  <a:lnTo>
                    <a:pt x="9990" y="5461"/>
                  </a:lnTo>
                  <a:lnTo>
                    <a:pt x="10033" y="5461"/>
                  </a:lnTo>
                  <a:lnTo>
                    <a:pt x="10117" y="5334"/>
                  </a:lnTo>
                  <a:lnTo>
                    <a:pt x="10160" y="5291"/>
                  </a:lnTo>
                  <a:lnTo>
                    <a:pt x="10160" y="5249"/>
                  </a:lnTo>
                  <a:lnTo>
                    <a:pt x="10160" y="5207"/>
                  </a:lnTo>
                  <a:lnTo>
                    <a:pt x="10160" y="5080"/>
                  </a:lnTo>
                  <a:lnTo>
                    <a:pt x="10244" y="5037"/>
                  </a:lnTo>
                  <a:lnTo>
                    <a:pt x="10329" y="5037"/>
                  </a:lnTo>
                  <a:lnTo>
                    <a:pt x="10371" y="4953"/>
                  </a:lnTo>
                  <a:lnTo>
                    <a:pt x="10329" y="4910"/>
                  </a:lnTo>
                  <a:lnTo>
                    <a:pt x="10329" y="4826"/>
                  </a:lnTo>
                  <a:lnTo>
                    <a:pt x="10329" y="4783"/>
                  </a:lnTo>
                  <a:lnTo>
                    <a:pt x="10202" y="4741"/>
                  </a:lnTo>
                  <a:lnTo>
                    <a:pt x="10244" y="4741"/>
                  </a:lnTo>
                  <a:lnTo>
                    <a:pt x="9990" y="4572"/>
                  </a:lnTo>
                  <a:lnTo>
                    <a:pt x="9948" y="4529"/>
                  </a:lnTo>
                  <a:lnTo>
                    <a:pt x="9906" y="4445"/>
                  </a:lnTo>
                  <a:lnTo>
                    <a:pt x="9694" y="4360"/>
                  </a:lnTo>
                  <a:lnTo>
                    <a:pt x="9525" y="4360"/>
                  </a:lnTo>
                  <a:lnTo>
                    <a:pt x="9525" y="4318"/>
                  </a:lnTo>
                  <a:lnTo>
                    <a:pt x="9525" y="4233"/>
                  </a:lnTo>
                  <a:lnTo>
                    <a:pt x="9525" y="4191"/>
                  </a:lnTo>
                  <a:lnTo>
                    <a:pt x="9567" y="4148"/>
                  </a:lnTo>
                  <a:lnTo>
                    <a:pt x="9567" y="4106"/>
                  </a:lnTo>
                  <a:lnTo>
                    <a:pt x="9567" y="4064"/>
                  </a:lnTo>
                  <a:lnTo>
                    <a:pt x="9694" y="4064"/>
                  </a:lnTo>
                  <a:lnTo>
                    <a:pt x="9779" y="4021"/>
                  </a:lnTo>
                  <a:lnTo>
                    <a:pt x="9863" y="3979"/>
                  </a:lnTo>
                  <a:lnTo>
                    <a:pt x="9863" y="3937"/>
                  </a:lnTo>
                  <a:lnTo>
                    <a:pt x="9863" y="3894"/>
                  </a:lnTo>
                  <a:lnTo>
                    <a:pt x="9863" y="3852"/>
                  </a:lnTo>
                  <a:lnTo>
                    <a:pt x="9906" y="3852"/>
                  </a:lnTo>
                  <a:lnTo>
                    <a:pt x="9906" y="3810"/>
                  </a:lnTo>
                  <a:lnTo>
                    <a:pt x="9948" y="3640"/>
                  </a:lnTo>
                  <a:lnTo>
                    <a:pt x="9694" y="3640"/>
                  </a:lnTo>
                  <a:lnTo>
                    <a:pt x="9652" y="3640"/>
                  </a:lnTo>
                  <a:lnTo>
                    <a:pt x="9567" y="3598"/>
                  </a:lnTo>
                  <a:lnTo>
                    <a:pt x="9482" y="3556"/>
                  </a:lnTo>
                  <a:lnTo>
                    <a:pt x="9440" y="3556"/>
                  </a:lnTo>
                  <a:lnTo>
                    <a:pt x="9355" y="3556"/>
                  </a:lnTo>
                  <a:lnTo>
                    <a:pt x="9440" y="3429"/>
                  </a:lnTo>
                  <a:lnTo>
                    <a:pt x="9440" y="3302"/>
                  </a:lnTo>
                  <a:lnTo>
                    <a:pt x="9440" y="3259"/>
                  </a:lnTo>
                  <a:lnTo>
                    <a:pt x="9440" y="3217"/>
                  </a:lnTo>
                  <a:lnTo>
                    <a:pt x="9313" y="3132"/>
                  </a:lnTo>
                  <a:lnTo>
                    <a:pt x="9271" y="3132"/>
                  </a:lnTo>
                  <a:lnTo>
                    <a:pt x="9228" y="3217"/>
                  </a:lnTo>
                  <a:lnTo>
                    <a:pt x="9228" y="3175"/>
                  </a:lnTo>
                  <a:lnTo>
                    <a:pt x="9186" y="3132"/>
                  </a:lnTo>
                  <a:lnTo>
                    <a:pt x="9144" y="3175"/>
                  </a:lnTo>
                  <a:lnTo>
                    <a:pt x="9101" y="3217"/>
                  </a:lnTo>
                  <a:lnTo>
                    <a:pt x="9101" y="3259"/>
                  </a:lnTo>
                  <a:lnTo>
                    <a:pt x="9059" y="3217"/>
                  </a:lnTo>
                  <a:lnTo>
                    <a:pt x="9017" y="3175"/>
                  </a:lnTo>
                  <a:lnTo>
                    <a:pt x="9059" y="3132"/>
                  </a:lnTo>
                  <a:lnTo>
                    <a:pt x="8974" y="3090"/>
                  </a:lnTo>
                  <a:lnTo>
                    <a:pt x="8932" y="3090"/>
                  </a:lnTo>
                  <a:lnTo>
                    <a:pt x="8763" y="3132"/>
                  </a:lnTo>
                  <a:lnTo>
                    <a:pt x="8551" y="3090"/>
                  </a:lnTo>
                  <a:lnTo>
                    <a:pt x="8509" y="3090"/>
                  </a:lnTo>
                  <a:lnTo>
                    <a:pt x="8424" y="3132"/>
                  </a:lnTo>
                  <a:lnTo>
                    <a:pt x="8382" y="3090"/>
                  </a:lnTo>
                  <a:lnTo>
                    <a:pt x="8339" y="3090"/>
                  </a:lnTo>
                  <a:lnTo>
                    <a:pt x="8339" y="3048"/>
                  </a:lnTo>
                  <a:lnTo>
                    <a:pt x="8297" y="3005"/>
                  </a:lnTo>
                  <a:lnTo>
                    <a:pt x="8297" y="2921"/>
                  </a:lnTo>
                  <a:lnTo>
                    <a:pt x="8212" y="2921"/>
                  </a:lnTo>
                  <a:lnTo>
                    <a:pt x="8212" y="2878"/>
                  </a:lnTo>
                  <a:lnTo>
                    <a:pt x="8170" y="2878"/>
                  </a:lnTo>
                  <a:lnTo>
                    <a:pt x="8170" y="2794"/>
                  </a:lnTo>
                  <a:lnTo>
                    <a:pt x="8043" y="2709"/>
                  </a:lnTo>
                  <a:lnTo>
                    <a:pt x="8001" y="2624"/>
                  </a:lnTo>
                  <a:lnTo>
                    <a:pt x="8001" y="2582"/>
                  </a:lnTo>
                  <a:lnTo>
                    <a:pt x="8001" y="2540"/>
                  </a:lnTo>
                  <a:lnTo>
                    <a:pt x="7958" y="2540"/>
                  </a:lnTo>
                  <a:lnTo>
                    <a:pt x="7874" y="2540"/>
                  </a:lnTo>
                  <a:lnTo>
                    <a:pt x="7831" y="2540"/>
                  </a:lnTo>
                  <a:lnTo>
                    <a:pt x="7789" y="2540"/>
                  </a:lnTo>
                  <a:lnTo>
                    <a:pt x="7789" y="2497"/>
                  </a:lnTo>
                  <a:lnTo>
                    <a:pt x="7747" y="2540"/>
                  </a:lnTo>
                  <a:lnTo>
                    <a:pt x="7704" y="2540"/>
                  </a:lnTo>
                  <a:lnTo>
                    <a:pt x="7620" y="2540"/>
                  </a:lnTo>
                  <a:lnTo>
                    <a:pt x="7577" y="2582"/>
                  </a:lnTo>
                  <a:lnTo>
                    <a:pt x="7535" y="2582"/>
                  </a:lnTo>
                  <a:lnTo>
                    <a:pt x="7535" y="2667"/>
                  </a:lnTo>
                  <a:lnTo>
                    <a:pt x="7450" y="2667"/>
                  </a:lnTo>
                  <a:lnTo>
                    <a:pt x="7450" y="2709"/>
                  </a:lnTo>
                  <a:lnTo>
                    <a:pt x="7323" y="2709"/>
                  </a:lnTo>
                  <a:lnTo>
                    <a:pt x="7323" y="2667"/>
                  </a:lnTo>
                  <a:lnTo>
                    <a:pt x="7281" y="2667"/>
                  </a:lnTo>
                  <a:lnTo>
                    <a:pt x="7239" y="2667"/>
                  </a:lnTo>
                  <a:lnTo>
                    <a:pt x="7196" y="2667"/>
                  </a:lnTo>
                  <a:lnTo>
                    <a:pt x="7154" y="2709"/>
                  </a:lnTo>
                  <a:lnTo>
                    <a:pt x="7112" y="2667"/>
                  </a:lnTo>
                  <a:lnTo>
                    <a:pt x="7069" y="2667"/>
                  </a:lnTo>
                  <a:lnTo>
                    <a:pt x="6985" y="2667"/>
                  </a:lnTo>
                  <a:lnTo>
                    <a:pt x="6942" y="2667"/>
                  </a:lnTo>
                  <a:lnTo>
                    <a:pt x="6900" y="2667"/>
                  </a:lnTo>
                  <a:lnTo>
                    <a:pt x="6858" y="2667"/>
                  </a:lnTo>
                  <a:lnTo>
                    <a:pt x="6858" y="2709"/>
                  </a:lnTo>
                  <a:lnTo>
                    <a:pt x="6815" y="2667"/>
                  </a:lnTo>
                  <a:lnTo>
                    <a:pt x="6773" y="2667"/>
                  </a:lnTo>
                  <a:lnTo>
                    <a:pt x="6688" y="2667"/>
                  </a:lnTo>
                  <a:lnTo>
                    <a:pt x="6688" y="2624"/>
                  </a:lnTo>
                  <a:lnTo>
                    <a:pt x="6646" y="2624"/>
                  </a:lnTo>
                  <a:lnTo>
                    <a:pt x="6561" y="2667"/>
                  </a:lnTo>
                  <a:lnTo>
                    <a:pt x="6561" y="2709"/>
                  </a:lnTo>
                  <a:lnTo>
                    <a:pt x="6604" y="2751"/>
                  </a:lnTo>
                  <a:lnTo>
                    <a:pt x="6561" y="2794"/>
                  </a:lnTo>
                  <a:lnTo>
                    <a:pt x="6561" y="2751"/>
                  </a:lnTo>
                  <a:lnTo>
                    <a:pt x="6561" y="2709"/>
                  </a:lnTo>
                  <a:lnTo>
                    <a:pt x="6519" y="2709"/>
                  </a:lnTo>
                  <a:lnTo>
                    <a:pt x="6477" y="2709"/>
                  </a:lnTo>
                  <a:lnTo>
                    <a:pt x="6434" y="2624"/>
                  </a:lnTo>
                  <a:lnTo>
                    <a:pt x="6434" y="2582"/>
                  </a:lnTo>
                  <a:lnTo>
                    <a:pt x="6477" y="2540"/>
                  </a:lnTo>
                  <a:lnTo>
                    <a:pt x="6519" y="2540"/>
                  </a:lnTo>
                  <a:lnTo>
                    <a:pt x="6519" y="2497"/>
                  </a:lnTo>
                  <a:lnTo>
                    <a:pt x="6477" y="2497"/>
                  </a:lnTo>
                  <a:lnTo>
                    <a:pt x="6434" y="2497"/>
                  </a:lnTo>
                  <a:lnTo>
                    <a:pt x="6392" y="2497"/>
                  </a:lnTo>
                  <a:lnTo>
                    <a:pt x="6350" y="2455"/>
                  </a:lnTo>
                  <a:lnTo>
                    <a:pt x="6350" y="2413"/>
                  </a:lnTo>
                  <a:lnTo>
                    <a:pt x="6350" y="2370"/>
                  </a:lnTo>
                  <a:lnTo>
                    <a:pt x="6350" y="2328"/>
                  </a:lnTo>
                  <a:lnTo>
                    <a:pt x="6307" y="2286"/>
                  </a:lnTo>
                  <a:lnTo>
                    <a:pt x="6265" y="2243"/>
                  </a:lnTo>
                  <a:lnTo>
                    <a:pt x="6265" y="2116"/>
                  </a:lnTo>
                  <a:lnTo>
                    <a:pt x="6223" y="2116"/>
                  </a:lnTo>
                  <a:lnTo>
                    <a:pt x="6223" y="2074"/>
                  </a:lnTo>
                  <a:lnTo>
                    <a:pt x="6223" y="2032"/>
                  </a:lnTo>
                  <a:lnTo>
                    <a:pt x="6180" y="2032"/>
                  </a:lnTo>
                  <a:lnTo>
                    <a:pt x="6138" y="2032"/>
                  </a:lnTo>
                  <a:lnTo>
                    <a:pt x="6096" y="2032"/>
                  </a:lnTo>
                  <a:lnTo>
                    <a:pt x="6096" y="1905"/>
                  </a:lnTo>
                  <a:lnTo>
                    <a:pt x="6096" y="1862"/>
                  </a:lnTo>
                  <a:lnTo>
                    <a:pt x="6053" y="1862"/>
                  </a:lnTo>
                  <a:lnTo>
                    <a:pt x="6011" y="1862"/>
                  </a:lnTo>
                  <a:lnTo>
                    <a:pt x="6011" y="1820"/>
                  </a:lnTo>
                  <a:lnTo>
                    <a:pt x="6053" y="1820"/>
                  </a:lnTo>
                  <a:lnTo>
                    <a:pt x="6053" y="1735"/>
                  </a:lnTo>
                  <a:lnTo>
                    <a:pt x="6053" y="1651"/>
                  </a:lnTo>
                  <a:lnTo>
                    <a:pt x="6053" y="1566"/>
                  </a:lnTo>
                  <a:lnTo>
                    <a:pt x="6096" y="1566"/>
                  </a:lnTo>
                  <a:lnTo>
                    <a:pt x="6138" y="1524"/>
                  </a:lnTo>
                  <a:lnTo>
                    <a:pt x="6180" y="1524"/>
                  </a:lnTo>
                  <a:lnTo>
                    <a:pt x="6138" y="1481"/>
                  </a:lnTo>
                  <a:lnTo>
                    <a:pt x="6096" y="1481"/>
                  </a:lnTo>
                  <a:lnTo>
                    <a:pt x="6053" y="1439"/>
                  </a:lnTo>
                  <a:lnTo>
                    <a:pt x="6053" y="1397"/>
                  </a:lnTo>
                  <a:lnTo>
                    <a:pt x="6096" y="1397"/>
                  </a:lnTo>
                  <a:lnTo>
                    <a:pt x="6096" y="1354"/>
                  </a:lnTo>
                  <a:lnTo>
                    <a:pt x="6180" y="1354"/>
                  </a:lnTo>
                  <a:lnTo>
                    <a:pt x="6265" y="1312"/>
                  </a:lnTo>
                  <a:lnTo>
                    <a:pt x="6307" y="1312"/>
                  </a:lnTo>
                  <a:lnTo>
                    <a:pt x="6307" y="1270"/>
                  </a:lnTo>
                  <a:lnTo>
                    <a:pt x="6350" y="1270"/>
                  </a:lnTo>
                  <a:lnTo>
                    <a:pt x="6350" y="1185"/>
                  </a:lnTo>
                  <a:lnTo>
                    <a:pt x="6350" y="1143"/>
                  </a:lnTo>
                  <a:lnTo>
                    <a:pt x="6350" y="1100"/>
                  </a:lnTo>
                  <a:lnTo>
                    <a:pt x="6307" y="1100"/>
                  </a:lnTo>
                  <a:lnTo>
                    <a:pt x="6265" y="1058"/>
                  </a:lnTo>
                  <a:lnTo>
                    <a:pt x="6265" y="973"/>
                  </a:lnTo>
                  <a:lnTo>
                    <a:pt x="6265" y="931"/>
                  </a:lnTo>
                  <a:lnTo>
                    <a:pt x="6307" y="889"/>
                  </a:lnTo>
                  <a:lnTo>
                    <a:pt x="6307" y="804"/>
                  </a:lnTo>
                  <a:lnTo>
                    <a:pt x="6265" y="762"/>
                  </a:lnTo>
                  <a:lnTo>
                    <a:pt x="6223" y="719"/>
                  </a:lnTo>
                  <a:lnTo>
                    <a:pt x="6223" y="635"/>
                  </a:lnTo>
                  <a:lnTo>
                    <a:pt x="6180" y="508"/>
                  </a:lnTo>
                  <a:lnTo>
                    <a:pt x="6180" y="465"/>
                  </a:lnTo>
                  <a:lnTo>
                    <a:pt x="6138" y="423"/>
                  </a:lnTo>
                  <a:lnTo>
                    <a:pt x="6011" y="381"/>
                  </a:lnTo>
                  <a:lnTo>
                    <a:pt x="5969" y="338"/>
                  </a:lnTo>
                  <a:lnTo>
                    <a:pt x="5969" y="296"/>
                  </a:lnTo>
                  <a:lnTo>
                    <a:pt x="5969" y="254"/>
                  </a:lnTo>
                  <a:lnTo>
                    <a:pt x="5926" y="211"/>
                  </a:lnTo>
                  <a:lnTo>
                    <a:pt x="5884" y="169"/>
                  </a:lnTo>
                  <a:lnTo>
                    <a:pt x="5842" y="169"/>
                  </a:lnTo>
                  <a:lnTo>
                    <a:pt x="5799" y="127"/>
                  </a:lnTo>
                  <a:lnTo>
                    <a:pt x="5757" y="169"/>
                  </a:lnTo>
                  <a:lnTo>
                    <a:pt x="5715" y="169"/>
                  </a:lnTo>
                  <a:lnTo>
                    <a:pt x="5672" y="169"/>
                  </a:lnTo>
                  <a:lnTo>
                    <a:pt x="5630" y="211"/>
                  </a:lnTo>
                  <a:lnTo>
                    <a:pt x="5545" y="296"/>
                  </a:lnTo>
                  <a:lnTo>
                    <a:pt x="5461" y="381"/>
                  </a:lnTo>
                  <a:lnTo>
                    <a:pt x="5418" y="423"/>
                  </a:lnTo>
                  <a:lnTo>
                    <a:pt x="5376" y="381"/>
                  </a:lnTo>
                  <a:lnTo>
                    <a:pt x="5376" y="338"/>
                  </a:lnTo>
                  <a:lnTo>
                    <a:pt x="5334" y="381"/>
                  </a:lnTo>
                  <a:lnTo>
                    <a:pt x="5291" y="423"/>
                  </a:lnTo>
                  <a:lnTo>
                    <a:pt x="5207" y="465"/>
                  </a:lnTo>
                  <a:lnTo>
                    <a:pt x="5207" y="381"/>
                  </a:lnTo>
                  <a:lnTo>
                    <a:pt x="5122" y="254"/>
                  </a:lnTo>
                  <a:lnTo>
                    <a:pt x="5080" y="169"/>
                  </a:lnTo>
                  <a:lnTo>
                    <a:pt x="4995" y="42"/>
                  </a:lnTo>
                  <a:lnTo>
                    <a:pt x="4953" y="0"/>
                  </a:lnTo>
                  <a:close/>
                  <a:moveTo>
                    <a:pt x="3556" y="1524"/>
                  </a:moveTo>
                  <a:lnTo>
                    <a:pt x="3471" y="1481"/>
                  </a:lnTo>
                  <a:lnTo>
                    <a:pt x="3513" y="1524"/>
                  </a:lnTo>
                  <a:lnTo>
                    <a:pt x="3556" y="1524"/>
                  </a:lnTo>
                  <a:close/>
                </a:path>
              </a:pathLst>
            </a:custGeom>
            <a:noFill/>
            <a:ln w="12700" cap="flat" cmpd="sng">
              <a:solidFill>
                <a:schemeClr val="tx1"/>
              </a:solidFill>
              <a:prstDash val="solid"/>
              <a:bevel/>
              <a:headEnd/>
              <a:tailEnd/>
            </a:ln>
          </p:spPr>
          <p:txBody>
            <a:bodyPr/>
            <a:lstStyle/>
            <a:p>
              <a:endParaRPr lang="nl-NL"/>
            </a:p>
          </p:txBody>
        </p:sp>
        <p:sp>
          <p:nvSpPr>
            <p:cNvPr id="50" name="Freeform 536">
              <a:extLst>
                <a:ext uri="{FF2B5EF4-FFF2-40B4-BE49-F238E27FC236}">
                  <a16:creationId xmlns:a16="http://schemas.microsoft.com/office/drawing/2014/main" id="{82DFDDBC-4EA2-155B-65E1-E3B8EFC8F2B1}"/>
                </a:ext>
              </a:extLst>
            </p:cNvPr>
            <p:cNvSpPr>
              <a:spLocks/>
            </p:cNvSpPr>
            <p:nvPr/>
          </p:nvSpPr>
          <p:spPr bwMode="auto">
            <a:xfrm>
              <a:off x="3464305" y="6443514"/>
              <a:ext cx="1449142" cy="1019668"/>
            </a:xfrm>
            <a:custGeom>
              <a:avLst/>
              <a:gdLst/>
              <a:ahLst/>
              <a:cxnLst>
                <a:cxn ang="0">
                  <a:pos x="1100" y="84"/>
                </a:cxn>
                <a:cxn ang="0">
                  <a:pos x="889" y="211"/>
                </a:cxn>
                <a:cxn ang="0">
                  <a:pos x="719" y="381"/>
                </a:cxn>
                <a:cxn ang="0">
                  <a:pos x="550" y="423"/>
                </a:cxn>
                <a:cxn ang="0">
                  <a:pos x="296" y="592"/>
                </a:cxn>
                <a:cxn ang="0">
                  <a:pos x="84" y="677"/>
                </a:cxn>
                <a:cxn ang="0">
                  <a:pos x="127" y="889"/>
                </a:cxn>
                <a:cxn ang="0">
                  <a:pos x="296" y="1100"/>
                </a:cxn>
                <a:cxn ang="0">
                  <a:pos x="423" y="1481"/>
                </a:cxn>
                <a:cxn ang="0">
                  <a:pos x="127" y="1481"/>
                </a:cxn>
                <a:cxn ang="0">
                  <a:pos x="0" y="1608"/>
                </a:cxn>
                <a:cxn ang="0">
                  <a:pos x="211" y="2032"/>
                </a:cxn>
                <a:cxn ang="0">
                  <a:pos x="423" y="2159"/>
                </a:cxn>
                <a:cxn ang="0">
                  <a:pos x="84" y="2455"/>
                </a:cxn>
                <a:cxn ang="0">
                  <a:pos x="211" y="2582"/>
                </a:cxn>
                <a:cxn ang="0">
                  <a:pos x="169" y="2751"/>
                </a:cxn>
                <a:cxn ang="0">
                  <a:pos x="423" y="3090"/>
                </a:cxn>
                <a:cxn ang="0">
                  <a:pos x="592" y="3302"/>
                </a:cxn>
                <a:cxn ang="0">
                  <a:pos x="804" y="3132"/>
                </a:cxn>
                <a:cxn ang="0">
                  <a:pos x="1058" y="3090"/>
                </a:cxn>
                <a:cxn ang="0">
                  <a:pos x="1312" y="3048"/>
                </a:cxn>
                <a:cxn ang="0">
                  <a:pos x="1566" y="2794"/>
                </a:cxn>
                <a:cxn ang="0">
                  <a:pos x="1862" y="2751"/>
                </a:cxn>
                <a:cxn ang="0">
                  <a:pos x="2032" y="3005"/>
                </a:cxn>
                <a:cxn ang="0">
                  <a:pos x="2370" y="3132"/>
                </a:cxn>
                <a:cxn ang="0">
                  <a:pos x="2624" y="3005"/>
                </a:cxn>
                <a:cxn ang="0">
                  <a:pos x="3005" y="3175"/>
                </a:cxn>
                <a:cxn ang="0">
                  <a:pos x="3217" y="3005"/>
                </a:cxn>
                <a:cxn ang="0">
                  <a:pos x="3556" y="2963"/>
                </a:cxn>
                <a:cxn ang="0">
                  <a:pos x="3894" y="2921"/>
                </a:cxn>
                <a:cxn ang="0">
                  <a:pos x="4191" y="3048"/>
                </a:cxn>
                <a:cxn ang="0">
                  <a:pos x="4656" y="3217"/>
                </a:cxn>
                <a:cxn ang="0">
                  <a:pos x="4656" y="2963"/>
                </a:cxn>
                <a:cxn ang="0">
                  <a:pos x="4487" y="2709"/>
                </a:cxn>
                <a:cxn ang="0">
                  <a:pos x="4402" y="2370"/>
                </a:cxn>
                <a:cxn ang="0">
                  <a:pos x="4318" y="1989"/>
                </a:cxn>
                <a:cxn ang="0">
                  <a:pos x="4106" y="1820"/>
                </a:cxn>
                <a:cxn ang="0">
                  <a:pos x="3979" y="1693"/>
                </a:cxn>
                <a:cxn ang="0">
                  <a:pos x="4064" y="1566"/>
                </a:cxn>
                <a:cxn ang="0">
                  <a:pos x="3894" y="1397"/>
                </a:cxn>
                <a:cxn ang="0">
                  <a:pos x="3683" y="1227"/>
                </a:cxn>
                <a:cxn ang="0">
                  <a:pos x="3640" y="889"/>
                </a:cxn>
                <a:cxn ang="0">
                  <a:pos x="3386" y="465"/>
                </a:cxn>
                <a:cxn ang="0">
                  <a:pos x="3175" y="296"/>
                </a:cxn>
                <a:cxn ang="0">
                  <a:pos x="2751" y="211"/>
                </a:cxn>
                <a:cxn ang="0">
                  <a:pos x="2455" y="719"/>
                </a:cxn>
                <a:cxn ang="0">
                  <a:pos x="2201" y="1143"/>
                </a:cxn>
                <a:cxn ang="0">
                  <a:pos x="1439" y="1227"/>
                </a:cxn>
                <a:cxn ang="0">
                  <a:pos x="1312" y="889"/>
                </a:cxn>
                <a:cxn ang="0">
                  <a:pos x="1439" y="635"/>
                </a:cxn>
                <a:cxn ang="0">
                  <a:pos x="1397" y="465"/>
                </a:cxn>
                <a:cxn ang="0">
                  <a:pos x="1397" y="211"/>
                </a:cxn>
                <a:cxn ang="0">
                  <a:pos x="1524" y="127"/>
                </a:cxn>
                <a:cxn ang="0">
                  <a:pos x="1312" y="0"/>
                </a:cxn>
              </a:cxnLst>
              <a:rect l="0" t="0" r="r" b="b"/>
              <a:pathLst>
                <a:path w="4699" h="3302">
                  <a:moveTo>
                    <a:pt x="1227" y="0"/>
                  </a:moveTo>
                  <a:lnTo>
                    <a:pt x="1227" y="42"/>
                  </a:lnTo>
                  <a:lnTo>
                    <a:pt x="1185" y="42"/>
                  </a:lnTo>
                  <a:lnTo>
                    <a:pt x="1185" y="84"/>
                  </a:lnTo>
                  <a:lnTo>
                    <a:pt x="1185" y="127"/>
                  </a:lnTo>
                  <a:lnTo>
                    <a:pt x="1100" y="84"/>
                  </a:lnTo>
                  <a:lnTo>
                    <a:pt x="1100" y="127"/>
                  </a:lnTo>
                  <a:lnTo>
                    <a:pt x="1016" y="169"/>
                  </a:lnTo>
                  <a:lnTo>
                    <a:pt x="1016" y="211"/>
                  </a:lnTo>
                  <a:lnTo>
                    <a:pt x="973" y="211"/>
                  </a:lnTo>
                  <a:lnTo>
                    <a:pt x="931" y="211"/>
                  </a:lnTo>
                  <a:lnTo>
                    <a:pt x="889" y="211"/>
                  </a:lnTo>
                  <a:lnTo>
                    <a:pt x="804" y="169"/>
                  </a:lnTo>
                  <a:lnTo>
                    <a:pt x="762" y="211"/>
                  </a:lnTo>
                  <a:lnTo>
                    <a:pt x="762" y="254"/>
                  </a:lnTo>
                  <a:lnTo>
                    <a:pt x="804" y="296"/>
                  </a:lnTo>
                  <a:lnTo>
                    <a:pt x="762" y="338"/>
                  </a:lnTo>
                  <a:lnTo>
                    <a:pt x="719" y="381"/>
                  </a:lnTo>
                  <a:lnTo>
                    <a:pt x="719" y="423"/>
                  </a:lnTo>
                  <a:lnTo>
                    <a:pt x="677" y="423"/>
                  </a:lnTo>
                  <a:lnTo>
                    <a:pt x="635" y="423"/>
                  </a:lnTo>
                  <a:lnTo>
                    <a:pt x="635" y="465"/>
                  </a:lnTo>
                  <a:lnTo>
                    <a:pt x="592" y="423"/>
                  </a:lnTo>
                  <a:lnTo>
                    <a:pt x="550" y="423"/>
                  </a:lnTo>
                  <a:lnTo>
                    <a:pt x="508" y="423"/>
                  </a:lnTo>
                  <a:lnTo>
                    <a:pt x="465" y="465"/>
                  </a:lnTo>
                  <a:lnTo>
                    <a:pt x="381" y="508"/>
                  </a:lnTo>
                  <a:lnTo>
                    <a:pt x="381" y="550"/>
                  </a:lnTo>
                  <a:lnTo>
                    <a:pt x="338" y="550"/>
                  </a:lnTo>
                  <a:lnTo>
                    <a:pt x="296" y="592"/>
                  </a:lnTo>
                  <a:lnTo>
                    <a:pt x="254" y="592"/>
                  </a:lnTo>
                  <a:lnTo>
                    <a:pt x="254" y="635"/>
                  </a:lnTo>
                  <a:lnTo>
                    <a:pt x="211" y="635"/>
                  </a:lnTo>
                  <a:lnTo>
                    <a:pt x="169" y="677"/>
                  </a:lnTo>
                  <a:lnTo>
                    <a:pt x="127" y="677"/>
                  </a:lnTo>
                  <a:lnTo>
                    <a:pt x="84" y="677"/>
                  </a:lnTo>
                  <a:lnTo>
                    <a:pt x="42" y="677"/>
                  </a:lnTo>
                  <a:lnTo>
                    <a:pt x="42" y="719"/>
                  </a:lnTo>
                  <a:lnTo>
                    <a:pt x="84" y="762"/>
                  </a:lnTo>
                  <a:lnTo>
                    <a:pt x="84" y="846"/>
                  </a:lnTo>
                  <a:lnTo>
                    <a:pt x="84" y="889"/>
                  </a:lnTo>
                  <a:lnTo>
                    <a:pt x="127" y="889"/>
                  </a:lnTo>
                  <a:lnTo>
                    <a:pt x="127" y="931"/>
                  </a:lnTo>
                  <a:lnTo>
                    <a:pt x="169" y="973"/>
                  </a:lnTo>
                  <a:lnTo>
                    <a:pt x="211" y="973"/>
                  </a:lnTo>
                  <a:lnTo>
                    <a:pt x="211" y="1016"/>
                  </a:lnTo>
                  <a:lnTo>
                    <a:pt x="254" y="1058"/>
                  </a:lnTo>
                  <a:lnTo>
                    <a:pt x="296" y="1100"/>
                  </a:lnTo>
                  <a:lnTo>
                    <a:pt x="381" y="1100"/>
                  </a:lnTo>
                  <a:lnTo>
                    <a:pt x="423" y="1143"/>
                  </a:lnTo>
                  <a:lnTo>
                    <a:pt x="592" y="1270"/>
                  </a:lnTo>
                  <a:lnTo>
                    <a:pt x="465" y="1312"/>
                  </a:lnTo>
                  <a:lnTo>
                    <a:pt x="465" y="1481"/>
                  </a:lnTo>
                  <a:lnTo>
                    <a:pt x="423" y="1481"/>
                  </a:lnTo>
                  <a:lnTo>
                    <a:pt x="381" y="1481"/>
                  </a:lnTo>
                  <a:lnTo>
                    <a:pt x="296" y="1481"/>
                  </a:lnTo>
                  <a:lnTo>
                    <a:pt x="254" y="1481"/>
                  </a:lnTo>
                  <a:lnTo>
                    <a:pt x="254" y="1439"/>
                  </a:lnTo>
                  <a:lnTo>
                    <a:pt x="169" y="1439"/>
                  </a:lnTo>
                  <a:lnTo>
                    <a:pt x="127" y="1481"/>
                  </a:lnTo>
                  <a:lnTo>
                    <a:pt x="84" y="1524"/>
                  </a:lnTo>
                  <a:lnTo>
                    <a:pt x="127" y="1524"/>
                  </a:lnTo>
                  <a:lnTo>
                    <a:pt x="84" y="1566"/>
                  </a:lnTo>
                  <a:lnTo>
                    <a:pt x="84" y="1608"/>
                  </a:lnTo>
                  <a:lnTo>
                    <a:pt x="42" y="1608"/>
                  </a:lnTo>
                  <a:lnTo>
                    <a:pt x="0" y="1608"/>
                  </a:lnTo>
                  <a:lnTo>
                    <a:pt x="0" y="1651"/>
                  </a:lnTo>
                  <a:lnTo>
                    <a:pt x="169" y="1735"/>
                  </a:lnTo>
                  <a:lnTo>
                    <a:pt x="211" y="1778"/>
                  </a:lnTo>
                  <a:lnTo>
                    <a:pt x="169" y="1778"/>
                  </a:lnTo>
                  <a:lnTo>
                    <a:pt x="169" y="1905"/>
                  </a:lnTo>
                  <a:lnTo>
                    <a:pt x="211" y="2032"/>
                  </a:lnTo>
                  <a:lnTo>
                    <a:pt x="211" y="2074"/>
                  </a:lnTo>
                  <a:lnTo>
                    <a:pt x="254" y="2074"/>
                  </a:lnTo>
                  <a:lnTo>
                    <a:pt x="211" y="2116"/>
                  </a:lnTo>
                  <a:lnTo>
                    <a:pt x="296" y="2116"/>
                  </a:lnTo>
                  <a:lnTo>
                    <a:pt x="465" y="2116"/>
                  </a:lnTo>
                  <a:lnTo>
                    <a:pt x="423" y="2159"/>
                  </a:lnTo>
                  <a:lnTo>
                    <a:pt x="381" y="2201"/>
                  </a:lnTo>
                  <a:lnTo>
                    <a:pt x="338" y="2201"/>
                  </a:lnTo>
                  <a:lnTo>
                    <a:pt x="211" y="2286"/>
                  </a:lnTo>
                  <a:lnTo>
                    <a:pt x="169" y="2413"/>
                  </a:lnTo>
                  <a:lnTo>
                    <a:pt x="127" y="2455"/>
                  </a:lnTo>
                  <a:lnTo>
                    <a:pt x="84" y="2455"/>
                  </a:lnTo>
                  <a:lnTo>
                    <a:pt x="84" y="2497"/>
                  </a:lnTo>
                  <a:lnTo>
                    <a:pt x="42" y="2540"/>
                  </a:lnTo>
                  <a:lnTo>
                    <a:pt x="84" y="2624"/>
                  </a:lnTo>
                  <a:lnTo>
                    <a:pt x="127" y="2624"/>
                  </a:lnTo>
                  <a:lnTo>
                    <a:pt x="169" y="2582"/>
                  </a:lnTo>
                  <a:lnTo>
                    <a:pt x="211" y="2582"/>
                  </a:lnTo>
                  <a:lnTo>
                    <a:pt x="254" y="2582"/>
                  </a:lnTo>
                  <a:lnTo>
                    <a:pt x="296" y="2582"/>
                  </a:lnTo>
                  <a:lnTo>
                    <a:pt x="338" y="2582"/>
                  </a:lnTo>
                  <a:lnTo>
                    <a:pt x="381" y="2709"/>
                  </a:lnTo>
                  <a:lnTo>
                    <a:pt x="338" y="2709"/>
                  </a:lnTo>
                  <a:lnTo>
                    <a:pt x="169" y="2751"/>
                  </a:lnTo>
                  <a:lnTo>
                    <a:pt x="211" y="2794"/>
                  </a:lnTo>
                  <a:lnTo>
                    <a:pt x="254" y="2878"/>
                  </a:lnTo>
                  <a:lnTo>
                    <a:pt x="296" y="2963"/>
                  </a:lnTo>
                  <a:lnTo>
                    <a:pt x="338" y="3005"/>
                  </a:lnTo>
                  <a:lnTo>
                    <a:pt x="381" y="3048"/>
                  </a:lnTo>
                  <a:lnTo>
                    <a:pt x="423" y="3090"/>
                  </a:lnTo>
                  <a:lnTo>
                    <a:pt x="423" y="3132"/>
                  </a:lnTo>
                  <a:lnTo>
                    <a:pt x="465" y="3175"/>
                  </a:lnTo>
                  <a:lnTo>
                    <a:pt x="465" y="3259"/>
                  </a:lnTo>
                  <a:lnTo>
                    <a:pt x="465" y="3302"/>
                  </a:lnTo>
                  <a:lnTo>
                    <a:pt x="508" y="3302"/>
                  </a:lnTo>
                  <a:lnTo>
                    <a:pt x="592" y="3302"/>
                  </a:lnTo>
                  <a:lnTo>
                    <a:pt x="635" y="3302"/>
                  </a:lnTo>
                  <a:lnTo>
                    <a:pt x="677" y="3259"/>
                  </a:lnTo>
                  <a:lnTo>
                    <a:pt x="719" y="3259"/>
                  </a:lnTo>
                  <a:lnTo>
                    <a:pt x="719" y="3217"/>
                  </a:lnTo>
                  <a:lnTo>
                    <a:pt x="762" y="3217"/>
                  </a:lnTo>
                  <a:lnTo>
                    <a:pt x="804" y="3132"/>
                  </a:lnTo>
                  <a:lnTo>
                    <a:pt x="846" y="3090"/>
                  </a:lnTo>
                  <a:lnTo>
                    <a:pt x="889" y="3090"/>
                  </a:lnTo>
                  <a:lnTo>
                    <a:pt x="931" y="3090"/>
                  </a:lnTo>
                  <a:lnTo>
                    <a:pt x="973" y="3132"/>
                  </a:lnTo>
                  <a:lnTo>
                    <a:pt x="1016" y="3132"/>
                  </a:lnTo>
                  <a:lnTo>
                    <a:pt x="1058" y="3090"/>
                  </a:lnTo>
                  <a:lnTo>
                    <a:pt x="1058" y="3048"/>
                  </a:lnTo>
                  <a:lnTo>
                    <a:pt x="1100" y="3005"/>
                  </a:lnTo>
                  <a:lnTo>
                    <a:pt x="1143" y="2963"/>
                  </a:lnTo>
                  <a:lnTo>
                    <a:pt x="1185" y="2963"/>
                  </a:lnTo>
                  <a:lnTo>
                    <a:pt x="1227" y="2963"/>
                  </a:lnTo>
                  <a:lnTo>
                    <a:pt x="1312" y="3048"/>
                  </a:lnTo>
                  <a:lnTo>
                    <a:pt x="1354" y="3048"/>
                  </a:lnTo>
                  <a:lnTo>
                    <a:pt x="1397" y="3005"/>
                  </a:lnTo>
                  <a:lnTo>
                    <a:pt x="1397" y="2963"/>
                  </a:lnTo>
                  <a:lnTo>
                    <a:pt x="1439" y="2921"/>
                  </a:lnTo>
                  <a:lnTo>
                    <a:pt x="1524" y="2836"/>
                  </a:lnTo>
                  <a:lnTo>
                    <a:pt x="1566" y="2794"/>
                  </a:lnTo>
                  <a:lnTo>
                    <a:pt x="1608" y="2794"/>
                  </a:lnTo>
                  <a:lnTo>
                    <a:pt x="1693" y="2751"/>
                  </a:lnTo>
                  <a:lnTo>
                    <a:pt x="1735" y="2751"/>
                  </a:lnTo>
                  <a:lnTo>
                    <a:pt x="1778" y="2709"/>
                  </a:lnTo>
                  <a:lnTo>
                    <a:pt x="1820" y="2751"/>
                  </a:lnTo>
                  <a:lnTo>
                    <a:pt x="1862" y="2751"/>
                  </a:lnTo>
                  <a:lnTo>
                    <a:pt x="1947" y="2794"/>
                  </a:lnTo>
                  <a:lnTo>
                    <a:pt x="1989" y="2836"/>
                  </a:lnTo>
                  <a:lnTo>
                    <a:pt x="1989" y="2878"/>
                  </a:lnTo>
                  <a:lnTo>
                    <a:pt x="1989" y="2921"/>
                  </a:lnTo>
                  <a:lnTo>
                    <a:pt x="2032" y="2963"/>
                  </a:lnTo>
                  <a:lnTo>
                    <a:pt x="2032" y="3005"/>
                  </a:lnTo>
                  <a:lnTo>
                    <a:pt x="2159" y="3048"/>
                  </a:lnTo>
                  <a:lnTo>
                    <a:pt x="2201" y="3048"/>
                  </a:lnTo>
                  <a:lnTo>
                    <a:pt x="2243" y="3090"/>
                  </a:lnTo>
                  <a:lnTo>
                    <a:pt x="2286" y="3132"/>
                  </a:lnTo>
                  <a:lnTo>
                    <a:pt x="2328" y="3132"/>
                  </a:lnTo>
                  <a:lnTo>
                    <a:pt x="2370" y="3132"/>
                  </a:lnTo>
                  <a:lnTo>
                    <a:pt x="2413" y="3090"/>
                  </a:lnTo>
                  <a:lnTo>
                    <a:pt x="2455" y="3048"/>
                  </a:lnTo>
                  <a:lnTo>
                    <a:pt x="2455" y="2963"/>
                  </a:lnTo>
                  <a:lnTo>
                    <a:pt x="2497" y="2963"/>
                  </a:lnTo>
                  <a:lnTo>
                    <a:pt x="2540" y="2963"/>
                  </a:lnTo>
                  <a:lnTo>
                    <a:pt x="2624" y="3005"/>
                  </a:lnTo>
                  <a:lnTo>
                    <a:pt x="2709" y="3090"/>
                  </a:lnTo>
                  <a:lnTo>
                    <a:pt x="2751" y="3090"/>
                  </a:lnTo>
                  <a:lnTo>
                    <a:pt x="2878" y="3090"/>
                  </a:lnTo>
                  <a:lnTo>
                    <a:pt x="2921" y="3132"/>
                  </a:lnTo>
                  <a:lnTo>
                    <a:pt x="2963" y="3175"/>
                  </a:lnTo>
                  <a:lnTo>
                    <a:pt x="3005" y="3175"/>
                  </a:lnTo>
                  <a:lnTo>
                    <a:pt x="3048" y="3132"/>
                  </a:lnTo>
                  <a:lnTo>
                    <a:pt x="3090" y="3132"/>
                  </a:lnTo>
                  <a:lnTo>
                    <a:pt x="3090" y="3090"/>
                  </a:lnTo>
                  <a:lnTo>
                    <a:pt x="3132" y="3048"/>
                  </a:lnTo>
                  <a:lnTo>
                    <a:pt x="3175" y="3048"/>
                  </a:lnTo>
                  <a:lnTo>
                    <a:pt x="3217" y="3005"/>
                  </a:lnTo>
                  <a:lnTo>
                    <a:pt x="3302" y="3048"/>
                  </a:lnTo>
                  <a:lnTo>
                    <a:pt x="3344" y="3048"/>
                  </a:lnTo>
                  <a:lnTo>
                    <a:pt x="3386" y="3005"/>
                  </a:lnTo>
                  <a:lnTo>
                    <a:pt x="3429" y="3005"/>
                  </a:lnTo>
                  <a:lnTo>
                    <a:pt x="3513" y="2963"/>
                  </a:lnTo>
                  <a:lnTo>
                    <a:pt x="3556" y="2963"/>
                  </a:lnTo>
                  <a:lnTo>
                    <a:pt x="3598" y="2921"/>
                  </a:lnTo>
                  <a:lnTo>
                    <a:pt x="3640" y="2878"/>
                  </a:lnTo>
                  <a:lnTo>
                    <a:pt x="3683" y="2878"/>
                  </a:lnTo>
                  <a:lnTo>
                    <a:pt x="3725" y="2921"/>
                  </a:lnTo>
                  <a:lnTo>
                    <a:pt x="3852" y="2921"/>
                  </a:lnTo>
                  <a:lnTo>
                    <a:pt x="3894" y="2921"/>
                  </a:lnTo>
                  <a:lnTo>
                    <a:pt x="3937" y="2921"/>
                  </a:lnTo>
                  <a:lnTo>
                    <a:pt x="3979" y="2963"/>
                  </a:lnTo>
                  <a:lnTo>
                    <a:pt x="4064" y="3005"/>
                  </a:lnTo>
                  <a:lnTo>
                    <a:pt x="4106" y="3005"/>
                  </a:lnTo>
                  <a:lnTo>
                    <a:pt x="4148" y="3048"/>
                  </a:lnTo>
                  <a:lnTo>
                    <a:pt x="4191" y="3048"/>
                  </a:lnTo>
                  <a:lnTo>
                    <a:pt x="4233" y="3048"/>
                  </a:lnTo>
                  <a:lnTo>
                    <a:pt x="4275" y="3132"/>
                  </a:lnTo>
                  <a:lnTo>
                    <a:pt x="4360" y="3175"/>
                  </a:lnTo>
                  <a:lnTo>
                    <a:pt x="4487" y="3217"/>
                  </a:lnTo>
                  <a:lnTo>
                    <a:pt x="4572" y="3259"/>
                  </a:lnTo>
                  <a:lnTo>
                    <a:pt x="4656" y="3217"/>
                  </a:lnTo>
                  <a:lnTo>
                    <a:pt x="4699" y="3175"/>
                  </a:lnTo>
                  <a:lnTo>
                    <a:pt x="4699" y="3132"/>
                  </a:lnTo>
                  <a:lnTo>
                    <a:pt x="4699" y="3090"/>
                  </a:lnTo>
                  <a:lnTo>
                    <a:pt x="4656" y="3048"/>
                  </a:lnTo>
                  <a:lnTo>
                    <a:pt x="4699" y="3005"/>
                  </a:lnTo>
                  <a:lnTo>
                    <a:pt x="4656" y="2963"/>
                  </a:lnTo>
                  <a:lnTo>
                    <a:pt x="4656" y="2921"/>
                  </a:lnTo>
                  <a:lnTo>
                    <a:pt x="4614" y="2836"/>
                  </a:lnTo>
                  <a:lnTo>
                    <a:pt x="4614" y="2794"/>
                  </a:lnTo>
                  <a:lnTo>
                    <a:pt x="4572" y="2794"/>
                  </a:lnTo>
                  <a:lnTo>
                    <a:pt x="4529" y="2751"/>
                  </a:lnTo>
                  <a:lnTo>
                    <a:pt x="4487" y="2709"/>
                  </a:lnTo>
                  <a:lnTo>
                    <a:pt x="4487" y="2667"/>
                  </a:lnTo>
                  <a:lnTo>
                    <a:pt x="4487" y="2624"/>
                  </a:lnTo>
                  <a:lnTo>
                    <a:pt x="4487" y="2582"/>
                  </a:lnTo>
                  <a:lnTo>
                    <a:pt x="4487" y="2455"/>
                  </a:lnTo>
                  <a:lnTo>
                    <a:pt x="4360" y="2370"/>
                  </a:lnTo>
                  <a:lnTo>
                    <a:pt x="4402" y="2370"/>
                  </a:lnTo>
                  <a:lnTo>
                    <a:pt x="4402" y="2328"/>
                  </a:lnTo>
                  <a:lnTo>
                    <a:pt x="4318" y="2328"/>
                  </a:lnTo>
                  <a:lnTo>
                    <a:pt x="4318" y="2116"/>
                  </a:lnTo>
                  <a:lnTo>
                    <a:pt x="4318" y="2074"/>
                  </a:lnTo>
                  <a:lnTo>
                    <a:pt x="4360" y="2032"/>
                  </a:lnTo>
                  <a:lnTo>
                    <a:pt x="4318" y="1989"/>
                  </a:lnTo>
                  <a:lnTo>
                    <a:pt x="4318" y="1947"/>
                  </a:lnTo>
                  <a:lnTo>
                    <a:pt x="4318" y="1905"/>
                  </a:lnTo>
                  <a:lnTo>
                    <a:pt x="4318" y="1862"/>
                  </a:lnTo>
                  <a:lnTo>
                    <a:pt x="4275" y="1778"/>
                  </a:lnTo>
                  <a:lnTo>
                    <a:pt x="4148" y="1820"/>
                  </a:lnTo>
                  <a:lnTo>
                    <a:pt x="4106" y="1820"/>
                  </a:lnTo>
                  <a:lnTo>
                    <a:pt x="4064" y="1820"/>
                  </a:lnTo>
                  <a:lnTo>
                    <a:pt x="4064" y="1778"/>
                  </a:lnTo>
                  <a:lnTo>
                    <a:pt x="3979" y="1735"/>
                  </a:lnTo>
                  <a:lnTo>
                    <a:pt x="3937" y="1735"/>
                  </a:lnTo>
                  <a:lnTo>
                    <a:pt x="3937" y="1693"/>
                  </a:lnTo>
                  <a:lnTo>
                    <a:pt x="3979" y="1693"/>
                  </a:lnTo>
                  <a:lnTo>
                    <a:pt x="4021" y="1693"/>
                  </a:lnTo>
                  <a:lnTo>
                    <a:pt x="4021" y="1651"/>
                  </a:lnTo>
                  <a:lnTo>
                    <a:pt x="3979" y="1651"/>
                  </a:lnTo>
                  <a:lnTo>
                    <a:pt x="3979" y="1608"/>
                  </a:lnTo>
                  <a:lnTo>
                    <a:pt x="3979" y="1566"/>
                  </a:lnTo>
                  <a:lnTo>
                    <a:pt x="4064" y="1566"/>
                  </a:lnTo>
                  <a:lnTo>
                    <a:pt x="4064" y="1524"/>
                  </a:lnTo>
                  <a:lnTo>
                    <a:pt x="4064" y="1481"/>
                  </a:lnTo>
                  <a:lnTo>
                    <a:pt x="3979" y="1481"/>
                  </a:lnTo>
                  <a:lnTo>
                    <a:pt x="3979" y="1397"/>
                  </a:lnTo>
                  <a:lnTo>
                    <a:pt x="3937" y="1397"/>
                  </a:lnTo>
                  <a:lnTo>
                    <a:pt x="3894" y="1397"/>
                  </a:lnTo>
                  <a:lnTo>
                    <a:pt x="3894" y="1354"/>
                  </a:lnTo>
                  <a:lnTo>
                    <a:pt x="3894" y="1312"/>
                  </a:lnTo>
                  <a:lnTo>
                    <a:pt x="3852" y="1270"/>
                  </a:lnTo>
                  <a:lnTo>
                    <a:pt x="3894" y="1270"/>
                  </a:lnTo>
                  <a:lnTo>
                    <a:pt x="3894" y="1227"/>
                  </a:lnTo>
                  <a:lnTo>
                    <a:pt x="3683" y="1227"/>
                  </a:lnTo>
                  <a:lnTo>
                    <a:pt x="3640" y="1185"/>
                  </a:lnTo>
                  <a:lnTo>
                    <a:pt x="3640" y="1058"/>
                  </a:lnTo>
                  <a:lnTo>
                    <a:pt x="3640" y="1016"/>
                  </a:lnTo>
                  <a:lnTo>
                    <a:pt x="3640" y="973"/>
                  </a:lnTo>
                  <a:lnTo>
                    <a:pt x="3640" y="931"/>
                  </a:lnTo>
                  <a:lnTo>
                    <a:pt x="3640" y="889"/>
                  </a:lnTo>
                  <a:lnTo>
                    <a:pt x="3471" y="762"/>
                  </a:lnTo>
                  <a:lnTo>
                    <a:pt x="3471" y="804"/>
                  </a:lnTo>
                  <a:lnTo>
                    <a:pt x="3386" y="762"/>
                  </a:lnTo>
                  <a:lnTo>
                    <a:pt x="3386" y="719"/>
                  </a:lnTo>
                  <a:lnTo>
                    <a:pt x="3429" y="508"/>
                  </a:lnTo>
                  <a:lnTo>
                    <a:pt x="3386" y="465"/>
                  </a:lnTo>
                  <a:lnTo>
                    <a:pt x="3344" y="423"/>
                  </a:lnTo>
                  <a:lnTo>
                    <a:pt x="3302" y="381"/>
                  </a:lnTo>
                  <a:lnTo>
                    <a:pt x="3259" y="381"/>
                  </a:lnTo>
                  <a:lnTo>
                    <a:pt x="3259" y="338"/>
                  </a:lnTo>
                  <a:lnTo>
                    <a:pt x="3217" y="296"/>
                  </a:lnTo>
                  <a:lnTo>
                    <a:pt x="3175" y="296"/>
                  </a:lnTo>
                  <a:lnTo>
                    <a:pt x="3132" y="296"/>
                  </a:lnTo>
                  <a:lnTo>
                    <a:pt x="3090" y="296"/>
                  </a:lnTo>
                  <a:lnTo>
                    <a:pt x="3048" y="254"/>
                  </a:lnTo>
                  <a:lnTo>
                    <a:pt x="2963" y="254"/>
                  </a:lnTo>
                  <a:lnTo>
                    <a:pt x="2921" y="211"/>
                  </a:lnTo>
                  <a:lnTo>
                    <a:pt x="2751" y="211"/>
                  </a:lnTo>
                  <a:lnTo>
                    <a:pt x="2667" y="169"/>
                  </a:lnTo>
                  <a:lnTo>
                    <a:pt x="2540" y="423"/>
                  </a:lnTo>
                  <a:lnTo>
                    <a:pt x="2540" y="465"/>
                  </a:lnTo>
                  <a:lnTo>
                    <a:pt x="2540" y="508"/>
                  </a:lnTo>
                  <a:lnTo>
                    <a:pt x="2497" y="592"/>
                  </a:lnTo>
                  <a:lnTo>
                    <a:pt x="2455" y="719"/>
                  </a:lnTo>
                  <a:lnTo>
                    <a:pt x="2413" y="804"/>
                  </a:lnTo>
                  <a:lnTo>
                    <a:pt x="2413" y="889"/>
                  </a:lnTo>
                  <a:lnTo>
                    <a:pt x="2370" y="931"/>
                  </a:lnTo>
                  <a:lnTo>
                    <a:pt x="2370" y="973"/>
                  </a:lnTo>
                  <a:lnTo>
                    <a:pt x="2286" y="1143"/>
                  </a:lnTo>
                  <a:lnTo>
                    <a:pt x="2201" y="1143"/>
                  </a:lnTo>
                  <a:lnTo>
                    <a:pt x="2159" y="1143"/>
                  </a:lnTo>
                  <a:lnTo>
                    <a:pt x="2116" y="1143"/>
                  </a:lnTo>
                  <a:lnTo>
                    <a:pt x="1862" y="1100"/>
                  </a:lnTo>
                  <a:lnTo>
                    <a:pt x="1820" y="1100"/>
                  </a:lnTo>
                  <a:lnTo>
                    <a:pt x="1608" y="1185"/>
                  </a:lnTo>
                  <a:lnTo>
                    <a:pt x="1439" y="1227"/>
                  </a:lnTo>
                  <a:lnTo>
                    <a:pt x="1439" y="1058"/>
                  </a:lnTo>
                  <a:lnTo>
                    <a:pt x="1397" y="1058"/>
                  </a:lnTo>
                  <a:lnTo>
                    <a:pt x="1397" y="973"/>
                  </a:lnTo>
                  <a:lnTo>
                    <a:pt x="1397" y="931"/>
                  </a:lnTo>
                  <a:lnTo>
                    <a:pt x="1354" y="931"/>
                  </a:lnTo>
                  <a:lnTo>
                    <a:pt x="1312" y="889"/>
                  </a:lnTo>
                  <a:lnTo>
                    <a:pt x="1397" y="889"/>
                  </a:lnTo>
                  <a:lnTo>
                    <a:pt x="1397" y="846"/>
                  </a:lnTo>
                  <a:lnTo>
                    <a:pt x="1397" y="804"/>
                  </a:lnTo>
                  <a:lnTo>
                    <a:pt x="1397" y="719"/>
                  </a:lnTo>
                  <a:lnTo>
                    <a:pt x="1397" y="635"/>
                  </a:lnTo>
                  <a:lnTo>
                    <a:pt x="1439" y="635"/>
                  </a:lnTo>
                  <a:lnTo>
                    <a:pt x="1524" y="592"/>
                  </a:lnTo>
                  <a:lnTo>
                    <a:pt x="1439" y="550"/>
                  </a:lnTo>
                  <a:lnTo>
                    <a:pt x="1439" y="465"/>
                  </a:lnTo>
                  <a:lnTo>
                    <a:pt x="1439" y="423"/>
                  </a:lnTo>
                  <a:lnTo>
                    <a:pt x="1397" y="423"/>
                  </a:lnTo>
                  <a:lnTo>
                    <a:pt x="1397" y="465"/>
                  </a:lnTo>
                  <a:lnTo>
                    <a:pt x="1354" y="423"/>
                  </a:lnTo>
                  <a:lnTo>
                    <a:pt x="1312" y="296"/>
                  </a:lnTo>
                  <a:lnTo>
                    <a:pt x="1312" y="254"/>
                  </a:lnTo>
                  <a:lnTo>
                    <a:pt x="1354" y="254"/>
                  </a:lnTo>
                  <a:lnTo>
                    <a:pt x="1397" y="254"/>
                  </a:lnTo>
                  <a:lnTo>
                    <a:pt x="1397" y="211"/>
                  </a:lnTo>
                  <a:lnTo>
                    <a:pt x="1439" y="211"/>
                  </a:lnTo>
                  <a:lnTo>
                    <a:pt x="1481" y="211"/>
                  </a:lnTo>
                  <a:lnTo>
                    <a:pt x="1481" y="169"/>
                  </a:lnTo>
                  <a:lnTo>
                    <a:pt x="1524" y="169"/>
                  </a:lnTo>
                  <a:lnTo>
                    <a:pt x="1566" y="169"/>
                  </a:lnTo>
                  <a:lnTo>
                    <a:pt x="1524" y="127"/>
                  </a:lnTo>
                  <a:lnTo>
                    <a:pt x="1481" y="127"/>
                  </a:lnTo>
                  <a:lnTo>
                    <a:pt x="1439" y="169"/>
                  </a:lnTo>
                  <a:lnTo>
                    <a:pt x="1397" y="169"/>
                  </a:lnTo>
                  <a:lnTo>
                    <a:pt x="1354" y="127"/>
                  </a:lnTo>
                  <a:lnTo>
                    <a:pt x="1312" y="169"/>
                  </a:lnTo>
                  <a:lnTo>
                    <a:pt x="1312" y="0"/>
                  </a:lnTo>
                  <a:lnTo>
                    <a:pt x="1270" y="0"/>
                  </a:lnTo>
                  <a:lnTo>
                    <a:pt x="1227" y="0"/>
                  </a:lnTo>
                  <a:close/>
                </a:path>
              </a:pathLst>
            </a:custGeom>
            <a:noFill/>
            <a:ln w="12700" cap="flat" cmpd="sng">
              <a:solidFill>
                <a:schemeClr val="tx1"/>
              </a:solidFill>
              <a:prstDash val="solid"/>
              <a:bevel/>
              <a:headEnd/>
              <a:tailEnd/>
            </a:ln>
          </p:spPr>
          <p:txBody>
            <a:bodyPr/>
            <a:lstStyle/>
            <a:p>
              <a:endParaRPr lang="nl-NL"/>
            </a:p>
          </p:txBody>
        </p:sp>
        <p:grpSp>
          <p:nvGrpSpPr>
            <p:cNvPr id="51" name="Group 537">
              <a:extLst>
                <a:ext uri="{FF2B5EF4-FFF2-40B4-BE49-F238E27FC236}">
                  <a16:creationId xmlns:a16="http://schemas.microsoft.com/office/drawing/2014/main" id="{6D69FEC1-4704-7BA1-249A-ED288615212B}"/>
                </a:ext>
              </a:extLst>
            </p:cNvPr>
            <p:cNvGrpSpPr>
              <a:grpSpLocks/>
            </p:cNvGrpSpPr>
            <p:nvPr/>
          </p:nvGrpSpPr>
          <p:grpSpPr bwMode="auto">
            <a:xfrm>
              <a:off x="2953153" y="3961529"/>
              <a:ext cx="1425428" cy="2861397"/>
              <a:chOff x="1430" y="-106"/>
              <a:chExt cx="1082" cy="2176"/>
            </a:xfrm>
            <a:noFill/>
          </p:grpSpPr>
          <p:sp>
            <p:nvSpPr>
              <p:cNvPr id="74" name="Freeform 538">
                <a:extLst>
                  <a:ext uri="{FF2B5EF4-FFF2-40B4-BE49-F238E27FC236}">
                    <a16:creationId xmlns:a16="http://schemas.microsoft.com/office/drawing/2014/main" id="{C22BE820-92E2-5A82-DCD9-213E71F3EAA8}"/>
                  </a:ext>
                </a:extLst>
              </p:cNvPr>
              <p:cNvSpPr>
                <a:spLocks noEditPoints="1"/>
              </p:cNvSpPr>
              <p:nvPr/>
            </p:nvSpPr>
            <p:spPr bwMode="auto">
              <a:xfrm>
                <a:off x="1430" y="361"/>
                <a:ext cx="1082" cy="1709"/>
              </a:xfrm>
              <a:custGeom>
                <a:avLst/>
                <a:gdLst/>
                <a:ahLst/>
                <a:cxnLst>
                  <a:cxn ang="0">
                    <a:pos x="1270" y="720"/>
                  </a:cxn>
                  <a:cxn ang="0">
                    <a:pos x="931" y="1905"/>
                  </a:cxn>
                  <a:cxn ang="0">
                    <a:pos x="804" y="2709"/>
                  </a:cxn>
                  <a:cxn ang="0">
                    <a:pos x="677" y="3556"/>
                  </a:cxn>
                  <a:cxn ang="0">
                    <a:pos x="550" y="4487"/>
                  </a:cxn>
                  <a:cxn ang="0">
                    <a:pos x="592" y="4614"/>
                  </a:cxn>
                  <a:cxn ang="0">
                    <a:pos x="381" y="4868"/>
                  </a:cxn>
                  <a:cxn ang="0">
                    <a:pos x="429" y="5883"/>
                  </a:cxn>
                  <a:cxn ang="0">
                    <a:pos x="553" y="6142"/>
                  </a:cxn>
                  <a:cxn ang="0">
                    <a:pos x="338" y="6689"/>
                  </a:cxn>
                  <a:cxn ang="0">
                    <a:pos x="719" y="6816"/>
                  </a:cxn>
                  <a:cxn ang="0">
                    <a:pos x="1058" y="6731"/>
                  </a:cxn>
                  <a:cxn ang="0">
                    <a:pos x="1397" y="6816"/>
                  </a:cxn>
                  <a:cxn ang="0">
                    <a:pos x="1735" y="6731"/>
                  </a:cxn>
                  <a:cxn ang="0">
                    <a:pos x="2032" y="6604"/>
                  </a:cxn>
                  <a:cxn ang="0">
                    <a:pos x="2328" y="6477"/>
                  </a:cxn>
                  <a:cxn ang="0">
                    <a:pos x="2540" y="6265"/>
                  </a:cxn>
                  <a:cxn ang="0">
                    <a:pos x="2836" y="6138"/>
                  </a:cxn>
                  <a:cxn ang="0">
                    <a:pos x="3048" y="6223"/>
                  </a:cxn>
                  <a:cxn ang="0">
                    <a:pos x="3090" y="6265"/>
                  </a:cxn>
                  <a:cxn ang="0">
                    <a:pos x="3048" y="6477"/>
                  </a:cxn>
                  <a:cxn ang="0">
                    <a:pos x="3048" y="6858"/>
                  </a:cxn>
                  <a:cxn ang="0">
                    <a:pos x="3090" y="7112"/>
                  </a:cxn>
                  <a:cxn ang="0">
                    <a:pos x="3937" y="7197"/>
                  </a:cxn>
                  <a:cxn ang="0">
                    <a:pos x="4318" y="6223"/>
                  </a:cxn>
                  <a:cxn ang="0">
                    <a:pos x="4402" y="6054"/>
                  </a:cxn>
                  <a:cxn ang="0">
                    <a:pos x="4106" y="5969"/>
                  </a:cxn>
                  <a:cxn ang="0">
                    <a:pos x="3683" y="5969"/>
                  </a:cxn>
                  <a:cxn ang="0">
                    <a:pos x="3259" y="5715"/>
                  </a:cxn>
                  <a:cxn ang="0">
                    <a:pos x="3048" y="5715"/>
                  </a:cxn>
                  <a:cxn ang="0">
                    <a:pos x="2878" y="5630"/>
                  </a:cxn>
                  <a:cxn ang="0">
                    <a:pos x="2624" y="5503"/>
                  </a:cxn>
                  <a:cxn ang="0">
                    <a:pos x="2751" y="5376"/>
                  </a:cxn>
                  <a:cxn ang="0">
                    <a:pos x="2963" y="5292"/>
                  </a:cxn>
                  <a:cxn ang="0">
                    <a:pos x="3217" y="4995"/>
                  </a:cxn>
                  <a:cxn ang="0">
                    <a:pos x="3132" y="4784"/>
                  </a:cxn>
                  <a:cxn ang="0">
                    <a:pos x="3048" y="4572"/>
                  </a:cxn>
                  <a:cxn ang="0">
                    <a:pos x="3259" y="4360"/>
                  </a:cxn>
                  <a:cxn ang="0">
                    <a:pos x="3217" y="4022"/>
                  </a:cxn>
                  <a:cxn ang="0">
                    <a:pos x="3005" y="3471"/>
                  </a:cxn>
                  <a:cxn ang="0">
                    <a:pos x="2963" y="3090"/>
                  </a:cxn>
                  <a:cxn ang="0">
                    <a:pos x="3175" y="3006"/>
                  </a:cxn>
                  <a:cxn ang="0">
                    <a:pos x="3471" y="3048"/>
                  </a:cxn>
                  <a:cxn ang="0">
                    <a:pos x="3852" y="3006"/>
                  </a:cxn>
                  <a:cxn ang="0">
                    <a:pos x="4148" y="2794"/>
                  </a:cxn>
                  <a:cxn ang="0">
                    <a:pos x="4402" y="2498"/>
                  </a:cxn>
                  <a:cxn ang="0">
                    <a:pos x="4445" y="2244"/>
                  </a:cxn>
                  <a:cxn ang="0">
                    <a:pos x="4275" y="1947"/>
                  </a:cxn>
                  <a:cxn ang="0">
                    <a:pos x="3852" y="2074"/>
                  </a:cxn>
                  <a:cxn ang="0">
                    <a:pos x="3556" y="1778"/>
                  </a:cxn>
                  <a:cxn ang="0">
                    <a:pos x="3259" y="635"/>
                  </a:cxn>
                  <a:cxn ang="0">
                    <a:pos x="2878" y="254"/>
                  </a:cxn>
                  <a:cxn ang="0">
                    <a:pos x="2413" y="593"/>
                  </a:cxn>
                  <a:cxn ang="0">
                    <a:pos x="1778" y="423"/>
                  </a:cxn>
                  <a:cxn ang="0">
                    <a:pos x="1693" y="85"/>
                  </a:cxn>
                  <a:cxn ang="0">
                    <a:pos x="1778" y="42"/>
                  </a:cxn>
                  <a:cxn ang="0">
                    <a:pos x="3090" y="296"/>
                  </a:cxn>
                  <a:cxn ang="0">
                    <a:pos x="3327" y="2531"/>
                  </a:cxn>
                  <a:cxn ang="0">
                    <a:pos x="3134" y="2676"/>
                  </a:cxn>
                  <a:cxn ang="0">
                    <a:pos x="3429" y="4614"/>
                  </a:cxn>
                  <a:cxn ang="0">
                    <a:pos x="3513" y="4614"/>
                  </a:cxn>
                </a:cxnLst>
                <a:rect l="0" t="0" r="r" b="b"/>
                <a:pathLst>
                  <a:path w="4614" h="7281">
                    <a:moveTo>
                      <a:pt x="1397" y="0"/>
                    </a:moveTo>
                    <a:lnTo>
                      <a:pt x="1312" y="127"/>
                    </a:lnTo>
                    <a:lnTo>
                      <a:pt x="1312" y="169"/>
                    </a:lnTo>
                    <a:lnTo>
                      <a:pt x="1312" y="212"/>
                    </a:lnTo>
                    <a:lnTo>
                      <a:pt x="1312" y="296"/>
                    </a:lnTo>
                    <a:lnTo>
                      <a:pt x="1270" y="423"/>
                    </a:lnTo>
                    <a:lnTo>
                      <a:pt x="1270" y="550"/>
                    </a:lnTo>
                    <a:lnTo>
                      <a:pt x="1270" y="720"/>
                    </a:lnTo>
                    <a:lnTo>
                      <a:pt x="1185" y="974"/>
                    </a:lnTo>
                    <a:lnTo>
                      <a:pt x="1143" y="1228"/>
                    </a:lnTo>
                    <a:lnTo>
                      <a:pt x="1058" y="1482"/>
                    </a:lnTo>
                    <a:lnTo>
                      <a:pt x="1058" y="1566"/>
                    </a:lnTo>
                    <a:lnTo>
                      <a:pt x="1016" y="1566"/>
                    </a:lnTo>
                    <a:lnTo>
                      <a:pt x="1016" y="1651"/>
                    </a:lnTo>
                    <a:lnTo>
                      <a:pt x="931" y="1820"/>
                    </a:lnTo>
                    <a:lnTo>
                      <a:pt x="931" y="1905"/>
                    </a:lnTo>
                    <a:lnTo>
                      <a:pt x="846" y="2159"/>
                    </a:lnTo>
                    <a:lnTo>
                      <a:pt x="846" y="2201"/>
                    </a:lnTo>
                    <a:lnTo>
                      <a:pt x="846" y="2244"/>
                    </a:lnTo>
                    <a:lnTo>
                      <a:pt x="846" y="2286"/>
                    </a:lnTo>
                    <a:lnTo>
                      <a:pt x="846" y="2328"/>
                    </a:lnTo>
                    <a:lnTo>
                      <a:pt x="846" y="2455"/>
                    </a:lnTo>
                    <a:lnTo>
                      <a:pt x="804" y="2625"/>
                    </a:lnTo>
                    <a:lnTo>
                      <a:pt x="804" y="2709"/>
                    </a:lnTo>
                    <a:lnTo>
                      <a:pt x="804" y="2794"/>
                    </a:lnTo>
                    <a:lnTo>
                      <a:pt x="762" y="2963"/>
                    </a:lnTo>
                    <a:lnTo>
                      <a:pt x="762" y="3048"/>
                    </a:lnTo>
                    <a:lnTo>
                      <a:pt x="762" y="3090"/>
                    </a:lnTo>
                    <a:lnTo>
                      <a:pt x="762" y="3175"/>
                    </a:lnTo>
                    <a:lnTo>
                      <a:pt x="719" y="3217"/>
                    </a:lnTo>
                    <a:lnTo>
                      <a:pt x="719" y="3260"/>
                    </a:lnTo>
                    <a:lnTo>
                      <a:pt x="677" y="3556"/>
                    </a:lnTo>
                    <a:lnTo>
                      <a:pt x="635" y="3937"/>
                    </a:lnTo>
                    <a:lnTo>
                      <a:pt x="592" y="4149"/>
                    </a:lnTo>
                    <a:lnTo>
                      <a:pt x="550" y="4233"/>
                    </a:lnTo>
                    <a:lnTo>
                      <a:pt x="508" y="4318"/>
                    </a:lnTo>
                    <a:lnTo>
                      <a:pt x="465" y="4403"/>
                    </a:lnTo>
                    <a:lnTo>
                      <a:pt x="423" y="4530"/>
                    </a:lnTo>
                    <a:lnTo>
                      <a:pt x="508" y="4487"/>
                    </a:lnTo>
                    <a:lnTo>
                      <a:pt x="550" y="4487"/>
                    </a:lnTo>
                    <a:lnTo>
                      <a:pt x="635" y="4445"/>
                    </a:lnTo>
                    <a:lnTo>
                      <a:pt x="677" y="4487"/>
                    </a:lnTo>
                    <a:lnTo>
                      <a:pt x="635" y="4487"/>
                    </a:lnTo>
                    <a:lnTo>
                      <a:pt x="635" y="4530"/>
                    </a:lnTo>
                    <a:lnTo>
                      <a:pt x="550" y="4530"/>
                    </a:lnTo>
                    <a:lnTo>
                      <a:pt x="508" y="4572"/>
                    </a:lnTo>
                    <a:lnTo>
                      <a:pt x="592" y="4572"/>
                    </a:lnTo>
                    <a:lnTo>
                      <a:pt x="592" y="4614"/>
                    </a:lnTo>
                    <a:lnTo>
                      <a:pt x="508" y="4572"/>
                    </a:lnTo>
                    <a:lnTo>
                      <a:pt x="465" y="4572"/>
                    </a:lnTo>
                    <a:lnTo>
                      <a:pt x="465" y="4614"/>
                    </a:lnTo>
                    <a:lnTo>
                      <a:pt x="381" y="4572"/>
                    </a:lnTo>
                    <a:lnTo>
                      <a:pt x="381" y="4657"/>
                    </a:lnTo>
                    <a:lnTo>
                      <a:pt x="423" y="4741"/>
                    </a:lnTo>
                    <a:lnTo>
                      <a:pt x="381" y="4784"/>
                    </a:lnTo>
                    <a:lnTo>
                      <a:pt x="381" y="4868"/>
                    </a:lnTo>
                    <a:lnTo>
                      <a:pt x="338" y="4953"/>
                    </a:lnTo>
                    <a:lnTo>
                      <a:pt x="296" y="5122"/>
                    </a:lnTo>
                    <a:lnTo>
                      <a:pt x="254" y="5249"/>
                    </a:lnTo>
                    <a:lnTo>
                      <a:pt x="169" y="5461"/>
                    </a:lnTo>
                    <a:lnTo>
                      <a:pt x="0" y="5800"/>
                    </a:lnTo>
                    <a:lnTo>
                      <a:pt x="296" y="5927"/>
                    </a:lnTo>
                    <a:lnTo>
                      <a:pt x="423" y="5969"/>
                    </a:lnTo>
                    <a:lnTo>
                      <a:pt x="429" y="5883"/>
                    </a:lnTo>
                    <a:lnTo>
                      <a:pt x="466" y="5918"/>
                    </a:lnTo>
                    <a:lnTo>
                      <a:pt x="516" y="5876"/>
                    </a:lnTo>
                    <a:lnTo>
                      <a:pt x="602" y="5881"/>
                    </a:lnTo>
                    <a:lnTo>
                      <a:pt x="677" y="5919"/>
                    </a:lnTo>
                    <a:lnTo>
                      <a:pt x="643" y="5999"/>
                    </a:lnTo>
                    <a:lnTo>
                      <a:pt x="599" y="6037"/>
                    </a:lnTo>
                    <a:lnTo>
                      <a:pt x="598" y="6124"/>
                    </a:lnTo>
                    <a:lnTo>
                      <a:pt x="553" y="6142"/>
                    </a:lnTo>
                    <a:lnTo>
                      <a:pt x="551" y="6226"/>
                    </a:lnTo>
                    <a:lnTo>
                      <a:pt x="429" y="6336"/>
                    </a:lnTo>
                    <a:lnTo>
                      <a:pt x="423" y="6477"/>
                    </a:lnTo>
                    <a:lnTo>
                      <a:pt x="423" y="6562"/>
                    </a:lnTo>
                    <a:lnTo>
                      <a:pt x="381" y="6604"/>
                    </a:lnTo>
                    <a:lnTo>
                      <a:pt x="381" y="6646"/>
                    </a:lnTo>
                    <a:lnTo>
                      <a:pt x="338" y="6646"/>
                    </a:lnTo>
                    <a:lnTo>
                      <a:pt x="338" y="6689"/>
                    </a:lnTo>
                    <a:lnTo>
                      <a:pt x="338" y="6731"/>
                    </a:lnTo>
                    <a:lnTo>
                      <a:pt x="338" y="6773"/>
                    </a:lnTo>
                    <a:lnTo>
                      <a:pt x="381" y="6773"/>
                    </a:lnTo>
                    <a:lnTo>
                      <a:pt x="423" y="6816"/>
                    </a:lnTo>
                    <a:lnTo>
                      <a:pt x="465" y="6816"/>
                    </a:lnTo>
                    <a:lnTo>
                      <a:pt x="508" y="6773"/>
                    </a:lnTo>
                    <a:lnTo>
                      <a:pt x="592" y="6816"/>
                    </a:lnTo>
                    <a:lnTo>
                      <a:pt x="719" y="6816"/>
                    </a:lnTo>
                    <a:lnTo>
                      <a:pt x="762" y="6816"/>
                    </a:lnTo>
                    <a:lnTo>
                      <a:pt x="804" y="6816"/>
                    </a:lnTo>
                    <a:lnTo>
                      <a:pt x="846" y="6773"/>
                    </a:lnTo>
                    <a:lnTo>
                      <a:pt x="931" y="6731"/>
                    </a:lnTo>
                    <a:lnTo>
                      <a:pt x="973" y="6731"/>
                    </a:lnTo>
                    <a:lnTo>
                      <a:pt x="973" y="6689"/>
                    </a:lnTo>
                    <a:lnTo>
                      <a:pt x="1016" y="6731"/>
                    </a:lnTo>
                    <a:lnTo>
                      <a:pt x="1058" y="6731"/>
                    </a:lnTo>
                    <a:lnTo>
                      <a:pt x="1100" y="6731"/>
                    </a:lnTo>
                    <a:lnTo>
                      <a:pt x="1143" y="6689"/>
                    </a:lnTo>
                    <a:lnTo>
                      <a:pt x="1185" y="6646"/>
                    </a:lnTo>
                    <a:lnTo>
                      <a:pt x="1312" y="6689"/>
                    </a:lnTo>
                    <a:lnTo>
                      <a:pt x="1270" y="6816"/>
                    </a:lnTo>
                    <a:lnTo>
                      <a:pt x="1312" y="6858"/>
                    </a:lnTo>
                    <a:lnTo>
                      <a:pt x="1354" y="6900"/>
                    </a:lnTo>
                    <a:lnTo>
                      <a:pt x="1397" y="6816"/>
                    </a:lnTo>
                    <a:lnTo>
                      <a:pt x="1439" y="6816"/>
                    </a:lnTo>
                    <a:lnTo>
                      <a:pt x="1524" y="6816"/>
                    </a:lnTo>
                    <a:lnTo>
                      <a:pt x="1566" y="6773"/>
                    </a:lnTo>
                    <a:lnTo>
                      <a:pt x="1566" y="6731"/>
                    </a:lnTo>
                    <a:lnTo>
                      <a:pt x="1608" y="6731"/>
                    </a:lnTo>
                    <a:lnTo>
                      <a:pt x="1651" y="6731"/>
                    </a:lnTo>
                    <a:lnTo>
                      <a:pt x="1693" y="6731"/>
                    </a:lnTo>
                    <a:lnTo>
                      <a:pt x="1735" y="6731"/>
                    </a:lnTo>
                    <a:lnTo>
                      <a:pt x="1778" y="6731"/>
                    </a:lnTo>
                    <a:lnTo>
                      <a:pt x="1820" y="6731"/>
                    </a:lnTo>
                    <a:lnTo>
                      <a:pt x="1862" y="6689"/>
                    </a:lnTo>
                    <a:lnTo>
                      <a:pt x="1905" y="6689"/>
                    </a:lnTo>
                    <a:lnTo>
                      <a:pt x="1905" y="6646"/>
                    </a:lnTo>
                    <a:lnTo>
                      <a:pt x="1947" y="6646"/>
                    </a:lnTo>
                    <a:lnTo>
                      <a:pt x="1989" y="6604"/>
                    </a:lnTo>
                    <a:lnTo>
                      <a:pt x="2032" y="6604"/>
                    </a:lnTo>
                    <a:lnTo>
                      <a:pt x="2032" y="6562"/>
                    </a:lnTo>
                    <a:lnTo>
                      <a:pt x="2116" y="6519"/>
                    </a:lnTo>
                    <a:lnTo>
                      <a:pt x="2159" y="6477"/>
                    </a:lnTo>
                    <a:lnTo>
                      <a:pt x="2201" y="6477"/>
                    </a:lnTo>
                    <a:lnTo>
                      <a:pt x="2243" y="6477"/>
                    </a:lnTo>
                    <a:lnTo>
                      <a:pt x="2286" y="6519"/>
                    </a:lnTo>
                    <a:lnTo>
                      <a:pt x="2286" y="6477"/>
                    </a:lnTo>
                    <a:lnTo>
                      <a:pt x="2328" y="6477"/>
                    </a:lnTo>
                    <a:lnTo>
                      <a:pt x="2370" y="6477"/>
                    </a:lnTo>
                    <a:lnTo>
                      <a:pt x="2370" y="6435"/>
                    </a:lnTo>
                    <a:lnTo>
                      <a:pt x="2413" y="6392"/>
                    </a:lnTo>
                    <a:lnTo>
                      <a:pt x="2455" y="6350"/>
                    </a:lnTo>
                    <a:lnTo>
                      <a:pt x="2413" y="6308"/>
                    </a:lnTo>
                    <a:lnTo>
                      <a:pt x="2413" y="6265"/>
                    </a:lnTo>
                    <a:lnTo>
                      <a:pt x="2455" y="6223"/>
                    </a:lnTo>
                    <a:lnTo>
                      <a:pt x="2540" y="6265"/>
                    </a:lnTo>
                    <a:lnTo>
                      <a:pt x="2582" y="6265"/>
                    </a:lnTo>
                    <a:lnTo>
                      <a:pt x="2624" y="6265"/>
                    </a:lnTo>
                    <a:lnTo>
                      <a:pt x="2667" y="6265"/>
                    </a:lnTo>
                    <a:lnTo>
                      <a:pt x="2667" y="6223"/>
                    </a:lnTo>
                    <a:lnTo>
                      <a:pt x="2751" y="6181"/>
                    </a:lnTo>
                    <a:lnTo>
                      <a:pt x="2751" y="6138"/>
                    </a:lnTo>
                    <a:lnTo>
                      <a:pt x="2836" y="6181"/>
                    </a:lnTo>
                    <a:lnTo>
                      <a:pt x="2836" y="6138"/>
                    </a:lnTo>
                    <a:lnTo>
                      <a:pt x="2836" y="6096"/>
                    </a:lnTo>
                    <a:lnTo>
                      <a:pt x="2878" y="6096"/>
                    </a:lnTo>
                    <a:lnTo>
                      <a:pt x="2878" y="6054"/>
                    </a:lnTo>
                    <a:lnTo>
                      <a:pt x="2921" y="6054"/>
                    </a:lnTo>
                    <a:lnTo>
                      <a:pt x="2963" y="6054"/>
                    </a:lnTo>
                    <a:lnTo>
                      <a:pt x="2963" y="6223"/>
                    </a:lnTo>
                    <a:lnTo>
                      <a:pt x="3005" y="6181"/>
                    </a:lnTo>
                    <a:lnTo>
                      <a:pt x="3048" y="6223"/>
                    </a:lnTo>
                    <a:lnTo>
                      <a:pt x="3090" y="6223"/>
                    </a:lnTo>
                    <a:lnTo>
                      <a:pt x="3132" y="6181"/>
                    </a:lnTo>
                    <a:lnTo>
                      <a:pt x="3175" y="6181"/>
                    </a:lnTo>
                    <a:lnTo>
                      <a:pt x="3217" y="6223"/>
                    </a:lnTo>
                    <a:lnTo>
                      <a:pt x="3175" y="6223"/>
                    </a:lnTo>
                    <a:lnTo>
                      <a:pt x="3132" y="6223"/>
                    </a:lnTo>
                    <a:lnTo>
                      <a:pt x="3132" y="6265"/>
                    </a:lnTo>
                    <a:lnTo>
                      <a:pt x="3090" y="6265"/>
                    </a:lnTo>
                    <a:lnTo>
                      <a:pt x="3048" y="6265"/>
                    </a:lnTo>
                    <a:lnTo>
                      <a:pt x="3048" y="6308"/>
                    </a:lnTo>
                    <a:lnTo>
                      <a:pt x="3005" y="6308"/>
                    </a:lnTo>
                    <a:lnTo>
                      <a:pt x="2963" y="6308"/>
                    </a:lnTo>
                    <a:lnTo>
                      <a:pt x="2963" y="6350"/>
                    </a:lnTo>
                    <a:lnTo>
                      <a:pt x="3005" y="6477"/>
                    </a:lnTo>
                    <a:lnTo>
                      <a:pt x="3048" y="6519"/>
                    </a:lnTo>
                    <a:lnTo>
                      <a:pt x="3048" y="6477"/>
                    </a:lnTo>
                    <a:lnTo>
                      <a:pt x="3090" y="6477"/>
                    </a:lnTo>
                    <a:lnTo>
                      <a:pt x="3090" y="6519"/>
                    </a:lnTo>
                    <a:lnTo>
                      <a:pt x="3090" y="6604"/>
                    </a:lnTo>
                    <a:lnTo>
                      <a:pt x="3175" y="6646"/>
                    </a:lnTo>
                    <a:lnTo>
                      <a:pt x="3090" y="6689"/>
                    </a:lnTo>
                    <a:lnTo>
                      <a:pt x="3048" y="6689"/>
                    </a:lnTo>
                    <a:lnTo>
                      <a:pt x="3048" y="6773"/>
                    </a:lnTo>
                    <a:lnTo>
                      <a:pt x="3048" y="6858"/>
                    </a:lnTo>
                    <a:lnTo>
                      <a:pt x="3048" y="6900"/>
                    </a:lnTo>
                    <a:lnTo>
                      <a:pt x="3048" y="6943"/>
                    </a:lnTo>
                    <a:lnTo>
                      <a:pt x="2963" y="6943"/>
                    </a:lnTo>
                    <a:lnTo>
                      <a:pt x="3005" y="6985"/>
                    </a:lnTo>
                    <a:lnTo>
                      <a:pt x="3048" y="6985"/>
                    </a:lnTo>
                    <a:lnTo>
                      <a:pt x="3048" y="7027"/>
                    </a:lnTo>
                    <a:lnTo>
                      <a:pt x="3048" y="7112"/>
                    </a:lnTo>
                    <a:lnTo>
                      <a:pt x="3090" y="7112"/>
                    </a:lnTo>
                    <a:lnTo>
                      <a:pt x="3090" y="7281"/>
                    </a:lnTo>
                    <a:lnTo>
                      <a:pt x="3259" y="7239"/>
                    </a:lnTo>
                    <a:lnTo>
                      <a:pt x="3471" y="7154"/>
                    </a:lnTo>
                    <a:lnTo>
                      <a:pt x="3513" y="7154"/>
                    </a:lnTo>
                    <a:lnTo>
                      <a:pt x="3767" y="7197"/>
                    </a:lnTo>
                    <a:lnTo>
                      <a:pt x="3810" y="7197"/>
                    </a:lnTo>
                    <a:lnTo>
                      <a:pt x="3852" y="7197"/>
                    </a:lnTo>
                    <a:lnTo>
                      <a:pt x="3937" y="7197"/>
                    </a:lnTo>
                    <a:lnTo>
                      <a:pt x="4064" y="6943"/>
                    </a:lnTo>
                    <a:lnTo>
                      <a:pt x="4064" y="6858"/>
                    </a:lnTo>
                    <a:lnTo>
                      <a:pt x="4106" y="6773"/>
                    </a:lnTo>
                    <a:lnTo>
                      <a:pt x="4148" y="6646"/>
                    </a:lnTo>
                    <a:lnTo>
                      <a:pt x="4191" y="6562"/>
                    </a:lnTo>
                    <a:lnTo>
                      <a:pt x="4191" y="6519"/>
                    </a:lnTo>
                    <a:lnTo>
                      <a:pt x="4191" y="6477"/>
                    </a:lnTo>
                    <a:lnTo>
                      <a:pt x="4318" y="6223"/>
                    </a:lnTo>
                    <a:lnTo>
                      <a:pt x="4402" y="6265"/>
                    </a:lnTo>
                    <a:lnTo>
                      <a:pt x="4572" y="6265"/>
                    </a:lnTo>
                    <a:lnTo>
                      <a:pt x="4487" y="6181"/>
                    </a:lnTo>
                    <a:lnTo>
                      <a:pt x="4487" y="6138"/>
                    </a:lnTo>
                    <a:lnTo>
                      <a:pt x="4529" y="6096"/>
                    </a:lnTo>
                    <a:lnTo>
                      <a:pt x="4487" y="6096"/>
                    </a:lnTo>
                    <a:lnTo>
                      <a:pt x="4445" y="6096"/>
                    </a:lnTo>
                    <a:lnTo>
                      <a:pt x="4402" y="6054"/>
                    </a:lnTo>
                    <a:lnTo>
                      <a:pt x="4360" y="6054"/>
                    </a:lnTo>
                    <a:lnTo>
                      <a:pt x="4318" y="6011"/>
                    </a:lnTo>
                    <a:lnTo>
                      <a:pt x="4275" y="6011"/>
                    </a:lnTo>
                    <a:lnTo>
                      <a:pt x="4275" y="5969"/>
                    </a:lnTo>
                    <a:lnTo>
                      <a:pt x="4233" y="5927"/>
                    </a:lnTo>
                    <a:lnTo>
                      <a:pt x="4191" y="5969"/>
                    </a:lnTo>
                    <a:lnTo>
                      <a:pt x="4148" y="5969"/>
                    </a:lnTo>
                    <a:lnTo>
                      <a:pt x="4106" y="5969"/>
                    </a:lnTo>
                    <a:lnTo>
                      <a:pt x="3937" y="5969"/>
                    </a:lnTo>
                    <a:lnTo>
                      <a:pt x="3894" y="6011"/>
                    </a:lnTo>
                    <a:lnTo>
                      <a:pt x="3852" y="6011"/>
                    </a:lnTo>
                    <a:lnTo>
                      <a:pt x="3810" y="6054"/>
                    </a:lnTo>
                    <a:lnTo>
                      <a:pt x="3767" y="6054"/>
                    </a:lnTo>
                    <a:lnTo>
                      <a:pt x="3767" y="6011"/>
                    </a:lnTo>
                    <a:lnTo>
                      <a:pt x="3725" y="6011"/>
                    </a:lnTo>
                    <a:lnTo>
                      <a:pt x="3683" y="5969"/>
                    </a:lnTo>
                    <a:lnTo>
                      <a:pt x="3640" y="5927"/>
                    </a:lnTo>
                    <a:lnTo>
                      <a:pt x="3598" y="5842"/>
                    </a:lnTo>
                    <a:lnTo>
                      <a:pt x="3556" y="5842"/>
                    </a:lnTo>
                    <a:lnTo>
                      <a:pt x="3556" y="5800"/>
                    </a:lnTo>
                    <a:lnTo>
                      <a:pt x="3471" y="5800"/>
                    </a:lnTo>
                    <a:lnTo>
                      <a:pt x="3429" y="5800"/>
                    </a:lnTo>
                    <a:lnTo>
                      <a:pt x="3386" y="5715"/>
                    </a:lnTo>
                    <a:lnTo>
                      <a:pt x="3259" y="5715"/>
                    </a:lnTo>
                    <a:lnTo>
                      <a:pt x="3217" y="5715"/>
                    </a:lnTo>
                    <a:lnTo>
                      <a:pt x="3175" y="5715"/>
                    </a:lnTo>
                    <a:lnTo>
                      <a:pt x="3090" y="5757"/>
                    </a:lnTo>
                    <a:lnTo>
                      <a:pt x="3048" y="5715"/>
                    </a:lnTo>
                    <a:lnTo>
                      <a:pt x="3048" y="5757"/>
                    </a:lnTo>
                    <a:lnTo>
                      <a:pt x="3005" y="5757"/>
                    </a:lnTo>
                    <a:lnTo>
                      <a:pt x="3005" y="5715"/>
                    </a:lnTo>
                    <a:lnTo>
                      <a:pt x="3048" y="5715"/>
                    </a:lnTo>
                    <a:lnTo>
                      <a:pt x="3048" y="5673"/>
                    </a:lnTo>
                    <a:lnTo>
                      <a:pt x="3005" y="5630"/>
                    </a:lnTo>
                    <a:lnTo>
                      <a:pt x="2963" y="5630"/>
                    </a:lnTo>
                    <a:lnTo>
                      <a:pt x="2921" y="5673"/>
                    </a:lnTo>
                    <a:lnTo>
                      <a:pt x="2878" y="5673"/>
                    </a:lnTo>
                    <a:lnTo>
                      <a:pt x="2836" y="5673"/>
                    </a:lnTo>
                    <a:lnTo>
                      <a:pt x="2836" y="5630"/>
                    </a:lnTo>
                    <a:lnTo>
                      <a:pt x="2878" y="5630"/>
                    </a:lnTo>
                    <a:lnTo>
                      <a:pt x="2878" y="5588"/>
                    </a:lnTo>
                    <a:lnTo>
                      <a:pt x="2878" y="5546"/>
                    </a:lnTo>
                    <a:lnTo>
                      <a:pt x="2794" y="5503"/>
                    </a:lnTo>
                    <a:lnTo>
                      <a:pt x="2751" y="5503"/>
                    </a:lnTo>
                    <a:lnTo>
                      <a:pt x="2751" y="5546"/>
                    </a:lnTo>
                    <a:lnTo>
                      <a:pt x="2709" y="5546"/>
                    </a:lnTo>
                    <a:lnTo>
                      <a:pt x="2667" y="5503"/>
                    </a:lnTo>
                    <a:lnTo>
                      <a:pt x="2624" y="5503"/>
                    </a:lnTo>
                    <a:lnTo>
                      <a:pt x="2624" y="5461"/>
                    </a:lnTo>
                    <a:lnTo>
                      <a:pt x="2667" y="5461"/>
                    </a:lnTo>
                    <a:lnTo>
                      <a:pt x="2709" y="5461"/>
                    </a:lnTo>
                    <a:lnTo>
                      <a:pt x="2751" y="5419"/>
                    </a:lnTo>
                    <a:lnTo>
                      <a:pt x="2624" y="5334"/>
                    </a:lnTo>
                    <a:lnTo>
                      <a:pt x="2624" y="5292"/>
                    </a:lnTo>
                    <a:lnTo>
                      <a:pt x="2709" y="5334"/>
                    </a:lnTo>
                    <a:lnTo>
                      <a:pt x="2751" y="5376"/>
                    </a:lnTo>
                    <a:lnTo>
                      <a:pt x="2794" y="5376"/>
                    </a:lnTo>
                    <a:lnTo>
                      <a:pt x="2836" y="5334"/>
                    </a:lnTo>
                    <a:lnTo>
                      <a:pt x="2836" y="5376"/>
                    </a:lnTo>
                    <a:lnTo>
                      <a:pt x="2878" y="5419"/>
                    </a:lnTo>
                    <a:lnTo>
                      <a:pt x="2921" y="5376"/>
                    </a:lnTo>
                    <a:lnTo>
                      <a:pt x="2921" y="5334"/>
                    </a:lnTo>
                    <a:lnTo>
                      <a:pt x="2921" y="5292"/>
                    </a:lnTo>
                    <a:lnTo>
                      <a:pt x="2963" y="5292"/>
                    </a:lnTo>
                    <a:lnTo>
                      <a:pt x="3005" y="5249"/>
                    </a:lnTo>
                    <a:lnTo>
                      <a:pt x="3005" y="5165"/>
                    </a:lnTo>
                    <a:lnTo>
                      <a:pt x="3048" y="5122"/>
                    </a:lnTo>
                    <a:lnTo>
                      <a:pt x="3090" y="5080"/>
                    </a:lnTo>
                    <a:lnTo>
                      <a:pt x="3132" y="5038"/>
                    </a:lnTo>
                    <a:lnTo>
                      <a:pt x="3175" y="5038"/>
                    </a:lnTo>
                    <a:lnTo>
                      <a:pt x="3217" y="5038"/>
                    </a:lnTo>
                    <a:lnTo>
                      <a:pt x="3217" y="4995"/>
                    </a:lnTo>
                    <a:lnTo>
                      <a:pt x="3259" y="4953"/>
                    </a:lnTo>
                    <a:lnTo>
                      <a:pt x="3259" y="4911"/>
                    </a:lnTo>
                    <a:lnTo>
                      <a:pt x="3344" y="4826"/>
                    </a:lnTo>
                    <a:lnTo>
                      <a:pt x="3302" y="4826"/>
                    </a:lnTo>
                    <a:lnTo>
                      <a:pt x="3259" y="4826"/>
                    </a:lnTo>
                    <a:lnTo>
                      <a:pt x="3217" y="4784"/>
                    </a:lnTo>
                    <a:lnTo>
                      <a:pt x="3217" y="4826"/>
                    </a:lnTo>
                    <a:lnTo>
                      <a:pt x="3132" y="4784"/>
                    </a:lnTo>
                    <a:lnTo>
                      <a:pt x="3132" y="4741"/>
                    </a:lnTo>
                    <a:lnTo>
                      <a:pt x="3132" y="4699"/>
                    </a:lnTo>
                    <a:lnTo>
                      <a:pt x="3132" y="4657"/>
                    </a:lnTo>
                    <a:lnTo>
                      <a:pt x="3175" y="4614"/>
                    </a:lnTo>
                    <a:lnTo>
                      <a:pt x="3175" y="4572"/>
                    </a:lnTo>
                    <a:lnTo>
                      <a:pt x="3132" y="4572"/>
                    </a:lnTo>
                    <a:lnTo>
                      <a:pt x="3090" y="4614"/>
                    </a:lnTo>
                    <a:lnTo>
                      <a:pt x="3048" y="4572"/>
                    </a:lnTo>
                    <a:lnTo>
                      <a:pt x="3132" y="4530"/>
                    </a:lnTo>
                    <a:lnTo>
                      <a:pt x="3217" y="4530"/>
                    </a:lnTo>
                    <a:lnTo>
                      <a:pt x="3217" y="4487"/>
                    </a:lnTo>
                    <a:lnTo>
                      <a:pt x="3175" y="4445"/>
                    </a:lnTo>
                    <a:lnTo>
                      <a:pt x="3175" y="4403"/>
                    </a:lnTo>
                    <a:lnTo>
                      <a:pt x="3175" y="4360"/>
                    </a:lnTo>
                    <a:lnTo>
                      <a:pt x="3217" y="4318"/>
                    </a:lnTo>
                    <a:lnTo>
                      <a:pt x="3259" y="4360"/>
                    </a:lnTo>
                    <a:lnTo>
                      <a:pt x="3259" y="4318"/>
                    </a:lnTo>
                    <a:lnTo>
                      <a:pt x="3302" y="4276"/>
                    </a:lnTo>
                    <a:lnTo>
                      <a:pt x="3344" y="4191"/>
                    </a:lnTo>
                    <a:lnTo>
                      <a:pt x="3302" y="4191"/>
                    </a:lnTo>
                    <a:lnTo>
                      <a:pt x="3302" y="4106"/>
                    </a:lnTo>
                    <a:lnTo>
                      <a:pt x="3259" y="4106"/>
                    </a:lnTo>
                    <a:lnTo>
                      <a:pt x="3259" y="4064"/>
                    </a:lnTo>
                    <a:lnTo>
                      <a:pt x="3217" y="4022"/>
                    </a:lnTo>
                    <a:lnTo>
                      <a:pt x="3217" y="3979"/>
                    </a:lnTo>
                    <a:lnTo>
                      <a:pt x="3175" y="3895"/>
                    </a:lnTo>
                    <a:lnTo>
                      <a:pt x="3175" y="3852"/>
                    </a:lnTo>
                    <a:lnTo>
                      <a:pt x="3090" y="3725"/>
                    </a:lnTo>
                    <a:lnTo>
                      <a:pt x="3090" y="3683"/>
                    </a:lnTo>
                    <a:lnTo>
                      <a:pt x="3048" y="3641"/>
                    </a:lnTo>
                    <a:lnTo>
                      <a:pt x="3048" y="3556"/>
                    </a:lnTo>
                    <a:lnTo>
                      <a:pt x="3005" y="3471"/>
                    </a:lnTo>
                    <a:lnTo>
                      <a:pt x="3005" y="3429"/>
                    </a:lnTo>
                    <a:lnTo>
                      <a:pt x="2963" y="3387"/>
                    </a:lnTo>
                    <a:lnTo>
                      <a:pt x="3005" y="3344"/>
                    </a:lnTo>
                    <a:lnTo>
                      <a:pt x="2963" y="3302"/>
                    </a:lnTo>
                    <a:lnTo>
                      <a:pt x="2963" y="3260"/>
                    </a:lnTo>
                    <a:lnTo>
                      <a:pt x="2963" y="3217"/>
                    </a:lnTo>
                    <a:lnTo>
                      <a:pt x="2963" y="3175"/>
                    </a:lnTo>
                    <a:lnTo>
                      <a:pt x="2963" y="3090"/>
                    </a:lnTo>
                    <a:lnTo>
                      <a:pt x="2963" y="3048"/>
                    </a:lnTo>
                    <a:lnTo>
                      <a:pt x="3005" y="3048"/>
                    </a:lnTo>
                    <a:lnTo>
                      <a:pt x="3005" y="3006"/>
                    </a:lnTo>
                    <a:lnTo>
                      <a:pt x="3048" y="3006"/>
                    </a:lnTo>
                    <a:lnTo>
                      <a:pt x="3090" y="2963"/>
                    </a:lnTo>
                    <a:lnTo>
                      <a:pt x="3132" y="2963"/>
                    </a:lnTo>
                    <a:lnTo>
                      <a:pt x="3175" y="2963"/>
                    </a:lnTo>
                    <a:lnTo>
                      <a:pt x="3175" y="3006"/>
                    </a:lnTo>
                    <a:lnTo>
                      <a:pt x="3217" y="3048"/>
                    </a:lnTo>
                    <a:lnTo>
                      <a:pt x="3217" y="3006"/>
                    </a:lnTo>
                    <a:lnTo>
                      <a:pt x="3259" y="2963"/>
                    </a:lnTo>
                    <a:lnTo>
                      <a:pt x="3302" y="2963"/>
                    </a:lnTo>
                    <a:lnTo>
                      <a:pt x="3344" y="2963"/>
                    </a:lnTo>
                    <a:lnTo>
                      <a:pt x="3386" y="2963"/>
                    </a:lnTo>
                    <a:lnTo>
                      <a:pt x="3429" y="3006"/>
                    </a:lnTo>
                    <a:lnTo>
                      <a:pt x="3471" y="3048"/>
                    </a:lnTo>
                    <a:lnTo>
                      <a:pt x="3513" y="3048"/>
                    </a:lnTo>
                    <a:lnTo>
                      <a:pt x="3556" y="3090"/>
                    </a:lnTo>
                    <a:lnTo>
                      <a:pt x="3556" y="3133"/>
                    </a:lnTo>
                    <a:lnTo>
                      <a:pt x="3640" y="3133"/>
                    </a:lnTo>
                    <a:lnTo>
                      <a:pt x="3683" y="3133"/>
                    </a:lnTo>
                    <a:lnTo>
                      <a:pt x="3725" y="3133"/>
                    </a:lnTo>
                    <a:lnTo>
                      <a:pt x="3767" y="3090"/>
                    </a:lnTo>
                    <a:lnTo>
                      <a:pt x="3852" y="3006"/>
                    </a:lnTo>
                    <a:lnTo>
                      <a:pt x="3894" y="3006"/>
                    </a:lnTo>
                    <a:lnTo>
                      <a:pt x="3979" y="3006"/>
                    </a:lnTo>
                    <a:lnTo>
                      <a:pt x="3979" y="2963"/>
                    </a:lnTo>
                    <a:lnTo>
                      <a:pt x="4021" y="2921"/>
                    </a:lnTo>
                    <a:lnTo>
                      <a:pt x="4064" y="2921"/>
                    </a:lnTo>
                    <a:lnTo>
                      <a:pt x="4064" y="2879"/>
                    </a:lnTo>
                    <a:lnTo>
                      <a:pt x="4148" y="2836"/>
                    </a:lnTo>
                    <a:lnTo>
                      <a:pt x="4148" y="2794"/>
                    </a:lnTo>
                    <a:lnTo>
                      <a:pt x="4191" y="2752"/>
                    </a:lnTo>
                    <a:lnTo>
                      <a:pt x="4191" y="2667"/>
                    </a:lnTo>
                    <a:lnTo>
                      <a:pt x="4191" y="2625"/>
                    </a:lnTo>
                    <a:lnTo>
                      <a:pt x="4233" y="2540"/>
                    </a:lnTo>
                    <a:lnTo>
                      <a:pt x="4275" y="2540"/>
                    </a:lnTo>
                    <a:lnTo>
                      <a:pt x="4318" y="2540"/>
                    </a:lnTo>
                    <a:lnTo>
                      <a:pt x="4360" y="2540"/>
                    </a:lnTo>
                    <a:lnTo>
                      <a:pt x="4402" y="2498"/>
                    </a:lnTo>
                    <a:lnTo>
                      <a:pt x="4445" y="2498"/>
                    </a:lnTo>
                    <a:lnTo>
                      <a:pt x="4402" y="2455"/>
                    </a:lnTo>
                    <a:lnTo>
                      <a:pt x="4445" y="2455"/>
                    </a:lnTo>
                    <a:lnTo>
                      <a:pt x="4487" y="2413"/>
                    </a:lnTo>
                    <a:lnTo>
                      <a:pt x="4529" y="2371"/>
                    </a:lnTo>
                    <a:lnTo>
                      <a:pt x="4487" y="2328"/>
                    </a:lnTo>
                    <a:lnTo>
                      <a:pt x="4445" y="2286"/>
                    </a:lnTo>
                    <a:lnTo>
                      <a:pt x="4445" y="2244"/>
                    </a:lnTo>
                    <a:lnTo>
                      <a:pt x="4445" y="2201"/>
                    </a:lnTo>
                    <a:lnTo>
                      <a:pt x="4445" y="2159"/>
                    </a:lnTo>
                    <a:lnTo>
                      <a:pt x="4445" y="2117"/>
                    </a:lnTo>
                    <a:lnTo>
                      <a:pt x="4445" y="2074"/>
                    </a:lnTo>
                    <a:lnTo>
                      <a:pt x="4445" y="2032"/>
                    </a:lnTo>
                    <a:lnTo>
                      <a:pt x="4402" y="2032"/>
                    </a:lnTo>
                    <a:lnTo>
                      <a:pt x="4360" y="1990"/>
                    </a:lnTo>
                    <a:lnTo>
                      <a:pt x="4275" y="1947"/>
                    </a:lnTo>
                    <a:lnTo>
                      <a:pt x="4148" y="1947"/>
                    </a:lnTo>
                    <a:lnTo>
                      <a:pt x="4106" y="1947"/>
                    </a:lnTo>
                    <a:lnTo>
                      <a:pt x="4064" y="1905"/>
                    </a:lnTo>
                    <a:lnTo>
                      <a:pt x="3979" y="1905"/>
                    </a:lnTo>
                    <a:lnTo>
                      <a:pt x="3937" y="1905"/>
                    </a:lnTo>
                    <a:lnTo>
                      <a:pt x="3894" y="1990"/>
                    </a:lnTo>
                    <a:lnTo>
                      <a:pt x="3852" y="2032"/>
                    </a:lnTo>
                    <a:lnTo>
                      <a:pt x="3852" y="2074"/>
                    </a:lnTo>
                    <a:lnTo>
                      <a:pt x="3810" y="2032"/>
                    </a:lnTo>
                    <a:lnTo>
                      <a:pt x="3767" y="2032"/>
                    </a:lnTo>
                    <a:lnTo>
                      <a:pt x="3725" y="2032"/>
                    </a:lnTo>
                    <a:lnTo>
                      <a:pt x="3683" y="2032"/>
                    </a:lnTo>
                    <a:lnTo>
                      <a:pt x="3598" y="1947"/>
                    </a:lnTo>
                    <a:lnTo>
                      <a:pt x="3556" y="1905"/>
                    </a:lnTo>
                    <a:lnTo>
                      <a:pt x="3513" y="1863"/>
                    </a:lnTo>
                    <a:lnTo>
                      <a:pt x="3556" y="1778"/>
                    </a:lnTo>
                    <a:lnTo>
                      <a:pt x="3513" y="1778"/>
                    </a:lnTo>
                    <a:lnTo>
                      <a:pt x="3471" y="1736"/>
                    </a:lnTo>
                    <a:lnTo>
                      <a:pt x="3429" y="1736"/>
                    </a:lnTo>
                    <a:lnTo>
                      <a:pt x="3513" y="1101"/>
                    </a:lnTo>
                    <a:lnTo>
                      <a:pt x="3429" y="974"/>
                    </a:lnTo>
                    <a:lnTo>
                      <a:pt x="3302" y="720"/>
                    </a:lnTo>
                    <a:lnTo>
                      <a:pt x="3302" y="677"/>
                    </a:lnTo>
                    <a:lnTo>
                      <a:pt x="3259" y="635"/>
                    </a:lnTo>
                    <a:lnTo>
                      <a:pt x="3132" y="381"/>
                    </a:lnTo>
                    <a:lnTo>
                      <a:pt x="3090" y="381"/>
                    </a:lnTo>
                    <a:lnTo>
                      <a:pt x="3090" y="296"/>
                    </a:lnTo>
                    <a:lnTo>
                      <a:pt x="3048" y="254"/>
                    </a:lnTo>
                    <a:lnTo>
                      <a:pt x="3005" y="254"/>
                    </a:lnTo>
                    <a:lnTo>
                      <a:pt x="2963" y="296"/>
                    </a:lnTo>
                    <a:lnTo>
                      <a:pt x="2921" y="296"/>
                    </a:lnTo>
                    <a:lnTo>
                      <a:pt x="2878" y="254"/>
                    </a:lnTo>
                    <a:lnTo>
                      <a:pt x="2836" y="254"/>
                    </a:lnTo>
                    <a:lnTo>
                      <a:pt x="2794" y="296"/>
                    </a:lnTo>
                    <a:lnTo>
                      <a:pt x="2709" y="296"/>
                    </a:lnTo>
                    <a:lnTo>
                      <a:pt x="2624" y="381"/>
                    </a:lnTo>
                    <a:lnTo>
                      <a:pt x="2624" y="423"/>
                    </a:lnTo>
                    <a:lnTo>
                      <a:pt x="2540" y="550"/>
                    </a:lnTo>
                    <a:lnTo>
                      <a:pt x="2497" y="550"/>
                    </a:lnTo>
                    <a:lnTo>
                      <a:pt x="2413" y="593"/>
                    </a:lnTo>
                    <a:lnTo>
                      <a:pt x="2370" y="635"/>
                    </a:lnTo>
                    <a:lnTo>
                      <a:pt x="2201" y="720"/>
                    </a:lnTo>
                    <a:lnTo>
                      <a:pt x="2159" y="677"/>
                    </a:lnTo>
                    <a:lnTo>
                      <a:pt x="2032" y="593"/>
                    </a:lnTo>
                    <a:lnTo>
                      <a:pt x="1989" y="593"/>
                    </a:lnTo>
                    <a:lnTo>
                      <a:pt x="1862" y="508"/>
                    </a:lnTo>
                    <a:lnTo>
                      <a:pt x="1820" y="466"/>
                    </a:lnTo>
                    <a:lnTo>
                      <a:pt x="1778" y="423"/>
                    </a:lnTo>
                    <a:lnTo>
                      <a:pt x="1735" y="339"/>
                    </a:lnTo>
                    <a:lnTo>
                      <a:pt x="1735" y="254"/>
                    </a:lnTo>
                    <a:lnTo>
                      <a:pt x="1735" y="169"/>
                    </a:lnTo>
                    <a:lnTo>
                      <a:pt x="1778" y="85"/>
                    </a:lnTo>
                    <a:lnTo>
                      <a:pt x="1778" y="42"/>
                    </a:lnTo>
                    <a:lnTo>
                      <a:pt x="1735" y="42"/>
                    </a:lnTo>
                    <a:lnTo>
                      <a:pt x="1735" y="85"/>
                    </a:lnTo>
                    <a:lnTo>
                      <a:pt x="1693" y="85"/>
                    </a:lnTo>
                    <a:lnTo>
                      <a:pt x="1651" y="85"/>
                    </a:lnTo>
                    <a:lnTo>
                      <a:pt x="1651" y="42"/>
                    </a:lnTo>
                    <a:lnTo>
                      <a:pt x="1651" y="0"/>
                    </a:lnTo>
                    <a:lnTo>
                      <a:pt x="1566" y="0"/>
                    </a:lnTo>
                    <a:lnTo>
                      <a:pt x="1481" y="0"/>
                    </a:lnTo>
                    <a:lnTo>
                      <a:pt x="1439" y="0"/>
                    </a:lnTo>
                    <a:lnTo>
                      <a:pt x="1397" y="0"/>
                    </a:lnTo>
                    <a:close/>
                    <a:moveTo>
                      <a:pt x="1778" y="42"/>
                    </a:moveTo>
                    <a:lnTo>
                      <a:pt x="1778" y="0"/>
                    </a:lnTo>
                    <a:lnTo>
                      <a:pt x="1735" y="0"/>
                    </a:lnTo>
                    <a:lnTo>
                      <a:pt x="1778" y="42"/>
                    </a:lnTo>
                    <a:close/>
                    <a:moveTo>
                      <a:pt x="3090" y="296"/>
                    </a:moveTo>
                    <a:lnTo>
                      <a:pt x="3132" y="339"/>
                    </a:lnTo>
                    <a:lnTo>
                      <a:pt x="3132" y="254"/>
                    </a:lnTo>
                    <a:lnTo>
                      <a:pt x="3090" y="254"/>
                    </a:lnTo>
                    <a:lnTo>
                      <a:pt x="3090" y="296"/>
                    </a:lnTo>
                    <a:close/>
                    <a:moveTo>
                      <a:pt x="2709" y="5461"/>
                    </a:moveTo>
                    <a:lnTo>
                      <a:pt x="2709" y="5503"/>
                    </a:lnTo>
                    <a:lnTo>
                      <a:pt x="2751" y="5503"/>
                    </a:lnTo>
                    <a:lnTo>
                      <a:pt x="2709" y="5461"/>
                    </a:lnTo>
                    <a:close/>
                    <a:moveTo>
                      <a:pt x="3327" y="2531"/>
                    </a:moveTo>
                    <a:lnTo>
                      <a:pt x="3331" y="2533"/>
                    </a:lnTo>
                    <a:lnTo>
                      <a:pt x="3304" y="2545"/>
                    </a:lnTo>
                    <a:lnTo>
                      <a:pt x="3327" y="2531"/>
                    </a:lnTo>
                    <a:close/>
                    <a:moveTo>
                      <a:pt x="3204" y="2618"/>
                    </a:moveTo>
                    <a:lnTo>
                      <a:pt x="3195" y="2625"/>
                    </a:lnTo>
                    <a:lnTo>
                      <a:pt x="3195" y="2625"/>
                    </a:lnTo>
                    <a:lnTo>
                      <a:pt x="3204" y="2618"/>
                    </a:lnTo>
                    <a:close/>
                    <a:moveTo>
                      <a:pt x="3195" y="2640"/>
                    </a:moveTo>
                    <a:lnTo>
                      <a:pt x="3199" y="2667"/>
                    </a:lnTo>
                    <a:lnTo>
                      <a:pt x="3135" y="2677"/>
                    </a:lnTo>
                    <a:lnTo>
                      <a:pt x="3134" y="2676"/>
                    </a:lnTo>
                    <a:lnTo>
                      <a:pt x="3048" y="2709"/>
                    </a:lnTo>
                    <a:lnTo>
                      <a:pt x="3132" y="2676"/>
                    </a:lnTo>
                    <a:lnTo>
                      <a:pt x="3134" y="2676"/>
                    </a:lnTo>
                    <a:lnTo>
                      <a:pt x="3195" y="2666"/>
                    </a:lnTo>
                    <a:lnTo>
                      <a:pt x="3195" y="2640"/>
                    </a:lnTo>
                    <a:close/>
                    <a:moveTo>
                      <a:pt x="3429" y="4530"/>
                    </a:moveTo>
                    <a:lnTo>
                      <a:pt x="3429" y="4572"/>
                    </a:lnTo>
                    <a:lnTo>
                      <a:pt x="3429" y="4614"/>
                    </a:lnTo>
                    <a:lnTo>
                      <a:pt x="3386" y="4699"/>
                    </a:lnTo>
                    <a:lnTo>
                      <a:pt x="3429" y="4699"/>
                    </a:lnTo>
                    <a:lnTo>
                      <a:pt x="3471" y="4657"/>
                    </a:lnTo>
                    <a:lnTo>
                      <a:pt x="3513" y="4657"/>
                    </a:lnTo>
                    <a:lnTo>
                      <a:pt x="3556" y="4614"/>
                    </a:lnTo>
                    <a:lnTo>
                      <a:pt x="3598" y="4614"/>
                    </a:lnTo>
                    <a:lnTo>
                      <a:pt x="3598" y="4572"/>
                    </a:lnTo>
                    <a:lnTo>
                      <a:pt x="3513" y="4614"/>
                    </a:lnTo>
                    <a:lnTo>
                      <a:pt x="3471" y="4572"/>
                    </a:lnTo>
                    <a:lnTo>
                      <a:pt x="3429" y="4530"/>
                    </a:lnTo>
                    <a:close/>
                    <a:moveTo>
                      <a:pt x="4572" y="6011"/>
                    </a:moveTo>
                    <a:lnTo>
                      <a:pt x="4572" y="6054"/>
                    </a:lnTo>
                    <a:lnTo>
                      <a:pt x="4614" y="6054"/>
                    </a:lnTo>
                    <a:lnTo>
                      <a:pt x="4572" y="6011"/>
                    </a:lnTo>
                    <a:close/>
                  </a:path>
                </a:pathLst>
              </a:custGeom>
              <a:grpFill/>
              <a:ln w="12700" cap="flat" cmpd="sng">
                <a:solidFill>
                  <a:schemeClr val="tx1"/>
                </a:solidFill>
                <a:prstDash val="solid"/>
                <a:bevel/>
                <a:headEnd/>
                <a:tailEnd/>
              </a:ln>
            </p:spPr>
            <p:txBody>
              <a:bodyPr/>
              <a:lstStyle/>
              <a:p>
                <a:endParaRPr lang="nl-NL"/>
              </a:p>
            </p:txBody>
          </p:sp>
          <p:sp>
            <p:nvSpPr>
              <p:cNvPr id="75" name="Freeform 539">
                <a:extLst>
                  <a:ext uri="{FF2B5EF4-FFF2-40B4-BE49-F238E27FC236}">
                    <a16:creationId xmlns:a16="http://schemas.microsoft.com/office/drawing/2014/main" id="{E92F564B-F74B-3A9B-8106-FCDF10796AFB}"/>
                  </a:ext>
                </a:extLst>
              </p:cNvPr>
              <p:cNvSpPr>
                <a:spLocks/>
              </p:cNvSpPr>
              <p:nvPr/>
            </p:nvSpPr>
            <p:spPr bwMode="auto">
              <a:xfrm>
                <a:off x="1728" y="-106"/>
                <a:ext cx="258" cy="428"/>
              </a:xfrm>
              <a:custGeom>
                <a:avLst/>
                <a:gdLst/>
                <a:ahLst/>
                <a:cxnLst>
                  <a:cxn ang="0">
                    <a:pos x="762" y="1355"/>
                  </a:cxn>
                  <a:cxn ang="0">
                    <a:pos x="677" y="1397"/>
                  </a:cxn>
                  <a:cxn ang="0">
                    <a:pos x="593" y="1397"/>
                  </a:cxn>
                  <a:cxn ang="0">
                    <a:pos x="466" y="1609"/>
                  </a:cxn>
                  <a:cxn ang="0">
                    <a:pos x="466" y="1651"/>
                  </a:cxn>
                  <a:cxn ang="0">
                    <a:pos x="381" y="1651"/>
                  </a:cxn>
                  <a:cxn ang="0">
                    <a:pos x="254" y="1567"/>
                  </a:cxn>
                  <a:cxn ang="0">
                    <a:pos x="254" y="1609"/>
                  </a:cxn>
                  <a:cxn ang="0">
                    <a:pos x="296" y="1651"/>
                  </a:cxn>
                  <a:cxn ang="0">
                    <a:pos x="381" y="1694"/>
                  </a:cxn>
                  <a:cxn ang="0">
                    <a:pos x="296" y="1694"/>
                  </a:cxn>
                  <a:cxn ang="0">
                    <a:pos x="296" y="1736"/>
                  </a:cxn>
                  <a:cxn ang="0">
                    <a:pos x="212" y="1736"/>
                  </a:cxn>
                  <a:cxn ang="0">
                    <a:pos x="212" y="1736"/>
                  </a:cxn>
                  <a:cxn ang="0">
                    <a:pos x="127" y="1778"/>
                  </a:cxn>
                  <a:cxn ang="0">
                    <a:pos x="42" y="1821"/>
                  </a:cxn>
                  <a:cxn ang="0">
                    <a:pos x="42" y="1694"/>
                  </a:cxn>
                  <a:cxn ang="0">
                    <a:pos x="0" y="1440"/>
                  </a:cxn>
                  <a:cxn ang="0">
                    <a:pos x="42" y="1270"/>
                  </a:cxn>
                  <a:cxn ang="0">
                    <a:pos x="42" y="1228"/>
                  </a:cxn>
                  <a:cxn ang="0">
                    <a:pos x="127" y="974"/>
                  </a:cxn>
                  <a:cxn ang="0">
                    <a:pos x="212" y="805"/>
                  </a:cxn>
                  <a:cxn ang="0">
                    <a:pos x="381" y="508"/>
                  </a:cxn>
                  <a:cxn ang="0">
                    <a:pos x="508" y="381"/>
                  </a:cxn>
                  <a:cxn ang="0">
                    <a:pos x="508" y="424"/>
                  </a:cxn>
                  <a:cxn ang="0">
                    <a:pos x="550" y="424"/>
                  </a:cxn>
                  <a:cxn ang="0">
                    <a:pos x="550" y="424"/>
                  </a:cxn>
                  <a:cxn ang="0">
                    <a:pos x="593" y="381"/>
                  </a:cxn>
                  <a:cxn ang="0">
                    <a:pos x="677" y="339"/>
                  </a:cxn>
                  <a:cxn ang="0">
                    <a:pos x="677" y="339"/>
                  </a:cxn>
                  <a:cxn ang="0">
                    <a:pos x="635" y="339"/>
                  </a:cxn>
                  <a:cxn ang="0">
                    <a:pos x="593" y="339"/>
                  </a:cxn>
                  <a:cxn ang="0">
                    <a:pos x="508" y="381"/>
                  </a:cxn>
                  <a:cxn ang="0">
                    <a:pos x="635" y="127"/>
                  </a:cxn>
                  <a:cxn ang="0">
                    <a:pos x="762" y="43"/>
                  </a:cxn>
                  <a:cxn ang="0">
                    <a:pos x="804" y="0"/>
                  </a:cxn>
                  <a:cxn ang="0">
                    <a:pos x="847" y="0"/>
                  </a:cxn>
                  <a:cxn ang="0">
                    <a:pos x="931" y="85"/>
                  </a:cxn>
                  <a:cxn ang="0">
                    <a:pos x="931" y="170"/>
                  </a:cxn>
                  <a:cxn ang="0">
                    <a:pos x="931" y="170"/>
                  </a:cxn>
                  <a:cxn ang="0">
                    <a:pos x="931" y="212"/>
                  </a:cxn>
                  <a:cxn ang="0">
                    <a:pos x="974" y="254"/>
                  </a:cxn>
                  <a:cxn ang="0">
                    <a:pos x="1101" y="424"/>
                  </a:cxn>
                  <a:cxn ang="0">
                    <a:pos x="1101" y="466"/>
                  </a:cxn>
                  <a:cxn ang="0">
                    <a:pos x="1101" y="466"/>
                  </a:cxn>
                  <a:cxn ang="0">
                    <a:pos x="1058" y="762"/>
                  </a:cxn>
                  <a:cxn ang="0">
                    <a:pos x="1058" y="932"/>
                  </a:cxn>
                  <a:cxn ang="0">
                    <a:pos x="974" y="1016"/>
                  </a:cxn>
                  <a:cxn ang="0">
                    <a:pos x="931" y="1059"/>
                  </a:cxn>
                  <a:cxn ang="0">
                    <a:pos x="931" y="1143"/>
                  </a:cxn>
                  <a:cxn ang="0">
                    <a:pos x="847" y="1270"/>
                  </a:cxn>
                </a:cxnLst>
                <a:rect l="0" t="0" r="r" b="b"/>
                <a:pathLst>
                  <a:path w="1101" h="1821">
                    <a:moveTo>
                      <a:pt x="847" y="1270"/>
                    </a:moveTo>
                    <a:lnTo>
                      <a:pt x="762" y="1355"/>
                    </a:lnTo>
                    <a:lnTo>
                      <a:pt x="720" y="1397"/>
                    </a:lnTo>
                    <a:lnTo>
                      <a:pt x="677" y="1397"/>
                    </a:lnTo>
                    <a:lnTo>
                      <a:pt x="635" y="1397"/>
                    </a:lnTo>
                    <a:lnTo>
                      <a:pt x="593" y="1397"/>
                    </a:lnTo>
                    <a:lnTo>
                      <a:pt x="466" y="1567"/>
                    </a:lnTo>
                    <a:lnTo>
                      <a:pt x="466" y="1609"/>
                    </a:lnTo>
                    <a:lnTo>
                      <a:pt x="466" y="1609"/>
                    </a:lnTo>
                    <a:lnTo>
                      <a:pt x="466" y="1651"/>
                    </a:lnTo>
                    <a:lnTo>
                      <a:pt x="423" y="1651"/>
                    </a:lnTo>
                    <a:lnTo>
                      <a:pt x="381" y="1651"/>
                    </a:lnTo>
                    <a:lnTo>
                      <a:pt x="339" y="1609"/>
                    </a:lnTo>
                    <a:lnTo>
                      <a:pt x="254" y="1567"/>
                    </a:lnTo>
                    <a:lnTo>
                      <a:pt x="212" y="1567"/>
                    </a:lnTo>
                    <a:lnTo>
                      <a:pt x="254" y="1609"/>
                    </a:lnTo>
                    <a:lnTo>
                      <a:pt x="296" y="1651"/>
                    </a:lnTo>
                    <a:lnTo>
                      <a:pt x="296" y="1651"/>
                    </a:lnTo>
                    <a:lnTo>
                      <a:pt x="339" y="1694"/>
                    </a:lnTo>
                    <a:lnTo>
                      <a:pt x="381" y="1694"/>
                    </a:lnTo>
                    <a:lnTo>
                      <a:pt x="296" y="1694"/>
                    </a:lnTo>
                    <a:lnTo>
                      <a:pt x="296" y="1694"/>
                    </a:lnTo>
                    <a:lnTo>
                      <a:pt x="296" y="1736"/>
                    </a:lnTo>
                    <a:lnTo>
                      <a:pt x="296" y="1736"/>
                    </a:lnTo>
                    <a:lnTo>
                      <a:pt x="296" y="1736"/>
                    </a:lnTo>
                    <a:lnTo>
                      <a:pt x="212" y="1736"/>
                    </a:lnTo>
                    <a:lnTo>
                      <a:pt x="169" y="1736"/>
                    </a:lnTo>
                    <a:lnTo>
                      <a:pt x="212" y="1736"/>
                    </a:lnTo>
                    <a:lnTo>
                      <a:pt x="169" y="1778"/>
                    </a:lnTo>
                    <a:lnTo>
                      <a:pt x="127" y="1778"/>
                    </a:lnTo>
                    <a:lnTo>
                      <a:pt x="85" y="1821"/>
                    </a:lnTo>
                    <a:lnTo>
                      <a:pt x="42" y="1821"/>
                    </a:lnTo>
                    <a:lnTo>
                      <a:pt x="42" y="1778"/>
                    </a:lnTo>
                    <a:lnTo>
                      <a:pt x="42" y="1694"/>
                    </a:lnTo>
                    <a:lnTo>
                      <a:pt x="0" y="1524"/>
                    </a:lnTo>
                    <a:lnTo>
                      <a:pt x="0" y="1440"/>
                    </a:lnTo>
                    <a:lnTo>
                      <a:pt x="0" y="1397"/>
                    </a:lnTo>
                    <a:lnTo>
                      <a:pt x="42" y="1270"/>
                    </a:lnTo>
                    <a:lnTo>
                      <a:pt x="42" y="1228"/>
                    </a:lnTo>
                    <a:lnTo>
                      <a:pt x="42" y="1228"/>
                    </a:lnTo>
                    <a:lnTo>
                      <a:pt x="85" y="1101"/>
                    </a:lnTo>
                    <a:lnTo>
                      <a:pt x="127" y="974"/>
                    </a:lnTo>
                    <a:lnTo>
                      <a:pt x="169" y="847"/>
                    </a:lnTo>
                    <a:lnTo>
                      <a:pt x="212" y="805"/>
                    </a:lnTo>
                    <a:lnTo>
                      <a:pt x="296" y="678"/>
                    </a:lnTo>
                    <a:lnTo>
                      <a:pt x="381" y="508"/>
                    </a:lnTo>
                    <a:lnTo>
                      <a:pt x="508" y="381"/>
                    </a:lnTo>
                    <a:lnTo>
                      <a:pt x="508" y="381"/>
                    </a:lnTo>
                    <a:lnTo>
                      <a:pt x="508" y="381"/>
                    </a:lnTo>
                    <a:lnTo>
                      <a:pt x="508" y="424"/>
                    </a:lnTo>
                    <a:lnTo>
                      <a:pt x="508" y="466"/>
                    </a:lnTo>
                    <a:lnTo>
                      <a:pt x="550" y="424"/>
                    </a:lnTo>
                    <a:lnTo>
                      <a:pt x="550" y="424"/>
                    </a:lnTo>
                    <a:lnTo>
                      <a:pt x="550" y="424"/>
                    </a:lnTo>
                    <a:lnTo>
                      <a:pt x="593" y="381"/>
                    </a:lnTo>
                    <a:lnTo>
                      <a:pt x="593" y="381"/>
                    </a:lnTo>
                    <a:lnTo>
                      <a:pt x="635" y="339"/>
                    </a:lnTo>
                    <a:lnTo>
                      <a:pt x="677" y="339"/>
                    </a:lnTo>
                    <a:lnTo>
                      <a:pt x="677" y="381"/>
                    </a:lnTo>
                    <a:lnTo>
                      <a:pt x="677" y="339"/>
                    </a:lnTo>
                    <a:lnTo>
                      <a:pt x="677" y="339"/>
                    </a:lnTo>
                    <a:lnTo>
                      <a:pt x="635" y="339"/>
                    </a:lnTo>
                    <a:lnTo>
                      <a:pt x="635" y="297"/>
                    </a:lnTo>
                    <a:lnTo>
                      <a:pt x="593" y="339"/>
                    </a:lnTo>
                    <a:lnTo>
                      <a:pt x="593" y="339"/>
                    </a:lnTo>
                    <a:lnTo>
                      <a:pt x="508" y="381"/>
                    </a:lnTo>
                    <a:lnTo>
                      <a:pt x="508" y="381"/>
                    </a:lnTo>
                    <a:lnTo>
                      <a:pt x="635" y="127"/>
                    </a:lnTo>
                    <a:lnTo>
                      <a:pt x="677" y="85"/>
                    </a:lnTo>
                    <a:lnTo>
                      <a:pt x="762" y="43"/>
                    </a:lnTo>
                    <a:lnTo>
                      <a:pt x="762" y="0"/>
                    </a:lnTo>
                    <a:lnTo>
                      <a:pt x="804" y="0"/>
                    </a:lnTo>
                    <a:lnTo>
                      <a:pt x="847" y="0"/>
                    </a:lnTo>
                    <a:lnTo>
                      <a:pt x="847" y="0"/>
                    </a:lnTo>
                    <a:lnTo>
                      <a:pt x="889" y="43"/>
                    </a:lnTo>
                    <a:lnTo>
                      <a:pt x="931" y="85"/>
                    </a:lnTo>
                    <a:lnTo>
                      <a:pt x="931" y="127"/>
                    </a:lnTo>
                    <a:lnTo>
                      <a:pt x="931" y="170"/>
                    </a:lnTo>
                    <a:lnTo>
                      <a:pt x="974" y="170"/>
                    </a:lnTo>
                    <a:lnTo>
                      <a:pt x="931" y="170"/>
                    </a:lnTo>
                    <a:lnTo>
                      <a:pt x="931" y="170"/>
                    </a:lnTo>
                    <a:lnTo>
                      <a:pt x="931" y="212"/>
                    </a:lnTo>
                    <a:lnTo>
                      <a:pt x="974" y="254"/>
                    </a:lnTo>
                    <a:lnTo>
                      <a:pt x="974" y="254"/>
                    </a:lnTo>
                    <a:lnTo>
                      <a:pt x="1016" y="297"/>
                    </a:lnTo>
                    <a:lnTo>
                      <a:pt x="1101" y="424"/>
                    </a:lnTo>
                    <a:lnTo>
                      <a:pt x="1101" y="466"/>
                    </a:lnTo>
                    <a:lnTo>
                      <a:pt x="1101" y="466"/>
                    </a:lnTo>
                    <a:lnTo>
                      <a:pt x="1101" y="466"/>
                    </a:lnTo>
                    <a:lnTo>
                      <a:pt x="1101" y="466"/>
                    </a:lnTo>
                    <a:lnTo>
                      <a:pt x="1058" y="508"/>
                    </a:lnTo>
                    <a:lnTo>
                      <a:pt x="1058" y="762"/>
                    </a:lnTo>
                    <a:lnTo>
                      <a:pt x="1058" y="889"/>
                    </a:lnTo>
                    <a:lnTo>
                      <a:pt x="1058" y="932"/>
                    </a:lnTo>
                    <a:lnTo>
                      <a:pt x="1016" y="1016"/>
                    </a:lnTo>
                    <a:lnTo>
                      <a:pt x="974" y="1016"/>
                    </a:lnTo>
                    <a:lnTo>
                      <a:pt x="931" y="1059"/>
                    </a:lnTo>
                    <a:lnTo>
                      <a:pt x="931" y="1059"/>
                    </a:lnTo>
                    <a:lnTo>
                      <a:pt x="931" y="1059"/>
                    </a:lnTo>
                    <a:lnTo>
                      <a:pt x="931" y="1143"/>
                    </a:lnTo>
                    <a:lnTo>
                      <a:pt x="847" y="1228"/>
                    </a:lnTo>
                    <a:lnTo>
                      <a:pt x="847" y="1270"/>
                    </a:lnTo>
                    <a:close/>
                  </a:path>
                </a:pathLst>
              </a:custGeom>
              <a:grpFill/>
              <a:ln w="12700" cap="flat" cmpd="sng">
                <a:solidFill>
                  <a:schemeClr val="tx1"/>
                </a:solidFill>
                <a:prstDash val="solid"/>
                <a:bevel/>
                <a:headEnd/>
                <a:tailEnd/>
              </a:ln>
            </p:spPr>
            <p:txBody>
              <a:bodyPr/>
              <a:lstStyle/>
              <a:p>
                <a:endParaRPr lang="nl-NL"/>
              </a:p>
            </p:txBody>
          </p:sp>
        </p:grpSp>
        <p:sp>
          <p:nvSpPr>
            <p:cNvPr id="52" name="Freeform 540">
              <a:extLst>
                <a:ext uri="{FF2B5EF4-FFF2-40B4-BE49-F238E27FC236}">
                  <a16:creationId xmlns:a16="http://schemas.microsoft.com/office/drawing/2014/main" id="{6F810897-38A8-08C4-A6F5-D5944FC061C9}"/>
                </a:ext>
              </a:extLst>
            </p:cNvPr>
            <p:cNvSpPr>
              <a:spLocks noEditPoints="1"/>
            </p:cNvSpPr>
            <p:nvPr/>
          </p:nvSpPr>
          <p:spPr bwMode="auto">
            <a:xfrm>
              <a:off x="2405114" y="7779358"/>
              <a:ext cx="3253981" cy="1712622"/>
            </a:xfrm>
            <a:custGeom>
              <a:avLst/>
              <a:gdLst/>
              <a:ahLst/>
              <a:cxnLst>
                <a:cxn ang="0">
                  <a:pos x="3683" y="254"/>
                </a:cxn>
                <a:cxn ang="0">
                  <a:pos x="3217" y="423"/>
                </a:cxn>
                <a:cxn ang="0">
                  <a:pos x="2751" y="931"/>
                </a:cxn>
                <a:cxn ang="0">
                  <a:pos x="1989" y="1270"/>
                </a:cxn>
                <a:cxn ang="0">
                  <a:pos x="1439" y="1185"/>
                </a:cxn>
                <a:cxn ang="0">
                  <a:pos x="1058" y="1481"/>
                </a:cxn>
                <a:cxn ang="0">
                  <a:pos x="719" y="1608"/>
                </a:cxn>
                <a:cxn ang="0">
                  <a:pos x="338" y="1778"/>
                </a:cxn>
                <a:cxn ang="0">
                  <a:pos x="0" y="1989"/>
                </a:cxn>
                <a:cxn ang="0">
                  <a:pos x="211" y="2624"/>
                </a:cxn>
                <a:cxn ang="0">
                  <a:pos x="381" y="3725"/>
                </a:cxn>
                <a:cxn ang="0">
                  <a:pos x="804" y="4148"/>
                </a:cxn>
                <a:cxn ang="0">
                  <a:pos x="1185" y="4233"/>
                </a:cxn>
                <a:cxn ang="0">
                  <a:pos x="1143" y="3640"/>
                </a:cxn>
                <a:cxn ang="0">
                  <a:pos x="1397" y="3259"/>
                </a:cxn>
                <a:cxn ang="0">
                  <a:pos x="1905" y="3429"/>
                </a:cxn>
                <a:cxn ang="0">
                  <a:pos x="2582" y="3640"/>
                </a:cxn>
                <a:cxn ang="0">
                  <a:pos x="3005" y="3217"/>
                </a:cxn>
                <a:cxn ang="0">
                  <a:pos x="3302" y="2921"/>
                </a:cxn>
                <a:cxn ang="0">
                  <a:pos x="3556" y="3132"/>
                </a:cxn>
                <a:cxn ang="0">
                  <a:pos x="3640" y="3386"/>
                </a:cxn>
                <a:cxn ang="0">
                  <a:pos x="3640" y="3725"/>
                </a:cxn>
                <a:cxn ang="0">
                  <a:pos x="3259" y="3725"/>
                </a:cxn>
                <a:cxn ang="0">
                  <a:pos x="3810" y="3810"/>
                </a:cxn>
                <a:cxn ang="0">
                  <a:pos x="4106" y="3894"/>
                </a:cxn>
                <a:cxn ang="0">
                  <a:pos x="4614" y="3344"/>
                </a:cxn>
                <a:cxn ang="0">
                  <a:pos x="4826" y="3217"/>
                </a:cxn>
                <a:cxn ang="0">
                  <a:pos x="5249" y="4318"/>
                </a:cxn>
                <a:cxn ang="0">
                  <a:pos x="5715" y="4614"/>
                </a:cxn>
                <a:cxn ang="0">
                  <a:pos x="6519" y="5122"/>
                </a:cxn>
                <a:cxn ang="0">
                  <a:pos x="7281" y="4910"/>
                </a:cxn>
                <a:cxn ang="0">
                  <a:pos x="7747" y="5122"/>
                </a:cxn>
                <a:cxn ang="0">
                  <a:pos x="7958" y="5503"/>
                </a:cxn>
                <a:cxn ang="0">
                  <a:pos x="8593" y="4614"/>
                </a:cxn>
                <a:cxn ang="0">
                  <a:pos x="9525" y="4360"/>
                </a:cxn>
                <a:cxn ang="0">
                  <a:pos x="9567" y="3471"/>
                </a:cxn>
                <a:cxn ang="0">
                  <a:pos x="9652" y="2455"/>
                </a:cxn>
                <a:cxn ang="0">
                  <a:pos x="10287" y="2370"/>
                </a:cxn>
                <a:cxn ang="0">
                  <a:pos x="10498" y="2370"/>
                </a:cxn>
                <a:cxn ang="0">
                  <a:pos x="10371" y="1905"/>
                </a:cxn>
                <a:cxn ang="0">
                  <a:pos x="10075" y="1481"/>
                </a:cxn>
                <a:cxn ang="0">
                  <a:pos x="9948" y="1058"/>
                </a:cxn>
                <a:cxn ang="0">
                  <a:pos x="9567" y="719"/>
                </a:cxn>
                <a:cxn ang="0">
                  <a:pos x="9059" y="677"/>
                </a:cxn>
                <a:cxn ang="0">
                  <a:pos x="8720" y="508"/>
                </a:cxn>
                <a:cxn ang="0">
                  <a:pos x="8424" y="338"/>
                </a:cxn>
                <a:cxn ang="0">
                  <a:pos x="8085" y="84"/>
                </a:cxn>
                <a:cxn ang="0">
                  <a:pos x="7704" y="84"/>
                </a:cxn>
                <a:cxn ang="0">
                  <a:pos x="7408" y="0"/>
                </a:cxn>
                <a:cxn ang="0">
                  <a:pos x="7027" y="169"/>
                </a:cxn>
                <a:cxn ang="0">
                  <a:pos x="6773" y="211"/>
                </a:cxn>
                <a:cxn ang="0">
                  <a:pos x="6392" y="762"/>
                </a:cxn>
                <a:cxn ang="0">
                  <a:pos x="5969" y="846"/>
                </a:cxn>
                <a:cxn ang="0">
                  <a:pos x="5503" y="804"/>
                </a:cxn>
                <a:cxn ang="0">
                  <a:pos x="5376" y="635"/>
                </a:cxn>
                <a:cxn ang="0">
                  <a:pos x="5080" y="423"/>
                </a:cxn>
                <a:cxn ang="0">
                  <a:pos x="4868" y="296"/>
                </a:cxn>
                <a:cxn ang="0">
                  <a:pos x="4529" y="84"/>
                </a:cxn>
                <a:cxn ang="0">
                  <a:pos x="4148" y="3937"/>
                </a:cxn>
                <a:cxn ang="0">
                  <a:pos x="1185" y="1185"/>
                </a:cxn>
              </a:cxnLst>
              <a:rect l="0" t="0" r="r" b="b"/>
              <a:pathLst>
                <a:path w="10541" h="5545">
                  <a:moveTo>
                    <a:pt x="4106" y="0"/>
                  </a:moveTo>
                  <a:lnTo>
                    <a:pt x="4064" y="42"/>
                  </a:lnTo>
                  <a:lnTo>
                    <a:pt x="3979" y="84"/>
                  </a:lnTo>
                  <a:lnTo>
                    <a:pt x="3937" y="84"/>
                  </a:lnTo>
                  <a:lnTo>
                    <a:pt x="3852" y="211"/>
                  </a:lnTo>
                  <a:lnTo>
                    <a:pt x="3810" y="211"/>
                  </a:lnTo>
                  <a:lnTo>
                    <a:pt x="3725" y="254"/>
                  </a:lnTo>
                  <a:lnTo>
                    <a:pt x="3683" y="254"/>
                  </a:lnTo>
                  <a:lnTo>
                    <a:pt x="3598" y="254"/>
                  </a:lnTo>
                  <a:lnTo>
                    <a:pt x="3513" y="254"/>
                  </a:lnTo>
                  <a:lnTo>
                    <a:pt x="3429" y="254"/>
                  </a:lnTo>
                  <a:lnTo>
                    <a:pt x="3344" y="296"/>
                  </a:lnTo>
                  <a:lnTo>
                    <a:pt x="3302" y="296"/>
                  </a:lnTo>
                  <a:lnTo>
                    <a:pt x="3259" y="338"/>
                  </a:lnTo>
                  <a:lnTo>
                    <a:pt x="3259" y="381"/>
                  </a:lnTo>
                  <a:lnTo>
                    <a:pt x="3217" y="423"/>
                  </a:lnTo>
                  <a:lnTo>
                    <a:pt x="3175" y="465"/>
                  </a:lnTo>
                  <a:lnTo>
                    <a:pt x="3132" y="592"/>
                  </a:lnTo>
                  <a:lnTo>
                    <a:pt x="3090" y="635"/>
                  </a:lnTo>
                  <a:lnTo>
                    <a:pt x="3048" y="719"/>
                  </a:lnTo>
                  <a:lnTo>
                    <a:pt x="2921" y="804"/>
                  </a:lnTo>
                  <a:lnTo>
                    <a:pt x="2836" y="846"/>
                  </a:lnTo>
                  <a:lnTo>
                    <a:pt x="2794" y="889"/>
                  </a:lnTo>
                  <a:lnTo>
                    <a:pt x="2751" y="931"/>
                  </a:lnTo>
                  <a:lnTo>
                    <a:pt x="2582" y="973"/>
                  </a:lnTo>
                  <a:lnTo>
                    <a:pt x="2582" y="1016"/>
                  </a:lnTo>
                  <a:lnTo>
                    <a:pt x="2497" y="1058"/>
                  </a:lnTo>
                  <a:lnTo>
                    <a:pt x="2455" y="1100"/>
                  </a:lnTo>
                  <a:lnTo>
                    <a:pt x="2413" y="1100"/>
                  </a:lnTo>
                  <a:lnTo>
                    <a:pt x="2370" y="1143"/>
                  </a:lnTo>
                  <a:lnTo>
                    <a:pt x="2328" y="1185"/>
                  </a:lnTo>
                  <a:lnTo>
                    <a:pt x="1989" y="1270"/>
                  </a:lnTo>
                  <a:lnTo>
                    <a:pt x="1947" y="1270"/>
                  </a:lnTo>
                  <a:lnTo>
                    <a:pt x="1905" y="1270"/>
                  </a:lnTo>
                  <a:lnTo>
                    <a:pt x="1778" y="1312"/>
                  </a:lnTo>
                  <a:lnTo>
                    <a:pt x="1693" y="1312"/>
                  </a:lnTo>
                  <a:lnTo>
                    <a:pt x="1566" y="1270"/>
                  </a:lnTo>
                  <a:lnTo>
                    <a:pt x="1524" y="1227"/>
                  </a:lnTo>
                  <a:lnTo>
                    <a:pt x="1481" y="1227"/>
                  </a:lnTo>
                  <a:lnTo>
                    <a:pt x="1439" y="1185"/>
                  </a:lnTo>
                  <a:lnTo>
                    <a:pt x="1397" y="1185"/>
                  </a:lnTo>
                  <a:lnTo>
                    <a:pt x="1312" y="1185"/>
                  </a:lnTo>
                  <a:lnTo>
                    <a:pt x="1270" y="1227"/>
                  </a:lnTo>
                  <a:lnTo>
                    <a:pt x="1185" y="1270"/>
                  </a:lnTo>
                  <a:lnTo>
                    <a:pt x="1143" y="1312"/>
                  </a:lnTo>
                  <a:lnTo>
                    <a:pt x="1143" y="1354"/>
                  </a:lnTo>
                  <a:lnTo>
                    <a:pt x="1100" y="1439"/>
                  </a:lnTo>
                  <a:lnTo>
                    <a:pt x="1058" y="1481"/>
                  </a:lnTo>
                  <a:lnTo>
                    <a:pt x="1016" y="1524"/>
                  </a:lnTo>
                  <a:lnTo>
                    <a:pt x="973" y="1566"/>
                  </a:lnTo>
                  <a:lnTo>
                    <a:pt x="889" y="1608"/>
                  </a:lnTo>
                  <a:lnTo>
                    <a:pt x="846" y="1608"/>
                  </a:lnTo>
                  <a:lnTo>
                    <a:pt x="804" y="1651"/>
                  </a:lnTo>
                  <a:lnTo>
                    <a:pt x="762" y="1651"/>
                  </a:lnTo>
                  <a:lnTo>
                    <a:pt x="762" y="1608"/>
                  </a:lnTo>
                  <a:lnTo>
                    <a:pt x="719" y="1608"/>
                  </a:lnTo>
                  <a:lnTo>
                    <a:pt x="677" y="1651"/>
                  </a:lnTo>
                  <a:lnTo>
                    <a:pt x="592" y="1651"/>
                  </a:lnTo>
                  <a:lnTo>
                    <a:pt x="550" y="1651"/>
                  </a:lnTo>
                  <a:lnTo>
                    <a:pt x="508" y="1693"/>
                  </a:lnTo>
                  <a:lnTo>
                    <a:pt x="465" y="1693"/>
                  </a:lnTo>
                  <a:lnTo>
                    <a:pt x="423" y="1693"/>
                  </a:lnTo>
                  <a:lnTo>
                    <a:pt x="381" y="1778"/>
                  </a:lnTo>
                  <a:lnTo>
                    <a:pt x="338" y="1778"/>
                  </a:lnTo>
                  <a:lnTo>
                    <a:pt x="338" y="1735"/>
                  </a:lnTo>
                  <a:lnTo>
                    <a:pt x="296" y="1735"/>
                  </a:lnTo>
                  <a:lnTo>
                    <a:pt x="254" y="1735"/>
                  </a:lnTo>
                  <a:lnTo>
                    <a:pt x="127" y="1778"/>
                  </a:lnTo>
                  <a:lnTo>
                    <a:pt x="84" y="1820"/>
                  </a:lnTo>
                  <a:lnTo>
                    <a:pt x="42" y="1862"/>
                  </a:lnTo>
                  <a:lnTo>
                    <a:pt x="0" y="1947"/>
                  </a:lnTo>
                  <a:lnTo>
                    <a:pt x="0" y="1989"/>
                  </a:lnTo>
                  <a:lnTo>
                    <a:pt x="0" y="2074"/>
                  </a:lnTo>
                  <a:lnTo>
                    <a:pt x="0" y="2116"/>
                  </a:lnTo>
                  <a:lnTo>
                    <a:pt x="42" y="2159"/>
                  </a:lnTo>
                  <a:lnTo>
                    <a:pt x="211" y="2370"/>
                  </a:lnTo>
                  <a:lnTo>
                    <a:pt x="211" y="2455"/>
                  </a:lnTo>
                  <a:lnTo>
                    <a:pt x="254" y="2497"/>
                  </a:lnTo>
                  <a:lnTo>
                    <a:pt x="254" y="2540"/>
                  </a:lnTo>
                  <a:lnTo>
                    <a:pt x="211" y="2624"/>
                  </a:lnTo>
                  <a:lnTo>
                    <a:pt x="169" y="2751"/>
                  </a:lnTo>
                  <a:lnTo>
                    <a:pt x="127" y="2836"/>
                  </a:lnTo>
                  <a:lnTo>
                    <a:pt x="127" y="2878"/>
                  </a:lnTo>
                  <a:lnTo>
                    <a:pt x="211" y="3048"/>
                  </a:lnTo>
                  <a:lnTo>
                    <a:pt x="381" y="3513"/>
                  </a:lnTo>
                  <a:lnTo>
                    <a:pt x="465" y="3640"/>
                  </a:lnTo>
                  <a:lnTo>
                    <a:pt x="381" y="3683"/>
                  </a:lnTo>
                  <a:lnTo>
                    <a:pt x="381" y="3725"/>
                  </a:lnTo>
                  <a:lnTo>
                    <a:pt x="423" y="3852"/>
                  </a:lnTo>
                  <a:lnTo>
                    <a:pt x="381" y="3979"/>
                  </a:lnTo>
                  <a:lnTo>
                    <a:pt x="381" y="4021"/>
                  </a:lnTo>
                  <a:lnTo>
                    <a:pt x="423" y="4021"/>
                  </a:lnTo>
                  <a:lnTo>
                    <a:pt x="465" y="4064"/>
                  </a:lnTo>
                  <a:lnTo>
                    <a:pt x="762" y="4064"/>
                  </a:lnTo>
                  <a:lnTo>
                    <a:pt x="762" y="4106"/>
                  </a:lnTo>
                  <a:lnTo>
                    <a:pt x="804" y="4148"/>
                  </a:lnTo>
                  <a:lnTo>
                    <a:pt x="804" y="4275"/>
                  </a:lnTo>
                  <a:lnTo>
                    <a:pt x="846" y="4233"/>
                  </a:lnTo>
                  <a:lnTo>
                    <a:pt x="973" y="4275"/>
                  </a:lnTo>
                  <a:lnTo>
                    <a:pt x="1016" y="4275"/>
                  </a:lnTo>
                  <a:lnTo>
                    <a:pt x="1058" y="4275"/>
                  </a:lnTo>
                  <a:lnTo>
                    <a:pt x="1100" y="4275"/>
                  </a:lnTo>
                  <a:lnTo>
                    <a:pt x="1143" y="4275"/>
                  </a:lnTo>
                  <a:lnTo>
                    <a:pt x="1185" y="4233"/>
                  </a:lnTo>
                  <a:lnTo>
                    <a:pt x="1270" y="4191"/>
                  </a:lnTo>
                  <a:lnTo>
                    <a:pt x="1312" y="4191"/>
                  </a:lnTo>
                  <a:lnTo>
                    <a:pt x="1312" y="4148"/>
                  </a:lnTo>
                  <a:lnTo>
                    <a:pt x="1312" y="4106"/>
                  </a:lnTo>
                  <a:lnTo>
                    <a:pt x="1100" y="3810"/>
                  </a:lnTo>
                  <a:lnTo>
                    <a:pt x="1058" y="3683"/>
                  </a:lnTo>
                  <a:lnTo>
                    <a:pt x="1100" y="3640"/>
                  </a:lnTo>
                  <a:lnTo>
                    <a:pt x="1143" y="3640"/>
                  </a:lnTo>
                  <a:lnTo>
                    <a:pt x="1143" y="3598"/>
                  </a:lnTo>
                  <a:lnTo>
                    <a:pt x="1143" y="3556"/>
                  </a:lnTo>
                  <a:lnTo>
                    <a:pt x="1143" y="3513"/>
                  </a:lnTo>
                  <a:lnTo>
                    <a:pt x="1143" y="3471"/>
                  </a:lnTo>
                  <a:lnTo>
                    <a:pt x="1100" y="3471"/>
                  </a:lnTo>
                  <a:lnTo>
                    <a:pt x="1058" y="3429"/>
                  </a:lnTo>
                  <a:lnTo>
                    <a:pt x="1100" y="3386"/>
                  </a:lnTo>
                  <a:lnTo>
                    <a:pt x="1397" y="3259"/>
                  </a:lnTo>
                  <a:lnTo>
                    <a:pt x="1481" y="3259"/>
                  </a:lnTo>
                  <a:lnTo>
                    <a:pt x="1524" y="3217"/>
                  </a:lnTo>
                  <a:lnTo>
                    <a:pt x="1566" y="3175"/>
                  </a:lnTo>
                  <a:lnTo>
                    <a:pt x="1608" y="3175"/>
                  </a:lnTo>
                  <a:lnTo>
                    <a:pt x="1651" y="3175"/>
                  </a:lnTo>
                  <a:lnTo>
                    <a:pt x="1947" y="3132"/>
                  </a:lnTo>
                  <a:lnTo>
                    <a:pt x="1989" y="3217"/>
                  </a:lnTo>
                  <a:lnTo>
                    <a:pt x="1905" y="3429"/>
                  </a:lnTo>
                  <a:lnTo>
                    <a:pt x="1947" y="3683"/>
                  </a:lnTo>
                  <a:lnTo>
                    <a:pt x="2159" y="3598"/>
                  </a:lnTo>
                  <a:lnTo>
                    <a:pt x="2201" y="3598"/>
                  </a:lnTo>
                  <a:lnTo>
                    <a:pt x="2286" y="3598"/>
                  </a:lnTo>
                  <a:lnTo>
                    <a:pt x="2455" y="3640"/>
                  </a:lnTo>
                  <a:lnTo>
                    <a:pt x="2540" y="3683"/>
                  </a:lnTo>
                  <a:lnTo>
                    <a:pt x="2582" y="3683"/>
                  </a:lnTo>
                  <a:lnTo>
                    <a:pt x="2582" y="3640"/>
                  </a:lnTo>
                  <a:lnTo>
                    <a:pt x="2624" y="3683"/>
                  </a:lnTo>
                  <a:lnTo>
                    <a:pt x="2709" y="3640"/>
                  </a:lnTo>
                  <a:lnTo>
                    <a:pt x="2667" y="3471"/>
                  </a:lnTo>
                  <a:lnTo>
                    <a:pt x="2794" y="3429"/>
                  </a:lnTo>
                  <a:lnTo>
                    <a:pt x="2836" y="3429"/>
                  </a:lnTo>
                  <a:lnTo>
                    <a:pt x="2878" y="3302"/>
                  </a:lnTo>
                  <a:lnTo>
                    <a:pt x="2963" y="3259"/>
                  </a:lnTo>
                  <a:lnTo>
                    <a:pt x="3005" y="3217"/>
                  </a:lnTo>
                  <a:lnTo>
                    <a:pt x="3048" y="3132"/>
                  </a:lnTo>
                  <a:lnTo>
                    <a:pt x="3132" y="3090"/>
                  </a:lnTo>
                  <a:lnTo>
                    <a:pt x="3175" y="3048"/>
                  </a:lnTo>
                  <a:lnTo>
                    <a:pt x="3132" y="3005"/>
                  </a:lnTo>
                  <a:lnTo>
                    <a:pt x="3175" y="3005"/>
                  </a:lnTo>
                  <a:lnTo>
                    <a:pt x="3217" y="3005"/>
                  </a:lnTo>
                  <a:lnTo>
                    <a:pt x="3217" y="2963"/>
                  </a:lnTo>
                  <a:lnTo>
                    <a:pt x="3302" y="2921"/>
                  </a:lnTo>
                  <a:lnTo>
                    <a:pt x="3344" y="2963"/>
                  </a:lnTo>
                  <a:lnTo>
                    <a:pt x="3344" y="3005"/>
                  </a:lnTo>
                  <a:lnTo>
                    <a:pt x="3386" y="3005"/>
                  </a:lnTo>
                  <a:lnTo>
                    <a:pt x="3429" y="3005"/>
                  </a:lnTo>
                  <a:lnTo>
                    <a:pt x="3513" y="3048"/>
                  </a:lnTo>
                  <a:lnTo>
                    <a:pt x="3556" y="3048"/>
                  </a:lnTo>
                  <a:lnTo>
                    <a:pt x="3556" y="3090"/>
                  </a:lnTo>
                  <a:lnTo>
                    <a:pt x="3556" y="3132"/>
                  </a:lnTo>
                  <a:lnTo>
                    <a:pt x="3598" y="3175"/>
                  </a:lnTo>
                  <a:lnTo>
                    <a:pt x="3640" y="3132"/>
                  </a:lnTo>
                  <a:lnTo>
                    <a:pt x="3683" y="3175"/>
                  </a:lnTo>
                  <a:lnTo>
                    <a:pt x="3640" y="3259"/>
                  </a:lnTo>
                  <a:lnTo>
                    <a:pt x="3640" y="3344"/>
                  </a:lnTo>
                  <a:lnTo>
                    <a:pt x="3683" y="3344"/>
                  </a:lnTo>
                  <a:lnTo>
                    <a:pt x="3683" y="3386"/>
                  </a:lnTo>
                  <a:lnTo>
                    <a:pt x="3640" y="3386"/>
                  </a:lnTo>
                  <a:lnTo>
                    <a:pt x="3598" y="3429"/>
                  </a:lnTo>
                  <a:lnTo>
                    <a:pt x="3556" y="3471"/>
                  </a:lnTo>
                  <a:lnTo>
                    <a:pt x="3598" y="3640"/>
                  </a:lnTo>
                  <a:lnTo>
                    <a:pt x="3598" y="3683"/>
                  </a:lnTo>
                  <a:lnTo>
                    <a:pt x="3640" y="3683"/>
                  </a:lnTo>
                  <a:lnTo>
                    <a:pt x="3683" y="3683"/>
                  </a:lnTo>
                  <a:lnTo>
                    <a:pt x="3683" y="3725"/>
                  </a:lnTo>
                  <a:lnTo>
                    <a:pt x="3640" y="3725"/>
                  </a:lnTo>
                  <a:lnTo>
                    <a:pt x="3513" y="3683"/>
                  </a:lnTo>
                  <a:lnTo>
                    <a:pt x="3471" y="3640"/>
                  </a:lnTo>
                  <a:lnTo>
                    <a:pt x="3386" y="3640"/>
                  </a:lnTo>
                  <a:lnTo>
                    <a:pt x="3386" y="3598"/>
                  </a:lnTo>
                  <a:lnTo>
                    <a:pt x="3344" y="3598"/>
                  </a:lnTo>
                  <a:lnTo>
                    <a:pt x="3259" y="3640"/>
                  </a:lnTo>
                  <a:lnTo>
                    <a:pt x="3259" y="3683"/>
                  </a:lnTo>
                  <a:lnTo>
                    <a:pt x="3259" y="3725"/>
                  </a:lnTo>
                  <a:lnTo>
                    <a:pt x="3302" y="3767"/>
                  </a:lnTo>
                  <a:lnTo>
                    <a:pt x="3386" y="3810"/>
                  </a:lnTo>
                  <a:lnTo>
                    <a:pt x="3429" y="3810"/>
                  </a:lnTo>
                  <a:lnTo>
                    <a:pt x="3556" y="3767"/>
                  </a:lnTo>
                  <a:lnTo>
                    <a:pt x="3640" y="3767"/>
                  </a:lnTo>
                  <a:lnTo>
                    <a:pt x="3725" y="3767"/>
                  </a:lnTo>
                  <a:lnTo>
                    <a:pt x="3767" y="3810"/>
                  </a:lnTo>
                  <a:lnTo>
                    <a:pt x="3810" y="3810"/>
                  </a:lnTo>
                  <a:lnTo>
                    <a:pt x="3810" y="3767"/>
                  </a:lnTo>
                  <a:lnTo>
                    <a:pt x="3852" y="3767"/>
                  </a:lnTo>
                  <a:lnTo>
                    <a:pt x="3894" y="3767"/>
                  </a:lnTo>
                  <a:lnTo>
                    <a:pt x="3937" y="3767"/>
                  </a:lnTo>
                  <a:lnTo>
                    <a:pt x="3979" y="3767"/>
                  </a:lnTo>
                  <a:lnTo>
                    <a:pt x="4064" y="3852"/>
                  </a:lnTo>
                  <a:lnTo>
                    <a:pt x="4064" y="3894"/>
                  </a:lnTo>
                  <a:lnTo>
                    <a:pt x="4106" y="3894"/>
                  </a:lnTo>
                  <a:lnTo>
                    <a:pt x="4148" y="3937"/>
                  </a:lnTo>
                  <a:lnTo>
                    <a:pt x="4191" y="3937"/>
                  </a:lnTo>
                  <a:lnTo>
                    <a:pt x="4360" y="3683"/>
                  </a:lnTo>
                  <a:lnTo>
                    <a:pt x="4614" y="3513"/>
                  </a:lnTo>
                  <a:lnTo>
                    <a:pt x="4614" y="3429"/>
                  </a:lnTo>
                  <a:lnTo>
                    <a:pt x="4656" y="3429"/>
                  </a:lnTo>
                  <a:lnTo>
                    <a:pt x="4656" y="3386"/>
                  </a:lnTo>
                  <a:lnTo>
                    <a:pt x="4614" y="3344"/>
                  </a:lnTo>
                  <a:lnTo>
                    <a:pt x="4614" y="3302"/>
                  </a:lnTo>
                  <a:lnTo>
                    <a:pt x="4656" y="3259"/>
                  </a:lnTo>
                  <a:lnTo>
                    <a:pt x="4656" y="3217"/>
                  </a:lnTo>
                  <a:lnTo>
                    <a:pt x="4699" y="3175"/>
                  </a:lnTo>
                  <a:lnTo>
                    <a:pt x="4783" y="3132"/>
                  </a:lnTo>
                  <a:lnTo>
                    <a:pt x="4826" y="3132"/>
                  </a:lnTo>
                  <a:lnTo>
                    <a:pt x="4783" y="3175"/>
                  </a:lnTo>
                  <a:lnTo>
                    <a:pt x="4826" y="3217"/>
                  </a:lnTo>
                  <a:lnTo>
                    <a:pt x="4826" y="3259"/>
                  </a:lnTo>
                  <a:lnTo>
                    <a:pt x="4868" y="3259"/>
                  </a:lnTo>
                  <a:lnTo>
                    <a:pt x="5037" y="3259"/>
                  </a:lnTo>
                  <a:lnTo>
                    <a:pt x="5164" y="3640"/>
                  </a:lnTo>
                  <a:lnTo>
                    <a:pt x="5122" y="3725"/>
                  </a:lnTo>
                  <a:lnTo>
                    <a:pt x="4995" y="3979"/>
                  </a:lnTo>
                  <a:lnTo>
                    <a:pt x="5249" y="4275"/>
                  </a:lnTo>
                  <a:lnTo>
                    <a:pt x="5249" y="4318"/>
                  </a:lnTo>
                  <a:lnTo>
                    <a:pt x="5291" y="4360"/>
                  </a:lnTo>
                  <a:lnTo>
                    <a:pt x="5334" y="4402"/>
                  </a:lnTo>
                  <a:lnTo>
                    <a:pt x="5334" y="4699"/>
                  </a:lnTo>
                  <a:lnTo>
                    <a:pt x="5503" y="4741"/>
                  </a:lnTo>
                  <a:lnTo>
                    <a:pt x="5545" y="4699"/>
                  </a:lnTo>
                  <a:lnTo>
                    <a:pt x="5672" y="4656"/>
                  </a:lnTo>
                  <a:lnTo>
                    <a:pt x="5715" y="4656"/>
                  </a:lnTo>
                  <a:lnTo>
                    <a:pt x="5715" y="4614"/>
                  </a:lnTo>
                  <a:lnTo>
                    <a:pt x="5969" y="4783"/>
                  </a:lnTo>
                  <a:lnTo>
                    <a:pt x="5884" y="5122"/>
                  </a:lnTo>
                  <a:lnTo>
                    <a:pt x="5926" y="5164"/>
                  </a:lnTo>
                  <a:lnTo>
                    <a:pt x="6096" y="5122"/>
                  </a:lnTo>
                  <a:lnTo>
                    <a:pt x="6265" y="5164"/>
                  </a:lnTo>
                  <a:lnTo>
                    <a:pt x="6392" y="5164"/>
                  </a:lnTo>
                  <a:lnTo>
                    <a:pt x="6477" y="5164"/>
                  </a:lnTo>
                  <a:lnTo>
                    <a:pt x="6519" y="5122"/>
                  </a:lnTo>
                  <a:lnTo>
                    <a:pt x="6561" y="5037"/>
                  </a:lnTo>
                  <a:lnTo>
                    <a:pt x="6688" y="5080"/>
                  </a:lnTo>
                  <a:lnTo>
                    <a:pt x="6858" y="5122"/>
                  </a:lnTo>
                  <a:lnTo>
                    <a:pt x="6942" y="5164"/>
                  </a:lnTo>
                  <a:lnTo>
                    <a:pt x="7069" y="5037"/>
                  </a:lnTo>
                  <a:lnTo>
                    <a:pt x="7112" y="4995"/>
                  </a:lnTo>
                  <a:lnTo>
                    <a:pt x="7239" y="4953"/>
                  </a:lnTo>
                  <a:lnTo>
                    <a:pt x="7281" y="4910"/>
                  </a:lnTo>
                  <a:lnTo>
                    <a:pt x="7323" y="4868"/>
                  </a:lnTo>
                  <a:lnTo>
                    <a:pt x="7323" y="4826"/>
                  </a:lnTo>
                  <a:lnTo>
                    <a:pt x="7366" y="4826"/>
                  </a:lnTo>
                  <a:lnTo>
                    <a:pt x="7535" y="4868"/>
                  </a:lnTo>
                  <a:lnTo>
                    <a:pt x="7535" y="4910"/>
                  </a:lnTo>
                  <a:lnTo>
                    <a:pt x="7577" y="4995"/>
                  </a:lnTo>
                  <a:lnTo>
                    <a:pt x="7704" y="5080"/>
                  </a:lnTo>
                  <a:lnTo>
                    <a:pt x="7747" y="5122"/>
                  </a:lnTo>
                  <a:lnTo>
                    <a:pt x="7747" y="5164"/>
                  </a:lnTo>
                  <a:lnTo>
                    <a:pt x="7747" y="5207"/>
                  </a:lnTo>
                  <a:lnTo>
                    <a:pt x="7747" y="5249"/>
                  </a:lnTo>
                  <a:lnTo>
                    <a:pt x="7747" y="5291"/>
                  </a:lnTo>
                  <a:lnTo>
                    <a:pt x="7747" y="5376"/>
                  </a:lnTo>
                  <a:lnTo>
                    <a:pt x="7789" y="5545"/>
                  </a:lnTo>
                  <a:lnTo>
                    <a:pt x="7831" y="5545"/>
                  </a:lnTo>
                  <a:lnTo>
                    <a:pt x="7958" y="5503"/>
                  </a:lnTo>
                  <a:lnTo>
                    <a:pt x="8001" y="5503"/>
                  </a:lnTo>
                  <a:lnTo>
                    <a:pt x="8128" y="5461"/>
                  </a:lnTo>
                  <a:lnTo>
                    <a:pt x="8128" y="5291"/>
                  </a:lnTo>
                  <a:lnTo>
                    <a:pt x="8170" y="5080"/>
                  </a:lnTo>
                  <a:lnTo>
                    <a:pt x="8255" y="4910"/>
                  </a:lnTo>
                  <a:lnTo>
                    <a:pt x="8297" y="4826"/>
                  </a:lnTo>
                  <a:lnTo>
                    <a:pt x="8424" y="4699"/>
                  </a:lnTo>
                  <a:lnTo>
                    <a:pt x="8593" y="4614"/>
                  </a:lnTo>
                  <a:lnTo>
                    <a:pt x="8636" y="4614"/>
                  </a:lnTo>
                  <a:lnTo>
                    <a:pt x="8847" y="4572"/>
                  </a:lnTo>
                  <a:lnTo>
                    <a:pt x="8932" y="4529"/>
                  </a:lnTo>
                  <a:lnTo>
                    <a:pt x="8974" y="4529"/>
                  </a:lnTo>
                  <a:lnTo>
                    <a:pt x="9017" y="4487"/>
                  </a:lnTo>
                  <a:lnTo>
                    <a:pt x="9355" y="4402"/>
                  </a:lnTo>
                  <a:lnTo>
                    <a:pt x="9482" y="4360"/>
                  </a:lnTo>
                  <a:lnTo>
                    <a:pt x="9525" y="4360"/>
                  </a:lnTo>
                  <a:lnTo>
                    <a:pt x="9567" y="4318"/>
                  </a:lnTo>
                  <a:lnTo>
                    <a:pt x="9609" y="4318"/>
                  </a:lnTo>
                  <a:lnTo>
                    <a:pt x="9694" y="4233"/>
                  </a:lnTo>
                  <a:lnTo>
                    <a:pt x="9821" y="4106"/>
                  </a:lnTo>
                  <a:lnTo>
                    <a:pt x="9906" y="4064"/>
                  </a:lnTo>
                  <a:lnTo>
                    <a:pt x="9821" y="3937"/>
                  </a:lnTo>
                  <a:lnTo>
                    <a:pt x="9736" y="3767"/>
                  </a:lnTo>
                  <a:lnTo>
                    <a:pt x="9567" y="3471"/>
                  </a:lnTo>
                  <a:lnTo>
                    <a:pt x="9567" y="3429"/>
                  </a:lnTo>
                  <a:lnTo>
                    <a:pt x="9482" y="3048"/>
                  </a:lnTo>
                  <a:lnTo>
                    <a:pt x="9440" y="2963"/>
                  </a:lnTo>
                  <a:lnTo>
                    <a:pt x="9440" y="2878"/>
                  </a:lnTo>
                  <a:lnTo>
                    <a:pt x="9398" y="2751"/>
                  </a:lnTo>
                  <a:lnTo>
                    <a:pt x="9355" y="2370"/>
                  </a:lnTo>
                  <a:lnTo>
                    <a:pt x="9525" y="2413"/>
                  </a:lnTo>
                  <a:lnTo>
                    <a:pt x="9652" y="2455"/>
                  </a:lnTo>
                  <a:lnTo>
                    <a:pt x="9736" y="2497"/>
                  </a:lnTo>
                  <a:lnTo>
                    <a:pt x="9821" y="2497"/>
                  </a:lnTo>
                  <a:lnTo>
                    <a:pt x="9906" y="2497"/>
                  </a:lnTo>
                  <a:lnTo>
                    <a:pt x="9990" y="2455"/>
                  </a:lnTo>
                  <a:lnTo>
                    <a:pt x="10117" y="2413"/>
                  </a:lnTo>
                  <a:lnTo>
                    <a:pt x="10202" y="2370"/>
                  </a:lnTo>
                  <a:lnTo>
                    <a:pt x="10287" y="2328"/>
                  </a:lnTo>
                  <a:lnTo>
                    <a:pt x="10287" y="2370"/>
                  </a:lnTo>
                  <a:lnTo>
                    <a:pt x="10329" y="2370"/>
                  </a:lnTo>
                  <a:lnTo>
                    <a:pt x="10371" y="2413"/>
                  </a:lnTo>
                  <a:lnTo>
                    <a:pt x="10456" y="2497"/>
                  </a:lnTo>
                  <a:lnTo>
                    <a:pt x="10456" y="2455"/>
                  </a:lnTo>
                  <a:lnTo>
                    <a:pt x="10498" y="2455"/>
                  </a:lnTo>
                  <a:lnTo>
                    <a:pt x="10541" y="2455"/>
                  </a:lnTo>
                  <a:lnTo>
                    <a:pt x="10498" y="2413"/>
                  </a:lnTo>
                  <a:lnTo>
                    <a:pt x="10498" y="2370"/>
                  </a:lnTo>
                  <a:lnTo>
                    <a:pt x="10498" y="2328"/>
                  </a:lnTo>
                  <a:lnTo>
                    <a:pt x="10498" y="2286"/>
                  </a:lnTo>
                  <a:lnTo>
                    <a:pt x="10498" y="2243"/>
                  </a:lnTo>
                  <a:lnTo>
                    <a:pt x="10456" y="2159"/>
                  </a:lnTo>
                  <a:lnTo>
                    <a:pt x="10414" y="2116"/>
                  </a:lnTo>
                  <a:lnTo>
                    <a:pt x="10414" y="2074"/>
                  </a:lnTo>
                  <a:lnTo>
                    <a:pt x="10414" y="1947"/>
                  </a:lnTo>
                  <a:lnTo>
                    <a:pt x="10371" y="1905"/>
                  </a:lnTo>
                  <a:lnTo>
                    <a:pt x="10371" y="1862"/>
                  </a:lnTo>
                  <a:lnTo>
                    <a:pt x="10329" y="1820"/>
                  </a:lnTo>
                  <a:lnTo>
                    <a:pt x="10287" y="1778"/>
                  </a:lnTo>
                  <a:lnTo>
                    <a:pt x="10244" y="1735"/>
                  </a:lnTo>
                  <a:lnTo>
                    <a:pt x="10117" y="1693"/>
                  </a:lnTo>
                  <a:lnTo>
                    <a:pt x="10117" y="1651"/>
                  </a:lnTo>
                  <a:lnTo>
                    <a:pt x="10075" y="1608"/>
                  </a:lnTo>
                  <a:lnTo>
                    <a:pt x="10075" y="1481"/>
                  </a:lnTo>
                  <a:lnTo>
                    <a:pt x="10075" y="1439"/>
                  </a:lnTo>
                  <a:lnTo>
                    <a:pt x="10075" y="1397"/>
                  </a:lnTo>
                  <a:lnTo>
                    <a:pt x="10075" y="1312"/>
                  </a:lnTo>
                  <a:lnTo>
                    <a:pt x="10033" y="1312"/>
                  </a:lnTo>
                  <a:lnTo>
                    <a:pt x="10033" y="1270"/>
                  </a:lnTo>
                  <a:lnTo>
                    <a:pt x="10033" y="1185"/>
                  </a:lnTo>
                  <a:lnTo>
                    <a:pt x="9990" y="1058"/>
                  </a:lnTo>
                  <a:lnTo>
                    <a:pt x="9948" y="1058"/>
                  </a:lnTo>
                  <a:lnTo>
                    <a:pt x="9906" y="1016"/>
                  </a:lnTo>
                  <a:lnTo>
                    <a:pt x="9821" y="1016"/>
                  </a:lnTo>
                  <a:lnTo>
                    <a:pt x="9736" y="973"/>
                  </a:lnTo>
                  <a:lnTo>
                    <a:pt x="9652" y="973"/>
                  </a:lnTo>
                  <a:lnTo>
                    <a:pt x="9609" y="931"/>
                  </a:lnTo>
                  <a:lnTo>
                    <a:pt x="9609" y="846"/>
                  </a:lnTo>
                  <a:lnTo>
                    <a:pt x="9567" y="762"/>
                  </a:lnTo>
                  <a:lnTo>
                    <a:pt x="9567" y="719"/>
                  </a:lnTo>
                  <a:lnTo>
                    <a:pt x="9567" y="677"/>
                  </a:lnTo>
                  <a:lnTo>
                    <a:pt x="9525" y="677"/>
                  </a:lnTo>
                  <a:lnTo>
                    <a:pt x="9482" y="635"/>
                  </a:lnTo>
                  <a:lnTo>
                    <a:pt x="9440" y="635"/>
                  </a:lnTo>
                  <a:lnTo>
                    <a:pt x="9355" y="635"/>
                  </a:lnTo>
                  <a:lnTo>
                    <a:pt x="9228" y="635"/>
                  </a:lnTo>
                  <a:lnTo>
                    <a:pt x="9186" y="635"/>
                  </a:lnTo>
                  <a:lnTo>
                    <a:pt x="9059" y="677"/>
                  </a:lnTo>
                  <a:lnTo>
                    <a:pt x="9017" y="677"/>
                  </a:lnTo>
                  <a:lnTo>
                    <a:pt x="8932" y="677"/>
                  </a:lnTo>
                  <a:lnTo>
                    <a:pt x="8890" y="677"/>
                  </a:lnTo>
                  <a:lnTo>
                    <a:pt x="8847" y="677"/>
                  </a:lnTo>
                  <a:lnTo>
                    <a:pt x="8805" y="635"/>
                  </a:lnTo>
                  <a:lnTo>
                    <a:pt x="8805" y="592"/>
                  </a:lnTo>
                  <a:lnTo>
                    <a:pt x="8763" y="550"/>
                  </a:lnTo>
                  <a:lnTo>
                    <a:pt x="8720" y="508"/>
                  </a:lnTo>
                  <a:lnTo>
                    <a:pt x="8678" y="508"/>
                  </a:lnTo>
                  <a:lnTo>
                    <a:pt x="8636" y="508"/>
                  </a:lnTo>
                  <a:lnTo>
                    <a:pt x="8593" y="465"/>
                  </a:lnTo>
                  <a:lnTo>
                    <a:pt x="8551" y="465"/>
                  </a:lnTo>
                  <a:lnTo>
                    <a:pt x="8551" y="381"/>
                  </a:lnTo>
                  <a:lnTo>
                    <a:pt x="8509" y="381"/>
                  </a:lnTo>
                  <a:lnTo>
                    <a:pt x="8466" y="338"/>
                  </a:lnTo>
                  <a:lnTo>
                    <a:pt x="8424" y="338"/>
                  </a:lnTo>
                  <a:lnTo>
                    <a:pt x="8382" y="338"/>
                  </a:lnTo>
                  <a:lnTo>
                    <a:pt x="8339" y="296"/>
                  </a:lnTo>
                  <a:lnTo>
                    <a:pt x="8297" y="254"/>
                  </a:lnTo>
                  <a:lnTo>
                    <a:pt x="8255" y="211"/>
                  </a:lnTo>
                  <a:lnTo>
                    <a:pt x="8255" y="127"/>
                  </a:lnTo>
                  <a:lnTo>
                    <a:pt x="8212" y="84"/>
                  </a:lnTo>
                  <a:lnTo>
                    <a:pt x="8128" y="84"/>
                  </a:lnTo>
                  <a:lnTo>
                    <a:pt x="8085" y="84"/>
                  </a:lnTo>
                  <a:lnTo>
                    <a:pt x="8043" y="42"/>
                  </a:lnTo>
                  <a:lnTo>
                    <a:pt x="7958" y="0"/>
                  </a:lnTo>
                  <a:lnTo>
                    <a:pt x="7916" y="0"/>
                  </a:lnTo>
                  <a:lnTo>
                    <a:pt x="7874" y="0"/>
                  </a:lnTo>
                  <a:lnTo>
                    <a:pt x="7789" y="0"/>
                  </a:lnTo>
                  <a:lnTo>
                    <a:pt x="7747" y="0"/>
                  </a:lnTo>
                  <a:lnTo>
                    <a:pt x="7704" y="42"/>
                  </a:lnTo>
                  <a:lnTo>
                    <a:pt x="7704" y="84"/>
                  </a:lnTo>
                  <a:lnTo>
                    <a:pt x="7662" y="127"/>
                  </a:lnTo>
                  <a:lnTo>
                    <a:pt x="7620" y="127"/>
                  </a:lnTo>
                  <a:lnTo>
                    <a:pt x="7577" y="84"/>
                  </a:lnTo>
                  <a:lnTo>
                    <a:pt x="7535" y="84"/>
                  </a:lnTo>
                  <a:lnTo>
                    <a:pt x="7493" y="84"/>
                  </a:lnTo>
                  <a:lnTo>
                    <a:pt x="7493" y="42"/>
                  </a:lnTo>
                  <a:lnTo>
                    <a:pt x="7450" y="0"/>
                  </a:lnTo>
                  <a:lnTo>
                    <a:pt x="7408" y="0"/>
                  </a:lnTo>
                  <a:lnTo>
                    <a:pt x="7366" y="0"/>
                  </a:lnTo>
                  <a:lnTo>
                    <a:pt x="7323" y="0"/>
                  </a:lnTo>
                  <a:lnTo>
                    <a:pt x="7323" y="42"/>
                  </a:lnTo>
                  <a:lnTo>
                    <a:pt x="7281" y="127"/>
                  </a:lnTo>
                  <a:lnTo>
                    <a:pt x="7239" y="169"/>
                  </a:lnTo>
                  <a:lnTo>
                    <a:pt x="7154" y="169"/>
                  </a:lnTo>
                  <a:lnTo>
                    <a:pt x="7069" y="169"/>
                  </a:lnTo>
                  <a:lnTo>
                    <a:pt x="7027" y="169"/>
                  </a:lnTo>
                  <a:lnTo>
                    <a:pt x="6985" y="127"/>
                  </a:lnTo>
                  <a:lnTo>
                    <a:pt x="6942" y="84"/>
                  </a:lnTo>
                  <a:lnTo>
                    <a:pt x="6942" y="42"/>
                  </a:lnTo>
                  <a:lnTo>
                    <a:pt x="6900" y="42"/>
                  </a:lnTo>
                  <a:lnTo>
                    <a:pt x="6858" y="84"/>
                  </a:lnTo>
                  <a:lnTo>
                    <a:pt x="6858" y="127"/>
                  </a:lnTo>
                  <a:lnTo>
                    <a:pt x="6815" y="169"/>
                  </a:lnTo>
                  <a:lnTo>
                    <a:pt x="6773" y="211"/>
                  </a:lnTo>
                  <a:lnTo>
                    <a:pt x="6688" y="338"/>
                  </a:lnTo>
                  <a:lnTo>
                    <a:pt x="6688" y="381"/>
                  </a:lnTo>
                  <a:lnTo>
                    <a:pt x="6646" y="465"/>
                  </a:lnTo>
                  <a:lnTo>
                    <a:pt x="6646" y="550"/>
                  </a:lnTo>
                  <a:lnTo>
                    <a:pt x="6646" y="635"/>
                  </a:lnTo>
                  <a:lnTo>
                    <a:pt x="6604" y="635"/>
                  </a:lnTo>
                  <a:lnTo>
                    <a:pt x="6604" y="677"/>
                  </a:lnTo>
                  <a:lnTo>
                    <a:pt x="6392" y="762"/>
                  </a:lnTo>
                  <a:lnTo>
                    <a:pt x="6307" y="804"/>
                  </a:lnTo>
                  <a:lnTo>
                    <a:pt x="6307" y="846"/>
                  </a:lnTo>
                  <a:lnTo>
                    <a:pt x="6265" y="846"/>
                  </a:lnTo>
                  <a:lnTo>
                    <a:pt x="6180" y="804"/>
                  </a:lnTo>
                  <a:lnTo>
                    <a:pt x="6096" y="804"/>
                  </a:lnTo>
                  <a:lnTo>
                    <a:pt x="6053" y="846"/>
                  </a:lnTo>
                  <a:lnTo>
                    <a:pt x="6011" y="889"/>
                  </a:lnTo>
                  <a:lnTo>
                    <a:pt x="5969" y="846"/>
                  </a:lnTo>
                  <a:lnTo>
                    <a:pt x="5884" y="804"/>
                  </a:lnTo>
                  <a:lnTo>
                    <a:pt x="5842" y="762"/>
                  </a:lnTo>
                  <a:lnTo>
                    <a:pt x="5799" y="804"/>
                  </a:lnTo>
                  <a:lnTo>
                    <a:pt x="5757" y="804"/>
                  </a:lnTo>
                  <a:lnTo>
                    <a:pt x="5715" y="804"/>
                  </a:lnTo>
                  <a:lnTo>
                    <a:pt x="5630" y="804"/>
                  </a:lnTo>
                  <a:lnTo>
                    <a:pt x="5588" y="804"/>
                  </a:lnTo>
                  <a:lnTo>
                    <a:pt x="5503" y="804"/>
                  </a:lnTo>
                  <a:lnTo>
                    <a:pt x="5418" y="804"/>
                  </a:lnTo>
                  <a:lnTo>
                    <a:pt x="5334" y="846"/>
                  </a:lnTo>
                  <a:lnTo>
                    <a:pt x="5291" y="804"/>
                  </a:lnTo>
                  <a:lnTo>
                    <a:pt x="5291" y="762"/>
                  </a:lnTo>
                  <a:lnTo>
                    <a:pt x="5334" y="762"/>
                  </a:lnTo>
                  <a:lnTo>
                    <a:pt x="5376" y="719"/>
                  </a:lnTo>
                  <a:lnTo>
                    <a:pt x="5418" y="677"/>
                  </a:lnTo>
                  <a:lnTo>
                    <a:pt x="5376" y="635"/>
                  </a:lnTo>
                  <a:lnTo>
                    <a:pt x="5376" y="592"/>
                  </a:lnTo>
                  <a:lnTo>
                    <a:pt x="5376" y="550"/>
                  </a:lnTo>
                  <a:lnTo>
                    <a:pt x="5376" y="508"/>
                  </a:lnTo>
                  <a:lnTo>
                    <a:pt x="5249" y="465"/>
                  </a:lnTo>
                  <a:lnTo>
                    <a:pt x="5207" y="423"/>
                  </a:lnTo>
                  <a:lnTo>
                    <a:pt x="5164" y="381"/>
                  </a:lnTo>
                  <a:lnTo>
                    <a:pt x="5122" y="381"/>
                  </a:lnTo>
                  <a:lnTo>
                    <a:pt x="5080" y="423"/>
                  </a:lnTo>
                  <a:lnTo>
                    <a:pt x="5037" y="465"/>
                  </a:lnTo>
                  <a:lnTo>
                    <a:pt x="4995" y="465"/>
                  </a:lnTo>
                  <a:lnTo>
                    <a:pt x="4995" y="423"/>
                  </a:lnTo>
                  <a:lnTo>
                    <a:pt x="4953" y="423"/>
                  </a:lnTo>
                  <a:lnTo>
                    <a:pt x="4953" y="381"/>
                  </a:lnTo>
                  <a:lnTo>
                    <a:pt x="4910" y="338"/>
                  </a:lnTo>
                  <a:lnTo>
                    <a:pt x="4910" y="296"/>
                  </a:lnTo>
                  <a:lnTo>
                    <a:pt x="4868" y="296"/>
                  </a:lnTo>
                  <a:lnTo>
                    <a:pt x="4826" y="254"/>
                  </a:lnTo>
                  <a:lnTo>
                    <a:pt x="4741" y="211"/>
                  </a:lnTo>
                  <a:lnTo>
                    <a:pt x="4699" y="169"/>
                  </a:lnTo>
                  <a:lnTo>
                    <a:pt x="4656" y="169"/>
                  </a:lnTo>
                  <a:lnTo>
                    <a:pt x="4656" y="127"/>
                  </a:lnTo>
                  <a:lnTo>
                    <a:pt x="4656" y="84"/>
                  </a:lnTo>
                  <a:lnTo>
                    <a:pt x="4614" y="84"/>
                  </a:lnTo>
                  <a:lnTo>
                    <a:pt x="4529" y="84"/>
                  </a:lnTo>
                  <a:lnTo>
                    <a:pt x="4487" y="42"/>
                  </a:lnTo>
                  <a:lnTo>
                    <a:pt x="4445" y="42"/>
                  </a:lnTo>
                  <a:lnTo>
                    <a:pt x="4360" y="42"/>
                  </a:lnTo>
                  <a:lnTo>
                    <a:pt x="4275" y="0"/>
                  </a:lnTo>
                  <a:lnTo>
                    <a:pt x="4233" y="0"/>
                  </a:lnTo>
                  <a:lnTo>
                    <a:pt x="4191" y="0"/>
                  </a:lnTo>
                  <a:lnTo>
                    <a:pt x="4106" y="0"/>
                  </a:lnTo>
                  <a:close/>
                  <a:moveTo>
                    <a:pt x="4148" y="3937"/>
                  </a:moveTo>
                  <a:lnTo>
                    <a:pt x="4106" y="3937"/>
                  </a:lnTo>
                  <a:lnTo>
                    <a:pt x="4064" y="3937"/>
                  </a:lnTo>
                  <a:lnTo>
                    <a:pt x="4106" y="3979"/>
                  </a:lnTo>
                  <a:lnTo>
                    <a:pt x="4148" y="3937"/>
                  </a:lnTo>
                  <a:close/>
                  <a:moveTo>
                    <a:pt x="1227" y="1143"/>
                  </a:moveTo>
                  <a:lnTo>
                    <a:pt x="1143" y="1185"/>
                  </a:lnTo>
                  <a:lnTo>
                    <a:pt x="1185" y="1227"/>
                  </a:lnTo>
                  <a:lnTo>
                    <a:pt x="1185" y="1185"/>
                  </a:lnTo>
                  <a:lnTo>
                    <a:pt x="1227" y="1143"/>
                  </a:lnTo>
                  <a:close/>
                </a:path>
              </a:pathLst>
            </a:custGeom>
            <a:noFill/>
            <a:ln w="12700" cap="flat" cmpd="sng">
              <a:solidFill>
                <a:schemeClr val="tx1"/>
              </a:solidFill>
              <a:prstDash val="solid"/>
              <a:bevel/>
              <a:headEnd/>
              <a:tailEnd/>
            </a:ln>
          </p:spPr>
          <p:txBody>
            <a:bodyPr/>
            <a:lstStyle/>
            <a:p>
              <a:endParaRPr lang="nl-NL"/>
            </a:p>
          </p:txBody>
        </p:sp>
        <p:sp>
          <p:nvSpPr>
            <p:cNvPr id="53" name="Freeform 541">
              <a:extLst>
                <a:ext uri="{FF2B5EF4-FFF2-40B4-BE49-F238E27FC236}">
                  <a16:creationId xmlns:a16="http://schemas.microsoft.com/office/drawing/2014/main" id="{2A0330A5-9A13-218C-6A7F-6D60ED5EFBAB}"/>
                </a:ext>
              </a:extLst>
            </p:cNvPr>
            <p:cNvSpPr>
              <a:spLocks/>
            </p:cNvSpPr>
            <p:nvPr/>
          </p:nvSpPr>
          <p:spPr bwMode="auto">
            <a:xfrm>
              <a:off x="4821228" y="7921638"/>
              <a:ext cx="1164583" cy="2890380"/>
            </a:xfrm>
            <a:custGeom>
              <a:avLst/>
              <a:gdLst/>
              <a:ahLst/>
              <a:cxnLst>
                <a:cxn ang="0">
                  <a:pos x="1736" y="254"/>
                </a:cxn>
                <a:cxn ang="0">
                  <a:pos x="2159" y="593"/>
                </a:cxn>
                <a:cxn ang="0">
                  <a:pos x="2286" y="1186"/>
                </a:cxn>
                <a:cxn ang="0">
                  <a:pos x="2583" y="1651"/>
                </a:cxn>
                <a:cxn ang="0">
                  <a:pos x="2625" y="1990"/>
                </a:cxn>
                <a:cxn ang="0">
                  <a:pos x="2075" y="2032"/>
                </a:cxn>
                <a:cxn ang="0">
                  <a:pos x="1651" y="2583"/>
                </a:cxn>
                <a:cxn ang="0">
                  <a:pos x="1736" y="3853"/>
                </a:cxn>
                <a:cxn ang="0">
                  <a:pos x="762" y="4149"/>
                </a:cxn>
                <a:cxn ang="0">
                  <a:pos x="0" y="5080"/>
                </a:cxn>
                <a:cxn ang="0">
                  <a:pos x="678" y="5419"/>
                </a:cxn>
                <a:cxn ang="0">
                  <a:pos x="1186" y="5461"/>
                </a:cxn>
                <a:cxn ang="0">
                  <a:pos x="1186" y="5715"/>
                </a:cxn>
                <a:cxn ang="0">
                  <a:pos x="1482" y="5546"/>
                </a:cxn>
                <a:cxn ang="0">
                  <a:pos x="1440" y="5927"/>
                </a:cxn>
                <a:cxn ang="0">
                  <a:pos x="1482" y="6266"/>
                </a:cxn>
                <a:cxn ang="0">
                  <a:pos x="1313" y="6393"/>
                </a:cxn>
                <a:cxn ang="0">
                  <a:pos x="1101" y="6774"/>
                </a:cxn>
                <a:cxn ang="0">
                  <a:pos x="1101" y="7155"/>
                </a:cxn>
                <a:cxn ang="0">
                  <a:pos x="1016" y="7451"/>
                </a:cxn>
                <a:cxn ang="0">
                  <a:pos x="889" y="7832"/>
                </a:cxn>
                <a:cxn ang="0">
                  <a:pos x="635" y="8128"/>
                </a:cxn>
                <a:cxn ang="0">
                  <a:pos x="424" y="8340"/>
                </a:cxn>
                <a:cxn ang="0">
                  <a:pos x="466" y="8679"/>
                </a:cxn>
                <a:cxn ang="0">
                  <a:pos x="762" y="8890"/>
                </a:cxn>
                <a:cxn ang="0">
                  <a:pos x="847" y="9271"/>
                </a:cxn>
                <a:cxn ang="0">
                  <a:pos x="1228" y="9060"/>
                </a:cxn>
                <a:cxn ang="0">
                  <a:pos x="1609" y="9229"/>
                </a:cxn>
                <a:cxn ang="0">
                  <a:pos x="1863" y="9229"/>
                </a:cxn>
                <a:cxn ang="0">
                  <a:pos x="2202" y="9271"/>
                </a:cxn>
                <a:cxn ang="0">
                  <a:pos x="2625" y="9314"/>
                </a:cxn>
                <a:cxn ang="0">
                  <a:pos x="2371" y="8890"/>
                </a:cxn>
                <a:cxn ang="0">
                  <a:pos x="2625" y="8679"/>
                </a:cxn>
                <a:cxn ang="0">
                  <a:pos x="2794" y="8382"/>
                </a:cxn>
                <a:cxn ang="0">
                  <a:pos x="3006" y="8171"/>
                </a:cxn>
                <a:cxn ang="0">
                  <a:pos x="3006" y="7832"/>
                </a:cxn>
                <a:cxn ang="0">
                  <a:pos x="2583" y="7663"/>
                </a:cxn>
                <a:cxn ang="0">
                  <a:pos x="2413" y="7239"/>
                </a:cxn>
                <a:cxn ang="0">
                  <a:pos x="2032" y="7282"/>
                </a:cxn>
                <a:cxn ang="0">
                  <a:pos x="1863" y="6985"/>
                </a:cxn>
                <a:cxn ang="0">
                  <a:pos x="1694" y="6604"/>
                </a:cxn>
                <a:cxn ang="0">
                  <a:pos x="2117" y="6731"/>
                </a:cxn>
                <a:cxn ang="0">
                  <a:pos x="2329" y="6604"/>
                </a:cxn>
                <a:cxn ang="0">
                  <a:pos x="2583" y="6223"/>
                </a:cxn>
                <a:cxn ang="0">
                  <a:pos x="2964" y="5969"/>
                </a:cxn>
                <a:cxn ang="0">
                  <a:pos x="3260" y="5758"/>
                </a:cxn>
                <a:cxn ang="0">
                  <a:pos x="3514" y="5377"/>
                </a:cxn>
                <a:cxn ang="0">
                  <a:pos x="2879" y="5419"/>
                </a:cxn>
                <a:cxn ang="0">
                  <a:pos x="3175" y="4530"/>
                </a:cxn>
                <a:cxn ang="0">
                  <a:pos x="3429" y="4022"/>
                </a:cxn>
                <a:cxn ang="0">
                  <a:pos x="3726" y="3472"/>
                </a:cxn>
                <a:cxn ang="0">
                  <a:pos x="3726" y="2752"/>
                </a:cxn>
                <a:cxn ang="0">
                  <a:pos x="3429" y="2159"/>
                </a:cxn>
                <a:cxn ang="0">
                  <a:pos x="2964" y="1482"/>
                </a:cxn>
                <a:cxn ang="0">
                  <a:pos x="2964" y="1059"/>
                </a:cxn>
                <a:cxn ang="0">
                  <a:pos x="2625" y="762"/>
                </a:cxn>
                <a:cxn ang="0">
                  <a:pos x="2625" y="466"/>
                </a:cxn>
                <a:cxn ang="0">
                  <a:pos x="2075" y="339"/>
                </a:cxn>
                <a:cxn ang="0">
                  <a:pos x="1821" y="0"/>
                </a:cxn>
              </a:cxnLst>
              <a:rect l="0" t="0" r="r" b="b"/>
              <a:pathLst>
                <a:path w="3768" h="9356">
                  <a:moveTo>
                    <a:pt x="1694" y="0"/>
                  </a:moveTo>
                  <a:lnTo>
                    <a:pt x="1651" y="43"/>
                  </a:lnTo>
                  <a:lnTo>
                    <a:pt x="1694" y="85"/>
                  </a:lnTo>
                  <a:lnTo>
                    <a:pt x="1694" y="127"/>
                  </a:lnTo>
                  <a:lnTo>
                    <a:pt x="1694" y="170"/>
                  </a:lnTo>
                  <a:lnTo>
                    <a:pt x="1651" y="170"/>
                  </a:lnTo>
                  <a:lnTo>
                    <a:pt x="1694" y="212"/>
                  </a:lnTo>
                  <a:lnTo>
                    <a:pt x="1736" y="212"/>
                  </a:lnTo>
                  <a:lnTo>
                    <a:pt x="1736" y="254"/>
                  </a:lnTo>
                  <a:lnTo>
                    <a:pt x="1736" y="297"/>
                  </a:lnTo>
                  <a:lnTo>
                    <a:pt x="1778" y="381"/>
                  </a:lnTo>
                  <a:lnTo>
                    <a:pt x="1778" y="466"/>
                  </a:lnTo>
                  <a:lnTo>
                    <a:pt x="1821" y="508"/>
                  </a:lnTo>
                  <a:lnTo>
                    <a:pt x="1905" y="508"/>
                  </a:lnTo>
                  <a:lnTo>
                    <a:pt x="1990" y="551"/>
                  </a:lnTo>
                  <a:lnTo>
                    <a:pt x="2075" y="551"/>
                  </a:lnTo>
                  <a:lnTo>
                    <a:pt x="2117" y="593"/>
                  </a:lnTo>
                  <a:lnTo>
                    <a:pt x="2159" y="593"/>
                  </a:lnTo>
                  <a:lnTo>
                    <a:pt x="2202" y="720"/>
                  </a:lnTo>
                  <a:lnTo>
                    <a:pt x="2202" y="805"/>
                  </a:lnTo>
                  <a:lnTo>
                    <a:pt x="2202" y="847"/>
                  </a:lnTo>
                  <a:lnTo>
                    <a:pt x="2244" y="847"/>
                  </a:lnTo>
                  <a:lnTo>
                    <a:pt x="2244" y="932"/>
                  </a:lnTo>
                  <a:lnTo>
                    <a:pt x="2244" y="974"/>
                  </a:lnTo>
                  <a:lnTo>
                    <a:pt x="2244" y="1016"/>
                  </a:lnTo>
                  <a:lnTo>
                    <a:pt x="2244" y="1143"/>
                  </a:lnTo>
                  <a:lnTo>
                    <a:pt x="2286" y="1186"/>
                  </a:lnTo>
                  <a:lnTo>
                    <a:pt x="2286" y="1228"/>
                  </a:lnTo>
                  <a:lnTo>
                    <a:pt x="2413" y="1270"/>
                  </a:lnTo>
                  <a:lnTo>
                    <a:pt x="2456" y="1313"/>
                  </a:lnTo>
                  <a:lnTo>
                    <a:pt x="2498" y="1355"/>
                  </a:lnTo>
                  <a:lnTo>
                    <a:pt x="2540" y="1397"/>
                  </a:lnTo>
                  <a:lnTo>
                    <a:pt x="2540" y="1440"/>
                  </a:lnTo>
                  <a:lnTo>
                    <a:pt x="2583" y="1482"/>
                  </a:lnTo>
                  <a:lnTo>
                    <a:pt x="2583" y="1609"/>
                  </a:lnTo>
                  <a:lnTo>
                    <a:pt x="2583" y="1651"/>
                  </a:lnTo>
                  <a:lnTo>
                    <a:pt x="2625" y="1694"/>
                  </a:lnTo>
                  <a:lnTo>
                    <a:pt x="2667" y="1778"/>
                  </a:lnTo>
                  <a:lnTo>
                    <a:pt x="2667" y="1821"/>
                  </a:lnTo>
                  <a:lnTo>
                    <a:pt x="2667" y="1863"/>
                  </a:lnTo>
                  <a:lnTo>
                    <a:pt x="2667" y="1905"/>
                  </a:lnTo>
                  <a:lnTo>
                    <a:pt x="2667" y="1948"/>
                  </a:lnTo>
                  <a:lnTo>
                    <a:pt x="2710" y="1990"/>
                  </a:lnTo>
                  <a:lnTo>
                    <a:pt x="2667" y="1990"/>
                  </a:lnTo>
                  <a:lnTo>
                    <a:pt x="2625" y="1990"/>
                  </a:lnTo>
                  <a:lnTo>
                    <a:pt x="2625" y="2032"/>
                  </a:lnTo>
                  <a:lnTo>
                    <a:pt x="2540" y="1948"/>
                  </a:lnTo>
                  <a:lnTo>
                    <a:pt x="2498" y="1905"/>
                  </a:lnTo>
                  <a:lnTo>
                    <a:pt x="2456" y="1905"/>
                  </a:lnTo>
                  <a:lnTo>
                    <a:pt x="2456" y="1863"/>
                  </a:lnTo>
                  <a:lnTo>
                    <a:pt x="2371" y="1905"/>
                  </a:lnTo>
                  <a:lnTo>
                    <a:pt x="2286" y="1948"/>
                  </a:lnTo>
                  <a:lnTo>
                    <a:pt x="2159" y="1990"/>
                  </a:lnTo>
                  <a:lnTo>
                    <a:pt x="2075" y="2032"/>
                  </a:lnTo>
                  <a:lnTo>
                    <a:pt x="1990" y="2032"/>
                  </a:lnTo>
                  <a:lnTo>
                    <a:pt x="1905" y="2032"/>
                  </a:lnTo>
                  <a:lnTo>
                    <a:pt x="1821" y="1990"/>
                  </a:lnTo>
                  <a:lnTo>
                    <a:pt x="1694" y="1948"/>
                  </a:lnTo>
                  <a:lnTo>
                    <a:pt x="1524" y="1905"/>
                  </a:lnTo>
                  <a:lnTo>
                    <a:pt x="1567" y="2286"/>
                  </a:lnTo>
                  <a:lnTo>
                    <a:pt x="1609" y="2413"/>
                  </a:lnTo>
                  <a:lnTo>
                    <a:pt x="1609" y="2498"/>
                  </a:lnTo>
                  <a:lnTo>
                    <a:pt x="1651" y="2583"/>
                  </a:lnTo>
                  <a:lnTo>
                    <a:pt x="1736" y="2964"/>
                  </a:lnTo>
                  <a:lnTo>
                    <a:pt x="1736" y="3006"/>
                  </a:lnTo>
                  <a:lnTo>
                    <a:pt x="1905" y="3302"/>
                  </a:lnTo>
                  <a:lnTo>
                    <a:pt x="1990" y="3472"/>
                  </a:lnTo>
                  <a:lnTo>
                    <a:pt x="2075" y="3599"/>
                  </a:lnTo>
                  <a:lnTo>
                    <a:pt x="1990" y="3641"/>
                  </a:lnTo>
                  <a:lnTo>
                    <a:pt x="1863" y="3768"/>
                  </a:lnTo>
                  <a:lnTo>
                    <a:pt x="1778" y="3853"/>
                  </a:lnTo>
                  <a:lnTo>
                    <a:pt x="1736" y="3853"/>
                  </a:lnTo>
                  <a:lnTo>
                    <a:pt x="1694" y="3895"/>
                  </a:lnTo>
                  <a:lnTo>
                    <a:pt x="1651" y="3895"/>
                  </a:lnTo>
                  <a:lnTo>
                    <a:pt x="1524" y="3937"/>
                  </a:lnTo>
                  <a:lnTo>
                    <a:pt x="1186" y="4022"/>
                  </a:lnTo>
                  <a:lnTo>
                    <a:pt x="1143" y="4064"/>
                  </a:lnTo>
                  <a:lnTo>
                    <a:pt x="1101" y="4064"/>
                  </a:lnTo>
                  <a:lnTo>
                    <a:pt x="1016" y="4107"/>
                  </a:lnTo>
                  <a:lnTo>
                    <a:pt x="805" y="4149"/>
                  </a:lnTo>
                  <a:lnTo>
                    <a:pt x="762" y="4149"/>
                  </a:lnTo>
                  <a:lnTo>
                    <a:pt x="593" y="4234"/>
                  </a:lnTo>
                  <a:lnTo>
                    <a:pt x="466" y="4361"/>
                  </a:lnTo>
                  <a:lnTo>
                    <a:pt x="424" y="4445"/>
                  </a:lnTo>
                  <a:lnTo>
                    <a:pt x="339" y="4615"/>
                  </a:lnTo>
                  <a:lnTo>
                    <a:pt x="297" y="4826"/>
                  </a:lnTo>
                  <a:lnTo>
                    <a:pt x="297" y="4996"/>
                  </a:lnTo>
                  <a:lnTo>
                    <a:pt x="170" y="5038"/>
                  </a:lnTo>
                  <a:lnTo>
                    <a:pt x="127" y="5038"/>
                  </a:lnTo>
                  <a:lnTo>
                    <a:pt x="0" y="5080"/>
                  </a:lnTo>
                  <a:lnTo>
                    <a:pt x="85" y="5123"/>
                  </a:lnTo>
                  <a:lnTo>
                    <a:pt x="424" y="5250"/>
                  </a:lnTo>
                  <a:lnTo>
                    <a:pt x="466" y="5292"/>
                  </a:lnTo>
                  <a:lnTo>
                    <a:pt x="466" y="5334"/>
                  </a:lnTo>
                  <a:lnTo>
                    <a:pt x="508" y="5419"/>
                  </a:lnTo>
                  <a:lnTo>
                    <a:pt x="551" y="5377"/>
                  </a:lnTo>
                  <a:lnTo>
                    <a:pt x="593" y="5419"/>
                  </a:lnTo>
                  <a:lnTo>
                    <a:pt x="635" y="5419"/>
                  </a:lnTo>
                  <a:lnTo>
                    <a:pt x="678" y="5419"/>
                  </a:lnTo>
                  <a:lnTo>
                    <a:pt x="762" y="5419"/>
                  </a:lnTo>
                  <a:lnTo>
                    <a:pt x="805" y="5419"/>
                  </a:lnTo>
                  <a:lnTo>
                    <a:pt x="847" y="5419"/>
                  </a:lnTo>
                  <a:lnTo>
                    <a:pt x="932" y="5419"/>
                  </a:lnTo>
                  <a:lnTo>
                    <a:pt x="974" y="5377"/>
                  </a:lnTo>
                  <a:lnTo>
                    <a:pt x="1016" y="5377"/>
                  </a:lnTo>
                  <a:lnTo>
                    <a:pt x="1059" y="5419"/>
                  </a:lnTo>
                  <a:lnTo>
                    <a:pt x="1143" y="5419"/>
                  </a:lnTo>
                  <a:lnTo>
                    <a:pt x="1186" y="5461"/>
                  </a:lnTo>
                  <a:lnTo>
                    <a:pt x="1186" y="5504"/>
                  </a:lnTo>
                  <a:lnTo>
                    <a:pt x="1228" y="5504"/>
                  </a:lnTo>
                  <a:lnTo>
                    <a:pt x="1186" y="5546"/>
                  </a:lnTo>
                  <a:lnTo>
                    <a:pt x="1143" y="5546"/>
                  </a:lnTo>
                  <a:lnTo>
                    <a:pt x="1143" y="5588"/>
                  </a:lnTo>
                  <a:lnTo>
                    <a:pt x="1186" y="5588"/>
                  </a:lnTo>
                  <a:lnTo>
                    <a:pt x="1186" y="5631"/>
                  </a:lnTo>
                  <a:lnTo>
                    <a:pt x="1186" y="5673"/>
                  </a:lnTo>
                  <a:lnTo>
                    <a:pt x="1186" y="5715"/>
                  </a:lnTo>
                  <a:lnTo>
                    <a:pt x="1228" y="5715"/>
                  </a:lnTo>
                  <a:lnTo>
                    <a:pt x="1228" y="5673"/>
                  </a:lnTo>
                  <a:lnTo>
                    <a:pt x="1270" y="5673"/>
                  </a:lnTo>
                  <a:lnTo>
                    <a:pt x="1313" y="5673"/>
                  </a:lnTo>
                  <a:lnTo>
                    <a:pt x="1313" y="5631"/>
                  </a:lnTo>
                  <a:lnTo>
                    <a:pt x="1355" y="5631"/>
                  </a:lnTo>
                  <a:lnTo>
                    <a:pt x="1397" y="5631"/>
                  </a:lnTo>
                  <a:lnTo>
                    <a:pt x="1397" y="5588"/>
                  </a:lnTo>
                  <a:lnTo>
                    <a:pt x="1482" y="5546"/>
                  </a:lnTo>
                  <a:lnTo>
                    <a:pt x="1482" y="5588"/>
                  </a:lnTo>
                  <a:lnTo>
                    <a:pt x="1524" y="5588"/>
                  </a:lnTo>
                  <a:lnTo>
                    <a:pt x="1524" y="5673"/>
                  </a:lnTo>
                  <a:lnTo>
                    <a:pt x="1651" y="5758"/>
                  </a:lnTo>
                  <a:lnTo>
                    <a:pt x="1609" y="5800"/>
                  </a:lnTo>
                  <a:lnTo>
                    <a:pt x="1567" y="5842"/>
                  </a:lnTo>
                  <a:lnTo>
                    <a:pt x="1567" y="5885"/>
                  </a:lnTo>
                  <a:lnTo>
                    <a:pt x="1482" y="5927"/>
                  </a:lnTo>
                  <a:lnTo>
                    <a:pt x="1440" y="5927"/>
                  </a:lnTo>
                  <a:lnTo>
                    <a:pt x="1440" y="5969"/>
                  </a:lnTo>
                  <a:lnTo>
                    <a:pt x="1397" y="6012"/>
                  </a:lnTo>
                  <a:lnTo>
                    <a:pt x="1355" y="6054"/>
                  </a:lnTo>
                  <a:lnTo>
                    <a:pt x="1397" y="6096"/>
                  </a:lnTo>
                  <a:lnTo>
                    <a:pt x="1482" y="6096"/>
                  </a:lnTo>
                  <a:lnTo>
                    <a:pt x="1524" y="6139"/>
                  </a:lnTo>
                  <a:lnTo>
                    <a:pt x="1524" y="6181"/>
                  </a:lnTo>
                  <a:lnTo>
                    <a:pt x="1482" y="6223"/>
                  </a:lnTo>
                  <a:lnTo>
                    <a:pt x="1482" y="6266"/>
                  </a:lnTo>
                  <a:lnTo>
                    <a:pt x="1440" y="6266"/>
                  </a:lnTo>
                  <a:lnTo>
                    <a:pt x="1397" y="6223"/>
                  </a:lnTo>
                  <a:lnTo>
                    <a:pt x="1355" y="6223"/>
                  </a:lnTo>
                  <a:lnTo>
                    <a:pt x="1313" y="6223"/>
                  </a:lnTo>
                  <a:lnTo>
                    <a:pt x="1313" y="6266"/>
                  </a:lnTo>
                  <a:lnTo>
                    <a:pt x="1313" y="6308"/>
                  </a:lnTo>
                  <a:lnTo>
                    <a:pt x="1355" y="6350"/>
                  </a:lnTo>
                  <a:lnTo>
                    <a:pt x="1355" y="6393"/>
                  </a:lnTo>
                  <a:lnTo>
                    <a:pt x="1313" y="6393"/>
                  </a:lnTo>
                  <a:lnTo>
                    <a:pt x="1313" y="6435"/>
                  </a:lnTo>
                  <a:lnTo>
                    <a:pt x="1355" y="6520"/>
                  </a:lnTo>
                  <a:lnTo>
                    <a:pt x="1313" y="6520"/>
                  </a:lnTo>
                  <a:lnTo>
                    <a:pt x="1313" y="6562"/>
                  </a:lnTo>
                  <a:lnTo>
                    <a:pt x="1270" y="6562"/>
                  </a:lnTo>
                  <a:lnTo>
                    <a:pt x="1186" y="6520"/>
                  </a:lnTo>
                  <a:lnTo>
                    <a:pt x="1143" y="6647"/>
                  </a:lnTo>
                  <a:lnTo>
                    <a:pt x="1143" y="6731"/>
                  </a:lnTo>
                  <a:lnTo>
                    <a:pt x="1101" y="6774"/>
                  </a:lnTo>
                  <a:lnTo>
                    <a:pt x="1101" y="6816"/>
                  </a:lnTo>
                  <a:lnTo>
                    <a:pt x="1143" y="6816"/>
                  </a:lnTo>
                  <a:lnTo>
                    <a:pt x="1186" y="6858"/>
                  </a:lnTo>
                  <a:lnTo>
                    <a:pt x="1186" y="6901"/>
                  </a:lnTo>
                  <a:lnTo>
                    <a:pt x="1143" y="6985"/>
                  </a:lnTo>
                  <a:lnTo>
                    <a:pt x="1143" y="7028"/>
                  </a:lnTo>
                  <a:lnTo>
                    <a:pt x="1143" y="7070"/>
                  </a:lnTo>
                  <a:lnTo>
                    <a:pt x="1143" y="7112"/>
                  </a:lnTo>
                  <a:lnTo>
                    <a:pt x="1101" y="7155"/>
                  </a:lnTo>
                  <a:lnTo>
                    <a:pt x="1059" y="7197"/>
                  </a:lnTo>
                  <a:lnTo>
                    <a:pt x="1016" y="7282"/>
                  </a:lnTo>
                  <a:lnTo>
                    <a:pt x="974" y="7282"/>
                  </a:lnTo>
                  <a:lnTo>
                    <a:pt x="932" y="7366"/>
                  </a:lnTo>
                  <a:lnTo>
                    <a:pt x="889" y="7451"/>
                  </a:lnTo>
                  <a:lnTo>
                    <a:pt x="889" y="7493"/>
                  </a:lnTo>
                  <a:lnTo>
                    <a:pt x="932" y="7493"/>
                  </a:lnTo>
                  <a:lnTo>
                    <a:pt x="974" y="7493"/>
                  </a:lnTo>
                  <a:lnTo>
                    <a:pt x="1016" y="7451"/>
                  </a:lnTo>
                  <a:lnTo>
                    <a:pt x="1059" y="7451"/>
                  </a:lnTo>
                  <a:lnTo>
                    <a:pt x="1101" y="7493"/>
                  </a:lnTo>
                  <a:lnTo>
                    <a:pt x="1101" y="7536"/>
                  </a:lnTo>
                  <a:lnTo>
                    <a:pt x="1016" y="7578"/>
                  </a:lnTo>
                  <a:lnTo>
                    <a:pt x="1016" y="7620"/>
                  </a:lnTo>
                  <a:lnTo>
                    <a:pt x="1016" y="7663"/>
                  </a:lnTo>
                  <a:lnTo>
                    <a:pt x="932" y="7747"/>
                  </a:lnTo>
                  <a:lnTo>
                    <a:pt x="932" y="7790"/>
                  </a:lnTo>
                  <a:lnTo>
                    <a:pt x="889" y="7832"/>
                  </a:lnTo>
                  <a:lnTo>
                    <a:pt x="932" y="7874"/>
                  </a:lnTo>
                  <a:lnTo>
                    <a:pt x="889" y="7917"/>
                  </a:lnTo>
                  <a:lnTo>
                    <a:pt x="847" y="7917"/>
                  </a:lnTo>
                  <a:lnTo>
                    <a:pt x="805" y="7917"/>
                  </a:lnTo>
                  <a:lnTo>
                    <a:pt x="762" y="7917"/>
                  </a:lnTo>
                  <a:lnTo>
                    <a:pt x="720" y="7959"/>
                  </a:lnTo>
                  <a:lnTo>
                    <a:pt x="720" y="8001"/>
                  </a:lnTo>
                  <a:lnTo>
                    <a:pt x="720" y="8044"/>
                  </a:lnTo>
                  <a:lnTo>
                    <a:pt x="635" y="8128"/>
                  </a:lnTo>
                  <a:lnTo>
                    <a:pt x="635" y="8171"/>
                  </a:lnTo>
                  <a:lnTo>
                    <a:pt x="593" y="8171"/>
                  </a:lnTo>
                  <a:lnTo>
                    <a:pt x="551" y="8213"/>
                  </a:lnTo>
                  <a:lnTo>
                    <a:pt x="508" y="8213"/>
                  </a:lnTo>
                  <a:lnTo>
                    <a:pt x="508" y="8255"/>
                  </a:lnTo>
                  <a:lnTo>
                    <a:pt x="466" y="8255"/>
                  </a:lnTo>
                  <a:lnTo>
                    <a:pt x="424" y="8255"/>
                  </a:lnTo>
                  <a:lnTo>
                    <a:pt x="466" y="8298"/>
                  </a:lnTo>
                  <a:lnTo>
                    <a:pt x="424" y="8340"/>
                  </a:lnTo>
                  <a:lnTo>
                    <a:pt x="424" y="8382"/>
                  </a:lnTo>
                  <a:lnTo>
                    <a:pt x="424" y="8425"/>
                  </a:lnTo>
                  <a:lnTo>
                    <a:pt x="424" y="8467"/>
                  </a:lnTo>
                  <a:lnTo>
                    <a:pt x="424" y="8509"/>
                  </a:lnTo>
                  <a:lnTo>
                    <a:pt x="424" y="8552"/>
                  </a:lnTo>
                  <a:lnTo>
                    <a:pt x="424" y="8594"/>
                  </a:lnTo>
                  <a:lnTo>
                    <a:pt x="466" y="8594"/>
                  </a:lnTo>
                  <a:lnTo>
                    <a:pt x="466" y="8636"/>
                  </a:lnTo>
                  <a:lnTo>
                    <a:pt x="466" y="8679"/>
                  </a:lnTo>
                  <a:lnTo>
                    <a:pt x="508" y="8679"/>
                  </a:lnTo>
                  <a:lnTo>
                    <a:pt x="508" y="8721"/>
                  </a:lnTo>
                  <a:lnTo>
                    <a:pt x="551" y="8763"/>
                  </a:lnTo>
                  <a:lnTo>
                    <a:pt x="593" y="8763"/>
                  </a:lnTo>
                  <a:lnTo>
                    <a:pt x="635" y="8763"/>
                  </a:lnTo>
                  <a:lnTo>
                    <a:pt x="635" y="8806"/>
                  </a:lnTo>
                  <a:lnTo>
                    <a:pt x="720" y="8806"/>
                  </a:lnTo>
                  <a:lnTo>
                    <a:pt x="762" y="8848"/>
                  </a:lnTo>
                  <a:lnTo>
                    <a:pt x="762" y="8890"/>
                  </a:lnTo>
                  <a:lnTo>
                    <a:pt x="720" y="8933"/>
                  </a:lnTo>
                  <a:lnTo>
                    <a:pt x="762" y="9060"/>
                  </a:lnTo>
                  <a:lnTo>
                    <a:pt x="762" y="9144"/>
                  </a:lnTo>
                  <a:lnTo>
                    <a:pt x="678" y="9271"/>
                  </a:lnTo>
                  <a:lnTo>
                    <a:pt x="678" y="9314"/>
                  </a:lnTo>
                  <a:lnTo>
                    <a:pt x="720" y="9314"/>
                  </a:lnTo>
                  <a:lnTo>
                    <a:pt x="762" y="9314"/>
                  </a:lnTo>
                  <a:lnTo>
                    <a:pt x="805" y="9271"/>
                  </a:lnTo>
                  <a:lnTo>
                    <a:pt x="847" y="9271"/>
                  </a:lnTo>
                  <a:lnTo>
                    <a:pt x="889" y="9229"/>
                  </a:lnTo>
                  <a:lnTo>
                    <a:pt x="889" y="9271"/>
                  </a:lnTo>
                  <a:lnTo>
                    <a:pt x="932" y="9314"/>
                  </a:lnTo>
                  <a:lnTo>
                    <a:pt x="974" y="9314"/>
                  </a:lnTo>
                  <a:lnTo>
                    <a:pt x="1016" y="9271"/>
                  </a:lnTo>
                  <a:lnTo>
                    <a:pt x="1016" y="9229"/>
                  </a:lnTo>
                  <a:lnTo>
                    <a:pt x="1059" y="9187"/>
                  </a:lnTo>
                  <a:lnTo>
                    <a:pt x="1143" y="9060"/>
                  </a:lnTo>
                  <a:lnTo>
                    <a:pt x="1228" y="9060"/>
                  </a:lnTo>
                  <a:lnTo>
                    <a:pt x="1228" y="9144"/>
                  </a:lnTo>
                  <a:lnTo>
                    <a:pt x="1270" y="9229"/>
                  </a:lnTo>
                  <a:lnTo>
                    <a:pt x="1313" y="9187"/>
                  </a:lnTo>
                  <a:lnTo>
                    <a:pt x="1397" y="9314"/>
                  </a:lnTo>
                  <a:lnTo>
                    <a:pt x="1440" y="9314"/>
                  </a:lnTo>
                  <a:lnTo>
                    <a:pt x="1482" y="9271"/>
                  </a:lnTo>
                  <a:lnTo>
                    <a:pt x="1524" y="9314"/>
                  </a:lnTo>
                  <a:lnTo>
                    <a:pt x="1567" y="9271"/>
                  </a:lnTo>
                  <a:lnTo>
                    <a:pt x="1609" y="9229"/>
                  </a:lnTo>
                  <a:lnTo>
                    <a:pt x="1609" y="9271"/>
                  </a:lnTo>
                  <a:lnTo>
                    <a:pt x="1609" y="9356"/>
                  </a:lnTo>
                  <a:lnTo>
                    <a:pt x="1651" y="9314"/>
                  </a:lnTo>
                  <a:lnTo>
                    <a:pt x="1694" y="9271"/>
                  </a:lnTo>
                  <a:lnTo>
                    <a:pt x="1694" y="9229"/>
                  </a:lnTo>
                  <a:lnTo>
                    <a:pt x="1736" y="9229"/>
                  </a:lnTo>
                  <a:lnTo>
                    <a:pt x="1778" y="9229"/>
                  </a:lnTo>
                  <a:lnTo>
                    <a:pt x="1863" y="9187"/>
                  </a:lnTo>
                  <a:lnTo>
                    <a:pt x="1863" y="9229"/>
                  </a:lnTo>
                  <a:lnTo>
                    <a:pt x="1863" y="9314"/>
                  </a:lnTo>
                  <a:lnTo>
                    <a:pt x="1948" y="9356"/>
                  </a:lnTo>
                  <a:lnTo>
                    <a:pt x="1948" y="9314"/>
                  </a:lnTo>
                  <a:lnTo>
                    <a:pt x="1990" y="9314"/>
                  </a:lnTo>
                  <a:lnTo>
                    <a:pt x="2032" y="9314"/>
                  </a:lnTo>
                  <a:lnTo>
                    <a:pt x="2032" y="9356"/>
                  </a:lnTo>
                  <a:lnTo>
                    <a:pt x="2117" y="9314"/>
                  </a:lnTo>
                  <a:lnTo>
                    <a:pt x="2159" y="9271"/>
                  </a:lnTo>
                  <a:lnTo>
                    <a:pt x="2202" y="9271"/>
                  </a:lnTo>
                  <a:lnTo>
                    <a:pt x="2244" y="9271"/>
                  </a:lnTo>
                  <a:lnTo>
                    <a:pt x="2286" y="9271"/>
                  </a:lnTo>
                  <a:lnTo>
                    <a:pt x="2329" y="9271"/>
                  </a:lnTo>
                  <a:lnTo>
                    <a:pt x="2371" y="9314"/>
                  </a:lnTo>
                  <a:lnTo>
                    <a:pt x="2456" y="9356"/>
                  </a:lnTo>
                  <a:lnTo>
                    <a:pt x="2498" y="9356"/>
                  </a:lnTo>
                  <a:lnTo>
                    <a:pt x="2498" y="9314"/>
                  </a:lnTo>
                  <a:lnTo>
                    <a:pt x="2583" y="9314"/>
                  </a:lnTo>
                  <a:lnTo>
                    <a:pt x="2625" y="9314"/>
                  </a:lnTo>
                  <a:lnTo>
                    <a:pt x="2625" y="9229"/>
                  </a:lnTo>
                  <a:lnTo>
                    <a:pt x="2667" y="9144"/>
                  </a:lnTo>
                  <a:lnTo>
                    <a:pt x="2540" y="9060"/>
                  </a:lnTo>
                  <a:lnTo>
                    <a:pt x="2498" y="9060"/>
                  </a:lnTo>
                  <a:lnTo>
                    <a:pt x="2456" y="9017"/>
                  </a:lnTo>
                  <a:lnTo>
                    <a:pt x="2456" y="8975"/>
                  </a:lnTo>
                  <a:lnTo>
                    <a:pt x="2413" y="8975"/>
                  </a:lnTo>
                  <a:lnTo>
                    <a:pt x="2371" y="8933"/>
                  </a:lnTo>
                  <a:lnTo>
                    <a:pt x="2371" y="8890"/>
                  </a:lnTo>
                  <a:lnTo>
                    <a:pt x="2371" y="8848"/>
                  </a:lnTo>
                  <a:lnTo>
                    <a:pt x="2413" y="8806"/>
                  </a:lnTo>
                  <a:lnTo>
                    <a:pt x="2456" y="8848"/>
                  </a:lnTo>
                  <a:lnTo>
                    <a:pt x="2540" y="8890"/>
                  </a:lnTo>
                  <a:lnTo>
                    <a:pt x="2583" y="8806"/>
                  </a:lnTo>
                  <a:lnTo>
                    <a:pt x="2625" y="8763"/>
                  </a:lnTo>
                  <a:lnTo>
                    <a:pt x="2625" y="8721"/>
                  </a:lnTo>
                  <a:lnTo>
                    <a:pt x="2667" y="8721"/>
                  </a:lnTo>
                  <a:lnTo>
                    <a:pt x="2625" y="8679"/>
                  </a:lnTo>
                  <a:lnTo>
                    <a:pt x="2625" y="8636"/>
                  </a:lnTo>
                  <a:lnTo>
                    <a:pt x="2583" y="8594"/>
                  </a:lnTo>
                  <a:lnTo>
                    <a:pt x="2583" y="8552"/>
                  </a:lnTo>
                  <a:lnTo>
                    <a:pt x="2583" y="8509"/>
                  </a:lnTo>
                  <a:lnTo>
                    <a:pt x="2625" y="8467"/>
                  </a:lnTo>
                  <a:lnTo>
                    <a:pt x="2710" y="8467"/>
                  </a:lnTo>
                  <a:lnTo>
                    <a:pt x="2752" y="8425"/>
                  </a:lnTo>
                  <a:lnTo>
                    <a:pt x="2794" y="8425"/>
                  </a:lnTo>
                  <a:lnTo>
                    <a:pt x="2794" y="8382"/>
                  </a:lnTo>
                  <a:lnTo>
                    <a:pt x="2837" y="8382"/>
                  </a:lnTo>
                  <a:lnTo>
                    <a:pt x="2837" y="8425"/>
                  </a:lnTo>
                  <a:lnTo>
                    <a:pt x="2921" y="8467"/>
                  </a:lnTo>
                  <a:lnTo>
                    <a:pt x="2921" y="8382"/>
                  </a:lnTo>
                  <a:lnTo>
                    <a:pt x="2921" y="8340"/>
                  </a:lnTo>
                  <a:lnTo>
                    <a:pt x="2964" y="8340"/>
                  </a:lnTo>
                  <a:lnTo>
                    <a:pt x="2964" y="8298"/>
                  </a:lnTo>
                  <a:lnTo>
                    <a:pt x="3006" y="8255"/>
                  </a:lnTo>
                  <a:lnTo>
                    <a:pt x="3006" y="8171"/>
                  </a:lnTo>
                  <a:lnTo>
                    <a:pt x="2964" y="8128"/>
                  </a:lnTo>
                  <a:lnTo>
                    <a:pt x="2964" y="8171"/>
                  </a:lnTo>
                  <a:lnTo>
                    <a:pt x="2921" y="8086"/>
                  </a:lnTo>
                  <a:lnTo>
                    <a:pt x="2921" y="8044"/>
                  </a:lnTo>
                  <a:lnTo>
                    <a:pt x="2921" y="8001"/>
                  </a:lnTo>
                  <a:lnTo>
                    <a:pt x="2964" y="7959"/>
                  </a:lnTo>
                  <a:lnTo>
                    <a:pt x="2964" y="7917"/>
                  </a:lnTo>
                  <a:lnTo>
                    <a:pt x="3006" y="7874"/>
                  </a:lnTo>
                  <a:lnTo>
                    <a:pt x="3006" y="7832"/>
                  </a:lnTo>
                  <a:lnTo>
                    <a:pt x="2964" y="7790"/>
                  </a:lnTo>
                  <a:lnTo>
                    <a:pt x="2921" y="7790"/>
                  </a:lnTo>
                  <a:lnTo>
                    <a:pt x="2879" y="7790"/>
                  </a:lnTo>
                  <a:lnTo>
                    <a:pt x="2794" y="7790"/>
                  </a:lnTo>
                  <a:lnTo>
                    <a:pt x="2794" y="7747"/>
                  </a:lnTo>
                  <a:lnTo>
                    <a:pt x="2794" y="7705"/>
                  </a:lnTo>
                  <a:lnTo>
                    <a:pt x="2752" y="7747"/>
                  </a:lnTo>
                  <a:lnTo>
                    <a:pt x="2710" y="7705"/>
                  </a:lnTo>
                  <a:lnTo>
                    <a:pt x="2583" y="7663"/>
                  </a:lnTo>
                  <a:lnTo>
                    <a:pt x="2583" y="7578"/>
                  </a:lnTo>
                  <a:lnTo>
                    <a:pt x="2583" y="7536"/>
                  </a:lnTo>
                  <a:lnTo>
                    <a:pt x="2498" y="7493"/>
                  </a:lnTo>
                  <a:lnTo>
                    <a:pt x="2540" y="7451"/>
                  </a:lnTo>
                  <a:lnTo>
                    <a:pt x="2583" y="7451"/>
                  </a:lnTo>
                  <a:lnTo>
                    <a:pt x="2583" y="7409"/>
                  </a:lnTo>
                  <a:lnTo>
                    <a:pt x="2625" y="7239"/>
                  </a:lnTo>
                  <a:lnTo>
                    <a:pt x="2583" y="7239"/>
                  </a:lnTo>
                  <a:lnTo>
                    <a:pt x="2413" y="7239"/>
                  </a:lnTo>
                  <a:lnTo>
                    <a:pt x="2371" y="7239"/>
                  </a:lnTo>
                  <a:lnTo>
                    <a:pt x="2329" y="7282"/>
                  </a:lnTo>
                  <a:lnTo>
                    <a:pt x="2286" y="7282"/>
                  </a:lnTo>
                  <a:lnTo>
                    <a:pt x="2244" y="7239"/>
                  </a:lnTo>
                  <a:lnTo>
                    <a:pt x="2244" y="7197"/>
                  </a:lnTo>
                  <a:lnTo>
                    <a:pt x="2202" y="7197"/>
                  </a:lnTo>
                  <a:lnTo>
                    <a:pt x="2117" y="7239"/>
                  </a:lnTo>
                  <a:lnTo>
                    <a:pt x="2075" y="7239"/>
                  </a:lnTo>
                  <a:lnTo>
                    <a:pt x="2032" y="7282"/>
                  </a:lnTo>
                  <a:lnTo>
                    <a:pt x="1990" y="7282"/>
                  </a:lnTo>
                  <a:lnTo>
                    <a:pt x="1948" y="7324"/>
                  </a:lnTo>
                  <a:lnTo>
                    <a:pt x="1905" y="7324"/>
                  </a:lnTo>
                  <a:lnTo>
                    <a:pt x="1863" y="7282"/>
                  </a:lnTo>
                  <a:lnTo>
                    <a:pt x="1948" y="7197"/>
                  </a:lnTo>
                  <a:lnTo>
                    <a:pt x="1948" y="7070"/>
                  </a:lnTo>
                  <a:lnTo>
                    <a:pt x="1905" y="7070"/>
                  </a:lnTo>
                  <a:lnTo>
                    <a:pt x="1863" y="7028"/>
                  </a:lnTo>
                  <a:lnTo>
                    <a:pt x="1863" y="6985"/>
                  </a:lnTo>
                  <a:lnTo>
                    <a:pt x="1821" y="6985"/>
                  </a:lnTo>
                  <a:lnTo>
                    <a:pt x="1821" y="6943"/>
                  </a:lnTo>
                  <a:lnTo>
                    <a:pt x="1778" y="6943"/>
                  </a:lnTo>
                  <a:lnTo>
                    <a:pt x="1778" y="6901"/>
                  </a:lnTo>
                  <a:lnTo>
                    <a:pt x="1778" y="6858"/>
                  </a:lnTo>
                  <a:lnTo>
                    <a:pt x="1778" y="6816"/>
                  </a:lnTo>
                  <a:lnTo>
                    <a:pt x="1778" y="6731"/>
                  </a:lnTo>
                  <a:lnTo>
                    <a:pt x="1736" y="6689"/>
                  </a:lnTo>
                  <a:lnTo>
                    <a:pt x="1694" y="6604"/>
                  </a:lnTo>
                  <a:lnTo>
                    <a:pt x="1736" y="6604"/>
                  </a:lnTo>
                  <a:lnTo>
                    <a:pt x="1821" y="6604"/>
                  </a:lnTo>
                  <a:lnTo>
                    <a:pt x="1863" y="6604"/>
                  </a:lnTo>
                  <a:lnTo>
                    <a:pt x="1863" y="6562"/>
                  </a:lnTo>
                  <a:lnTo>
                    <a:pt x="1948" y="6520"/>
                  </a:lnTo>
                  <a:lnTo>
                    <a:pt x="1990" y="6477"/>
                  </a:lnTo>
                  <a:lnTo>
                    <a:pt x="1990" y="6520"/>
                  </a:lnTo>
                  <a:lnTo>
                    <a:pt x="2075" y="6647"/>
                  </a:lnTo>
                  <a:lnTo>
                    <a:pt x="2117" y="6731"/>
                  </a:lnTo>
                  <a:lnTo>
                    <a:pt x="2117" y="6774"/>
                  </a:lnTo>
                  <a:lnTo>
                    <a:pt x="2159" y="6731"/>
                  </a:lnTo>
                  <a:lnTo>
                    <a:pt x="2202" y="6731"/>
                  </a:lnTo>
                  <a:lnTo>
                    <a:pt x="2202" y="6774"/>
                  </a:lnTo>
                  <a:lnTo>
                    <a:pt x="2244" y="6774"/>
                  </a:lnTo>
                  <a:lnTo>
                    <a:pt x="2244" y="6731"/>
                  </a:lnTo>
                  <a:lnTo>
                    <a:pt x="2286" y="6689"/>
                  </a:lnTo>
                  <a:lnTo>
                    <a:pt x="2286" y="6647"/>
                  </a:lnTo>
                  <a:lnTo>
                    <a:pt x="2329" y="6604"/>
                  </a:lnTo>
                  <a:lnTo>
                    <a:pt x="2329" y="6562"/>
                  </a:lnTo>
                  <a:lnTo>
                    <a:pt x="2329" y="6520"/>
                  </a:lnTo>
                  <a:lnTo>
                    <a:pt x="2371" y="6477"/>
                  </a:lnTo>
                  <a:lnTo>
                    <a:pt x="2371" y="6435"/>
                  </a:lnTo>
                  <a:lnTo>
                    <a:pt x="2413" y="6393"/>
                  </a:lnTo>
                  <a:lnTo>
                    <a:pt x="2413" y="6350"/>
                  </a:lnTo>
                  <a:lnTo>
                    <a:pt x="2456" y="6308"/>
                  </a:lnTo>
                  <a:lnTo>
                    <a:pt x="2540" y="6266"/>
                  </a:lnTo>
                  <a:lnTo>
                    <a:pt x="2583" y="6223"/>
                  </a:lnTo>
                  <a:lnTo>
                    <a:pt x="2667" y="6181"/>
                  </a:lnTo>
                  <a:lnTo>
                    <a:pt x="2710" y="6181"/>
                  </a:lnTo>
                  <a:lnTo>
                    <a:pt x="2752" y="6139"/>
                  </a:lnTo>
                  <a:lnTo>
                    <a:pt x="2794" y="6096"/>
                  </a:lnTo>
                  <a:lnTo>
                    <a:pt x="2794" y="6054"/>
                  </a:lnTo>
                  <a:lnTo>
                    <a:pt x="2837" y="6012"/>
                  </a:lnTo>
                  <a:lnTo>
                    <a:pt x="2879" y="6012"/>
                  </a:lnTo>
                  <a:lnTo>
                    <a:pt x="2921" y="6012"/>
                  </a:lnTo>
                  <a:lnTo>
                    <a:pt x="2964" y="5969"/>
                  </a:lnTo>
                  <a:lnTo>
                    <a:pt x="2964" y="5927"/>
                  </a:lnTo>
                  <a:lnTo>
                    <a:pt x="2964" y="5885"/>
                  </a:lnTo>
                  <a:lnTo>
                    <a:pt x="3006" y="5842"/>
                  </a:lnTo>
                  <a:lnTo>
                    <a:pt x="3048" y="5842"/>
                  </a:lnTo>
                  <a:lnTo>
                    <a:pt x="3091" y="5842"/>
                  </a:lnTo>
                  <a:lnTo>
                    <a:pt x="3133" y="5800"/>
                  </a:lnTo>
                  <a:lnTo>
                    <a:pt x="3175" y="5800"/>
                  </a:lnTo>
                  <a:lnTo>
                    <a:pt x="3175" y="5758"/>
                  </a:lnTo>
                  <a:lnTo>
                    <a:pt x="3260" y="5758"/>
                  </a:lnTo>
                  <a:lnTo>
                    <a:pt x="3302" y="5715"/>
                  </a:lnTo>
                  <a:lnTo>
                    <a:pt x="3345" y="5715"/>
                  </a:lnTo>
                  <a:lnTo>
                    <a:pt x="3429" y="5715"/>
                  </a:lnTo>
                  <a:lnTo>
                    <a:pt x="3387" y="5673"/>
                  </a:lnTo>
                  <a:lnTo>
                    <a:pt x="3429" y="5673"/>
                  </a:lnTo>
                  <a:lnTo>
                    <a:pt x="3472" y="5631"/>
                  </a:lnTo>
                  <a:lnTo>
                    <a:pt x="3302" y="5504"/>
                  </a:lnTo>
                  <a:lnTo>
                    <a:pt x="3260" y="5504"/>
                  </a:lnTo>
                  <a:lnTo>
                    <a:pt x="3514" y="5377"/>
                  </a:lnTo>
                  <a:lnTo>
                    <a:pt x="3429" y="5292"/>
                  </a:lnTo>
                  <a:lnTo>
                    <a:pt x="3175" y="5419"/>
                  </a:lnTo>
                  <a:lnTo>
                    <a:pt x="3133" y="5461"/>
                  </a:lnTo>
                  <a:lnTo>
                    <a:pt x="3091" y="5504"/>
                  </a:lnTo>
                  <a:lnTo>
                    <a:pt x="3048" y="5504"/>
                  </a:lnTo>
                  <a:lnTo>
                    <a:pt x="3006" y="5504"/>
                  </a:lnTo>
                  <a:lnTo>
                    <a:pt x="2921" y="5504"/>
                  </a:lnTo>
                  <a:lnTo>
                    <a:pt x="2921" y="5461"/>
                  </a:lnTo>
                  <a:lnTo>
                    <a:pt x="2879" y="5419"/>
                  </a:lnTo>
                  <a:lnTo>
                    <a:pt x="2879" y="5123"/>
                  </a:lnTo>
                  <a:lnTo>
                    <a:pt x="2837" y="5080"/>
                  </a:lnTo>
                  <a:lnTo>
                    <a:pt x="2879" y="5038"/>
                  </a:lnTo>
                  <a:lnTo>
                    <a:pt x="2964" y="5038"/>
                  </a:lnTo>
                  <a:lnTo>
                    <a:pt x="2879" y="4869"/>
                  </a:lnTo>
                  <a:lnTo>
                    <a:pt x="2964" y="4826"/>
                  </a:lnTo>
                  <a:lnTo>
                    <a:pt x="3006" y="4742"/>
                  </a:lnTo>
                  <a:lnTo>
                    <a:pt x="3175" y="4572"/>
                  </a:lnTo>
                  <a:lnTo>
                    <a:pt x="3175" y="4530"/>
                  </a:lnTo>
                  <a:lnTo>
                    <a:pt x="3218" y="4488"/>
                  </a:lnTo>
                  <a:lnTo>
                    <a:pt x="3302" y="4361"/>
                  </a:lnTo>
                  <a:lnTo>
                    <a:pt x="3345" y="4276"/>
                  </a:lnTo>
                  <a:lnTo>
                    <a:pt x="3345" y="4234"/>
                  </a:lnTo>
                  <a:lnTo>
                    <a:pt x="3387" y="4191"/>
                  </a:lnTo>
                  <a:lnTo>
                    <a:pt x="3387" y="4149"/>
                  </a:lnTo>
                  <a:lnTo>
                    <a:pt x="3387" y="4107"/>
                  </a:lnTo>
                  <a:lnTo>
                    <a:pt x="3429" y="4064"/>
                  </a:lnTo>
                  <a:lnTo>
                    <a:pt x="3429" y="4022"/>
                  </a:lnTo>
                  <a:lnTo>
                    <a:pt x="3472" y="4022"/>
                  </a:lnTo>
                  <a:lnTo>
                    <a:pt x="3514" y="4022"/>
                  </a:lnTo>
                  <a:lnTo>
                    <a:pt x="3556" y="4022"/>
                  </a:lnTo>
                  <a:lnTo>
                    <a:pt x="3556" y="3980"/>
                  </a:lnTo>
                  <a:lnTo>
                    <a:pt x="3768" y="3768"/>
                  </a:lnTo>
                  <a:lnTo>
                    <a:pt x="3726" y="3641"/>
                  </a:lnTo>
                  <a:lnTo>
                    <a:pt x="3683" y="3556"/>
                  </a:lnTo>
                  <a:lnTo>
                    <a:pt x="3683" y="3514"/>
                  </a:lnTo>
                  <a:lnTo>
                    <a:pt x="3726" y="3472"/>
                  </a:lnTo>
                  <a:lnTo>
                    <a:pt x="3768" y="3429"/>
                  </a:lnTo>
                  <a:lnTo>
                    <a:pt x="3641" y="3429"/>
                  </a:lnTo>
                  <a:lnTo>
                    <a:pt x="3641" y="3387"/>
                  </a:lnTo>
                  <a:lnTo>
                    <a:pt x="3683" y="3133"/>
                  </a:lnTo>
                  <a:lnTo>
                    <a:pt x="3683" y="3006"/>
                  </a:lnTo>
                  <a:lnTo>
                    <a:pt x="3726" y="3006"/>
                  </a:lnTo>
                  <a:lnTo>
                    <a:pt x="3683" y="2921"/>
                  </a:lnTo>
                  <a:lnTo>
                    <a:pt x="3726" y="2879"/>
                  </a:lnTo>
                  <a:lnTo>
                    <a:pt x="3726" y="2752"/>
                  </a:lnTo>
                  <a:lnTo>
                    <a:pt x="3683" y="2667"/>
                  </a:lnTo>
                  <a:lnTo>
                    <a:pt x="3641" y="2583"/>
                  </a:lnTo>
                  <a:lnTo>
                    <a:pt x="3683" y="2498"/>
                  </a:lnTo>
                  <a:lnTo>
                    <a:pt x="3641" y="2456"/>
                  </a:lnTo>
                  <a:lnTo>
                    <a:pt x="3641" y="2371"/>
                  </a:lnTo>
                  <a:lnTo>
                    <a:pt x="3641" y="2329"/>
                  </a:lnTo>
                  <a:lnTo>
                    <a:pt x="3599" y="2244"/>
                  </a:lnTo>
                  <a:lnTo>
                    <a:pt x="3514" y="2202"/>
                  </a:lnTo>
                  <a:lnTo>
                    <a:pt x="3429" y="2159"/>
                  </a:lnTo>
                  <a:lnTo>
                    <a:pt x="3345" y="1905"/>
                  </a:lnTo>
                  <a:lnTo>
                    <a:pt x="3260" y="1863"/>
                  </a:lnTo>
                  <a:lnTo>
                    <a:pt x="3218" y="1821"/>
                  </a:lnTo>
                  <a:lnTo>
                    <a:pt x="3175" y="1778"/>
                  </a:lnTo>
                  <a:lnTo>
                    <a:pt x="3133" y="1694"/>
                  </a:lnTo>
                  <a:lnTo>
                    <a:pt x="3133" y="1651"/>
                  </a:lnTo>
                  <a:lnTo>
                    <a:pt x="3091" y="1651"/>
                  </a:lnTo>
                  <a:lnTo>
                    <a:pt x="2964" y="1567"/>
                  </a:lnTo>
                  <a:lnTo>
                    <a:pt x="2964" y="1482"/>
                  </a:lnTo>
                  <a:lnTo>
                    <a:pt x="2964" y="1397"/>
                  </a:lnTo>
                  <a:lnTo>
                    <a:pt x="3006" y="1397"/>
                  </a:lnTo>
                  <a:lnTo>
                    <a:pt x="3006" y="1355"/>
                  </a:lnTo>
                  <a:lnTo>
                    <a:pt x="3048" y="1228"/>
                  </a:lnTo>
                  <a:lnTo>
                    <a:pt x="3048" y="1186"/>
                  </a:lnTo>
                  <a:lnTo>
                    <a:pt x="3091" y="1143"/>
                  </a:lnTo>
                  <a:lnTo>
                    <a:pt x="3091" y="1101"/>
                  </a:lnTo>
                  <a:lnTo>
                    <a:pt x="3006" y="1059"/>
                  </a:lnTo>
                  <a:lnTo>
                    <a:pt x="2964" y="1059"/>
                  </a:lnTo>
                  <a:lnTo>
                    <a:pt x="2921" y="1059"/>
                  </a:lnTo>
                  <a:lnTo>
                    <a:pt x="2921" y="1016"/>
                  </a:lnTo>
                  <a:lnTo>
                    <a:pt x="2879" y="1016"/>
                  </a:lnTo>
                  <a:lnTo>
                    <a:pt x="2837" y="1016"/>
                  </a:lnTo>
                  <a:lnTo>
                    <a:pt x="2625" y="932"/>
                  </a:lnTo>
                  <a:lnTo>
                    <a:pt x="2583" y="889"/>
                  </a:lnTo>
                  <a:lnTo>
                    <a:pt x="2583" y="847"/>
                  </a:lnTo>
                  <a:lnTo>
                    <a:pt x="2583" y="805"/>
                  </a:lnTo>
                  <a:lnTo>
                    <a:pt x="2625" y="762"/>
                  </a:lnTo>
                  <a:lnTo>
                    <a:pt x="2583" y="720"/>
                  </a:lnTo>
                  <a:lnTo>
                    <a:pt x="2583" y="678"/>
                  </a:lnTo>
                  <a:lnTo>
                    <a:pt x="2583" y="593"/>
                  </a:lnTo>
                  <a:lnTo>
                    <a:pt x="2625" y="593"/>
                  </a:lnTo>
                  <a:lnTo>
                    <a:pt x="2667" y="593"/>
                  </a:lnTo>
                  <a:lnTo>
                    <a:pt x="2667" y="551"/>
                  </a:lnTo>
                  <a:lnTo>
                    <a:pt x="2625" y="551"/>
                  </a:lnTo>
                  <a:lnTo>
                    <a:pt x="2625" y="508"/>
                  </a:lnTo>
                  <a:lnTo>
                    <a:pt x="2625" y="466"/>
                  </a:lnTo>
                  <a:lnTo>
                    <a:pt x="2583" y="466"/>
                  </a:lnTo>
                  <a:lnTo>
                    <a:pt x="2456" y="381"/>
                  </a:lnTo>
                  <a:lnTo>
                    <a:pt x="2413" y="339"/>
                  </a:lnTo>
                  <a:lnTo>
                    <a:pt x="2329" y="339"/>
                  </a:lnTo>
                  <a:lnTo>
                    <a:pt x="2286" y="339"/>
                  </a:lnTo>
                  <a:lnTo>
                    <a:pt x="2159" y="339"/>
                  </a:lnTo>
                  <a:lnTo>
                    <a:pt x="2159" y="297"/>
                  </a:lnTo>
                  <a:lnTo>
                    <a:pt x="2117" y="339"/>
                  </a:lnTo>
                  <a:lnTo>
                    <a:pt x="2075" y="339"/>
                  </a:lnTo>
                  <a:lnTo>
                    <a:pt x="2032" y="297"/>
                  </a:lnTo>
                  <a:lnTo>
                    <a:pt x="2032" y="254"/>
                  </a:lnTo>
                  <a:lnTo>
                    <a:pt x="1990" y="254"/>
                  </a:lnTo>
                  <a:lnTo>
                    <a:pt x="1948" y="212"/>
                  </a:lnTo>
                  <a:lnTo>
                    <a:pt x="1948" y="170"/>
                  </a:lnTo>
                  <a:lnTo>
                    <a:pt x="1905" y="127"/>
                  </a:lnTo>
                  <a:lnTo>
                    <a:pt x="1905" y="85"/>
                  </a:lnTo>
                  <a:lnTo>
                    <a:pt x="1863" y="43"/>
                  </a:lnTo>
                  <a:lnTo>
                    <a:pt x="1821" y="0"/>
                  </a:lnTo>
                  <a:lnTo>
                    <a:pt x="1778" y="0"/>
                  </a:lnTo>
                  <a:lnTo>
                    <a:pt x="1694" y="0"/>
                  </a:lnTo>
                  <a:close/>
                </a:path>
              </a:pathLst>
            </a:custGeom>
            <a:noFill/>
            <a:ln w="12700" cap="flat" cmpd="sng">
              <a:solidFill>
                <a:schemeClr val="tx1"/>
              </a:solidFill>
              <a:prstDash val="solid"/>
              <a:bevel/>
              <a:headEnd/>
              <a:tailEnd/>
            </a:ln>
          </p:spPr>
          <p:txBody>
            <a:bodyPr/>
            <a:lstStyle/>
            <a:p>
              <a:endParaRPr lang="nl-NL"/>
            </a:p>
          </p:txBody>
        </p:sp>
        <p:grpSp>
          <p:nvGrpSpPr>
            <p:cNvPr id="54" name="Group 542">
              <a:extLst>
                <a:ext uri="{FF2B5EF4-FFF2-40B4-BE49-F238E27FC236}">
                  <a16:creationId xmlns:a16="http://schemas.microsoft.com/office/drawing/2014/main" id="{E6076987-79E9-B8E9-6C8B-67E0654F0F0E}"/>
                </a:ext>
              </a:extLst>
            </p:cNvPr>
            <p:cNvGrpSpPr>
              <a:grpSpLocks/>
            </p:cNvGrpSpPr>
            <p:nvPr/>
          </p:nvGrpSpPr>
          <p:grpSpPr bwMode="auto">
            <a:xfrm>
              <a:off x="3593409" y="2902338"/>
              <a:ext cx="2969424" cy="2131555"/>
              <a:chOff x="4000" y="846"/>
              <a:chExt cx="1127" cy="809"/>
            </a:xfrm>
            <a:noFill/>
          </p:grpSpPr>
          <p:sp>
            <p:nvSpPr>
              <p:cNvPr id="67" name="Freeform 543">
                <a:extLst>
                  <a:ext uri="{FF2B5EF4-FFF2-40B4-BE49-F238E27FC236}">
                    <a16:creationId xmlns:a16="http://schemas.microsoft.com/office/drawing/2014/main" id="{C7F5FEFC-AA98-F827-BA8B-A40840E4530E}"/>
                  </a:ext>
                </a:extLst>
              </p:cNvPr>
              <p:cNvSpPr>
                <a:spLocks/>
              </p:cNvSpPr>
              <p:nvPr/>
            </p:nvSpPr>
            <p:spPr bwMode="auto">
              <a:xfrm>
                <a:off x="5092" y="855"/>
                <a:ext cx="35" cy="10"/>
              </a:xfrm>
              <a:custGeom>
                <a:avLst/>
                <a:gdLst/>
                <a:ahLst/>
                <a:cxnLst>
                  <a:cxn ang="0">
                    <a:pos x="43" y="0"/>
                  </a:cxn>
                  <a:cxn ang="0">
                    <a:pos x="127" y="0"/>
                  </a:cxn>
                  <a:cxn ang="0">
                    <a:pos x="212" y="0"/>
                  </a:cxn>
                  <a:cxn ang="0">
                    <a:pos x="297" y="42"/>
                  </a:cxn>
                  <a:cxn ang="0">
                    <a:pos x="297" y="85"/>
                  </a:cxn>
                  <a:cxn ang="0">
                    <a:pos x="297" y="42"/>
                  </a:cxn>
                  <a:cxn ang="0">
                    <a:pos x="212" y="42"/>
                  </a:cxn>
                  <a:cxn ang="0">
                    <a:pos x="127" y="42"/>
                  </a:cxn>
                  <a:cxn ang="0">
                    <a:pos x="85" y="42"/>
                  </a:cxn>
                  <a:cxn ang="0">
                    <a:pos x="85" y="42"/>
                  </a:cxn>
                  <a:cxn ang="0">
                    <a:pos x="43" y="42"/>
                  </a:cxn>
                  <a:cxn ang="0">
                    <a:pos x="0" y="85"/>
                  </a:cxn>
                  <a:cxn ang="0">
                    <a:pos x="0" y="85"/>
                  </a:cxn>
                  <a:cxn ang="0">
                    <a:pos x="0" y="42"/>
                  </a:cxn>
                  <a:cxn ang="0">
                    <a:pos x="43" y="0"/>
                  </a:cxn>
                  <a:cxn ang="0">
                    <a:pos x="43" y="0"/>
                  </a:cxn>
                </a:cxnLst>
                <a:rect l="0" t="0" r="r" b="b"/>
                <a:pathLst>
                  <a:path w="297" h="85">
                    <a:moveTo>
                      <a:pt x="43" y="0"/>
                    </a:moveTo>
                    <a:lnTo>
                      <a:pt x="127" y="0"/>
                    </a:lnTo>
                    <a:lnTo>
                      <a:pt x="212" y="0"/>
                    </a:lnTo>
                    <a:lnTo>
                      <a:pt x="297" y="42"/>
                    </a:lnTo>
                    <a:lnTo>
                      <a:pt x="297" y="85"/>
                    </a:lnTo>
                    <a:lnTo>
                      <a:pt x="297" y="42"/>
                    </a:lnTo>
                    <a:lnTo>
                      <a:pt x="212" y="42"/>
                    </a:lnTo>
                    <a:lnTo>
                      <a:pt x="127" y="42"/>
                    </a:lnTo>
                    <a:lnTo>
                      <a:pt x="85" y="42"/>
                    </a:lnTo>
                    <a:lnTo>
                      <a:pt x="85" y="42"/>
                    </a:lnTo>
                    <a:lnTo>
                      <a:pt x="43" y="42"/>
                    </a:lnTo>
                    <a:lnTo>
                      <a:pt x="0" y="85"/>
                    </a:lnTo>
                    <a:lnTo>
                      <a:pt x="0" y="85"/>
                    </a:lnTo>
                    <a:lnTo>
                      <a:pt x="0" y="42"/>
                    </a:lnTo>
                    <a:lnTo>
                      <a:pt x="43" y="0"/>
                    </a:lnTo>
                    <a:lnTo>
                      <a:pt x="43" y="0"/>
                    </a:lnTo>
                    <a:close/>
                  </a:path>
                </a:pathLst>
              </a:custGeom>
              <a:grpFill/>
              <a:ln w="12700" cap="flat" cmpd="sng">
                <a:solidFill>
                  <a:schemeClr val="tx1"/>
                </a:solidFill>
                <a:prstDash val="solid"/>
                <a:bevel/>
                <a:headEnd/>
                <a:tailEnd/>
              </a:ln>
            </p:spPr>
            <p:txBody>
              <a:bodyPr/>
              <a:lstStyle/>
              <a:p>
                <a:endParaRPr lang="nl-NL"/>
              </a:p>
            </p:txBody>
          </p:sp>
          <p:sp>
            <p:nvSpPr>
              <p:cNvPr id="68" name="Freeform 544">
                <a:extLst>
                  <a:ext uri="{FF2B5EF4-FFF2-40B4-BE49-F238E27FC236}">
                    <a16:creationId xmlns:a16="http://schemas.microsoft.com/office/drawing/2014/main" id="{34BDBF12-18BD-15DA-0C99-DD6CC9AA6433}"/>
                  </a:ext>
                </a:extLst>
              </p:cNvPr>
              <p:cNvSpPr>
                <a:spLocks/>
              </p:cNvSpPr>
              <p:nvPr/>
            </p:nvSpPr>
            <p:spPr bwMode="auto">
              <a:xfrm>
                <a:off x="4486" y="935"/>
                <a:ext cx="234" cy="60"/>
              </a:xfrm>
              <a:custGeom>
                <a:avLst/>
                <a:gdLst/>
                <a:ahLst/>
                <a:cxnLst>
                  <a:cxn ang="0">
                    <a:pos x="804" y="127"/>
                  </a:cxn>
                  <a:cxn ang="0">
                    <a:pos x="1482" y="85"/>
                  </a:cxn>
                  <a:cxn ang="0">
                    <a:pos x="1863" y="43"/>
                  </a:cxn>
                  <a:cxn ang="0">
                    <a:pos x="1990" y="85"/>
                  </a:cxn>
                  <a:cxn ang="0">
                    <a:pos x="1990" y="127"/>
                  </a:cxn>
                  <a:cxn ang="0">
                    <a:pos x="1947" y="170"/>
                  </a:cxn>
                  <a:cxn ang="0">
                    <a:pos x="1736" y="170"/>
                  </a:cxn>
                  <a:cxn ang="0">
                    <a:pos x="1524" y="212"/>
                  </a:cxn>
                  <a:cxn ang="0">
                    <a:pos x="1439" y="254"/>
                  </a:cxn>
                  <a:cxn ang="0">
                    <a:pos x="1397" y="254"/>
                  </a:cxn>
                  <a:cxn ang="0">
                    <a:pos x="1228" y="297"/>
                  </a:cxn>
                  <a:cxn ang="0">
                    <a:pos x="974" y="339"/>
                  </a:cxn>
                  <a:cxn ang="0">
                    <a:pos x="889" y="339"/>
                  </a:cxn>
                  <a:cxn ang="0">
                    <a:pos x="720" y="297"/>
                  </a:cxn>
                  <a:cxn ang="0">
                    <a:pos x="593" y="297"/>
                  </a:cxn>
                  <a:cxn ang="0">
                    <a:pos x="550" y="381"/>
                  </a:cxn>
                  <a:cxn ang="0">
                    <a:pos x="423" y="424"/>
                  </a:cxn>
                  <a:cxn ang="0">
                    <a:pos x="339" y="466"/>
                  </a:cxn>
                  <a:cxn ang="0">
                    <a:pos x="339" y="466"/>
                  </a:cxn>
                  <a:cxn ang="0">
                    <a:pos x="254" y="466"/>
                  </a:cxn>
                  <a:cxn ang="0">
                    <a:pos x="127" y="424"/>
                  </a:cxn>
                  <a:cxn ang="0">
                    <a:pos x="0" y="297"/>
                  </a:cxn>
                  <a:cxn ang="0">
                    <a:pos x="42" y="212"/>
                  </a:cxn>
                  <a:cxn ang="0">
                    <a:pos x="127" y="85"/>
                  </a:cxn>
                  <a:cxn ang="0">
                    <a:pos x="254" y="0"/>
                  </a:cxn>
                  <a:cxn ang="0">
                    <a:pos x="339" y="43"/>
                  </a:cxn>
                  <a:cxn ang="0">
                    <a:pos x="423" y="85"/>
                  </a:cxn>
                  <a:cxn ang="0">
                    <a:pos x="381" y="85"/>
                  </a:cxn>
                  <a:cxn ang="0">
                    <a:pos x="339" y="43"/>
                  </a:cxn>
                  <a:cxn ang="0">
                    <a:pos x="212" y="43"/>
                  </a:cxn>
                  <a:cxn ang="0">
                    <a:pos x="254" y="85"/>
                  </a:cxn>
                  <a:cxn ang="0">
                    <a:pos x="296" y="85"/>
                  </a:cxn>
                  <a:cxn ang="0">
                    <a:pos x="677" y="127"/>
                  </a:cxn>
                </a:cxnLst>
                <a:rect l="0" t="0" r="r" b="b"/>
                <a:pathLst>
                  <a:path w="1990" h="508">
                    <a:moveTo>
                      <a:pt x="677" y="127"/>
                    </a:moveTo>
                    <a:lnTo>
                      <a:pt x="804" y="127"/>
                    </a:lnTo>
                    <a:lnTo>
                      <a:pt x="931" y="127"/>
                    </a:lnTo>
                    <a:lnTo>
                      <a:pt x="1482" y="85"/>
                    </a:lnTo>
                    <a:lnTo>
                      <a:pt x="1736" y="43"/>
                    </a:lnTo>
                    <a:lnTo>
                      <a:pt x="1863" y="43"/>
                    </a:lnTo>
                    <a:lnTo>
                      <a:pt x="1947" y="85"/>
                    </a:lnTo>
                    <a:lnTo>
                      <a:pt x="1990" y="85"/>
                    </a:lnTo>
                    <a:lnTo>
                      <a:pt x="1990" y="127"/>
                    </a:lnTo>
                    <a:lnTo>
                      <a:pt x="1990" y="127"/>
                    </a:lnTo>
                    <a:lnTo>
                      <a:pt x="1990" y="170"/>
                    </a:lnTo>
                    <a:lnTo>
                      <a:pt x="1947" y="170"/>
                    </a:lnTo>
                    <a:lnTo>
                      <a:pt x="1820" y="170"/>
                    </a:lnTo>
                    <a:lnTo>
                      <a:pt x="1736" y="170"/>
                    </a:lnTo>
                    <a:lnTo>
                      <a:pt x="1609" y="170"/>
                    </a:lnTo>
                    <a:lnTo>
                      <a:pt x="1524" y="212"/>
                    </a:lnTo>
                    <a:lnTo>
                      <a:pt x="1524" y="212"/>
                    </a:lnTo>
                    <a:lnTo>
                      <a:pt x="1439" y="254"/>
                    </a:lnTo>
                    <a:lnTo>
                      <a:pt x="1397" y="254"/>
                    </a:lnTo>
                    <a:lnTo>
                      <a:pt x="1397" y="254"/>
                    </a:lnTo>
                    <a:lnTo>
                      <a:pt x="1397" y="254"/>
                    </a:lnTo>
                    <a:lnTo>
                      <a:pt x="1228" y="297"/>
                    </a:lnTo>
                    <a:lnTo>
                      <a:pt x="1058" y="339"/>
                    </a:lnTo>
                    <a:lnTo>
                      <a:pt x="974" y="339"/>
                    </a:lnTo>
                    <a:lnTo>
                      <a:pt x="931" y="339"/>
                    </a:lnTo>
                    <a:lnTo>
                      <a:pt x="889" y="339"/>
                    </a:lnTo>
                    <a:lnTo>
                      <a:pt x="762" y="297"/>
                    </a:lnTo>
                    <a:lnTo>
                      <a:pt x="720" y="297"/>
                    </a:lnTo>
                    <a:lnTo>
                      <a:pt x="635" y="297"/>
                    </a:lnTo>
                    <a:lnTo>
                      <a:pt x="593" y="297"/>
                    </a:lnTo>
                    <a:lnTo>
                      <a:pt x="593" y="339"/>
                    </a:lnTo>
                    <a:lnTo>
                      <a:pt x="550" y="381"/>
                    </a:lnTo>
                    <a:lnTo>
                      <a:pt x="508" y="424"/>
                    </a:lnTo>
                    <a:lnTo>
                      <a:pt x="423" y="424"/>
                    </a:lnTo>
                    <a:lnTo>
                      <a:pt x="381" y="466"/>
                    </a:lnTo>
                    <a:lnTo>
                      <a:pt x="339" y="466"/>
                    </a:lnTo>
                    <a:lnTo>
                      <a:pt x="296" y="466"/>
                    </a:lnTo>
                    <a:lnTo>
                      <a:pt x="339" y="466"/>
                    </a:lnTo>
                    <a:lnTo>
                      <a:pt x="296" y="508"/>
                    </a:lnTo>
                    <a:lnTo>
                      <a:pt x="254" y="466"/>
                    </a:lnTo>
                    <a:lnTo>
                      <a:pt x="169" y="466"/>
                    </a:lnTo>
                    <a:lnTo>
                      <a:pt x="127" y="424"/>
                    </a:lnTo>
                    <a:lnTo>
                      <a:pt x="42" y="381"/>
                    </a:lnTo>
                    <a:lnTo>
                      <a:pt x="0" y="297"/>
                    </a:lnTo>
                    <a:lnTo>
                      <a:pt x="0" y="254"/>
                    </a:lnTo>
                    <a:lnTo>
                      <a:pt x="42" y="212"/>
                    </a:lnTo>
                    <a:lnTo>
                      <a:pt x="85" y="127"/>
                    </a:lnTo>
                    <a:lnTo>
                      <a:pt x="127" y="85"/>
                    </a:lnTo>
                    <a:lnTo>
                      <a:pt x="212" y="0"/>
                    </a:lnTo>
                    <a:lnTo>
                      <a:pt x="254" y="0"/>
                    </a:lnTo>
                    <a:lnTo>
                      <a:pt x="296" y="0"/>
                    </a:lnTo>
                    <a:lnTo>
                      <a:pt x="339" y="43"/>
                    </a:lnTo>
                    <a:lnTo>
                      <a:pt x="381" y="43"/>
                    </a:lnTo>
                    <a:lnTo>
                      <a:pt x="423" y="85"/>
                    </a:lnTo>
                    <a:lnTo>
                      <a:pt x="381" y="85"/>
                    </a:lnTo>
                    <a:lnTo>
                      <a:pt x="381" y="85"/>
                    </a:lnTo>
                    <a:lnTo>
                      <a:pt x="339" y="43"/>
                    </a:lnTo>
                    <a:lnTo>
                      <a:pt x="339" y="43"/>
                    </a:lnTo>
                    <a:lnTo>
                      <a:pt x="296" y="43"/>
                    </a:lnTo>
                    <a:lnTo>
                      <a:pt x="212" y="43"/>
                    </a:lnTo>
                    <a:lnTo>
                      <a:pt x="169" y="85"/>
                    </a:lnTo>
                    <a:lnTo>
                      <a:pt x="254" y="85"/>
                    </a:lnTo>
                    <a:lnTo>
                      <a:pt x="296" y="85"/>
                    </a:lnTo>
                    <a:lnTo>
                      <a:pt x="296" y="85"/>
                    </a:lnTo>
                    <a:lnTo>
                      <a:pt x="466" y="127"/>
                    </a:lnTo>
                    <a:lnTo>
                      <a:pt x="677" y="127"/>
                    </a:lnTo>
                    <a:close/>
                  </a:path>
                </a:pathLst>
              </a:custGeom>
              <a:grpFill/>
              <a:ln w="12700" cap="flat" cmpd="sng">
                <a:solidFill>
                  <a:schemeClr val="tx1"/>
                </a:solidFill>
                <a:prstDash val="solid"/>
                <a:bevel/>
                <a:headEnd/>
                <a:tailEnd/>
              </a:ln>
            </p:spPr>
            <p:txBody>
              <a:bodyPr/>
              <a:lstStyle/>
              <a:p>
                <a:endParaRPr lang="nl-NL"/>
              </a:p>
            </p:txBody>
          </p:sp>
          <p:sp>
            <p:nvSpPr>
              <p:cNvPr id="69" name="Freeform 545">
                <a:extLst>
                  <a:ext uri="{FF2B5EF4-FFF2-40B4-BE49-F238E27FC236}">
                    <a16:creationId xmlns:a16="http://schemas.microsoft.com/office/drawing/2014/main" id="{00DE88F7-7686-62A6-ECAE-422FDBE9929B}"/>
                  </a:ext>
                </a:extLst>
              </p:cNvPr>
              <p:cNvSpPr>
                <a:spLocks/>
              </p:cNvSpPr>
              <p:nvPr/>
            </p:nvSpPr>
            <p:spPr bwMode="auto">
              <a:xfrm>
                <a:off x="4813" y="890"/>
                <a:ext cx="144" cy="70"/>
              </a:xfrm>
              <a:custGeom>
                <a:avLst/>
                <a:gdLst/>
                <a:ahLst/>
                <a:cxnLst>
                  <a:cxn ang="0">
                    <a:pos x="1228" y="43"/>
                  </a:cxn>
                  <a:cxn ang="0">
                    <a:pos x="1228" y="127"/>
                  </a:cxn>
                  <a:cxn ang="0">
                    <a:pos x="1185" y="127"/>
                  </a:cxn>
                  <a:cxn ang="0">
                    <a:pos x="1143" y="127"/>
                  </a:cxn>
                  <a:cxn ang="0">
                    <a:pos x="1101" y="127"/>
                  </a:cxn>
                  <a:cxn ang="0">
                    <a:pos x="1058" y="127"/>
                  </a:cxn>
                  <a:cxn ang="0">
                    <a:pos x="974" y="170"/>
                  </a:cxn>
                  <a:cxn ang="0">
                    <a:pos x="974" y="170"/>
                  </a:cxn>
                  <a:cxn ang="0">
                    <a:pos x="847" y="212"/>
                  </a:cxn>
                  <a:cxn ang="0">
                    <a:pos x="804" y="254"/>
                  </a:cxn>
                  <a:cxn ang="0">
                    <a:pos x="804" y="297"/>
                  </a:cxn>
                  <a:cxn ang="0">
                    <a:pos x="720" y="339"/>
                  </a:cxn>
                  <a:cxn ang="0">
                    <a:pos x="677" y="339"/>
                  </a:cxn>
                  <a:cxn ang="0">
                    <a:pos x="593" y="339"/>
                  </a:cxn>
                  <a:cxn ang="0">
                    <a:pos x="593" y="339"/>
                  </a:cxn>
                  <a:cxn ang="0">
                    <a:pos x="550" y="339"/>
                  </a:cxn>
                  <a:cxn ang="0">
                    <a:pos x="550" y="339"/>
                  </a:cxn>
                  <a:cxn ang="0">
                    <a:pos x="423" y="381"/>
                  </a:cxn>
                  <a:cxn ang="0">
                    <a:pos x="381" y="381"/>
                  </a:cxn>
                  <a:cxn ang="0">
                    <a:pos x="381" y="381"/>
                  </a:cxn>
                  <a:cxn ang="0">
                    <a:pos x="254" y="381"/>
                  </a:cxn>
                  <a:cxn ang="0">
                    <a:pos x="212" y="381"/>
                  </a:cxn>
                  <a:cxn ang="0">
                    <a:pos x="169" y="466"/>
                  </a:cxn>
                  <a:cxn ang="0">
                    <a:pos x="169" y="508"/>
                  </a:cxn>
                  <a:cxn ang="0">
                    <a:pos x="127" y="508"/>
                  </a:cxn>
                  <a:cxn ang="0">
                    <a:pos x="127" y="551"/>
                  </a:cxn>
                  <a:cxn ang="0">
                    <a:pos x="127" y="551"/>
                  </a:cxn>
                  <a:cxn ang="0">
                    <a:pos x="85" y="551"/>
                  </a:cxn>
                  <a:cxn ang="0">
                    <a:pos x="85" y="551"/>
                  </a:cxn>
                  <a:cxn ang="0">
                    <a:pos x="42" y="551"/>
                  </a:cxn>
                  <a:cxn ang="0">
                    <a:pos x="42" y="593"/>
                  </a:cxn>
                  <a:cxn ang="0">
                    <a:pos x="42" y="593"/>
                  </a:cxn>
                  <a:cxn ang="0">
                    <a:pos x="0" y="508"/>
                  </a:cxn>
                  <a:cxn ang="0">
                    <a:pos x="0" y="508"/>
                  </a:cxn>
                  <a:cxn ang="0">
                    <a:pos x="0" y="466"/>
                  </a:cxn>
                  <a:cxn ang="0">
                    <a:pos x="42" y="466"/>
                  </a:cxn>
                  <a:cxn ang="0">
                    <a:pos x="85" y="424"/>
                  </a:cxn>
                  <a:cxn ang="0">
                    <a:pos x="42" y="381"/>
                  </a:cxn>
                  <a:cxn ang="0">
                    <a:pos x="42" y="339"/>
                  </a:cxn>
                  <a:cxn ang="0">
                    <a:pos x="42" y="254"/>
                  </a:cxn>
                  <a:cxn ang="0">
                    <a:pos x="85" y="212"/>
                  </a:cxn>
                  <a:cxn ang="0">
                    <a:pos x="169" y="170"/>
                  </a:cxn>
                  <a:cxn ang="0">
                    <a:pos x="169" y="127"/>
                  </a:cxn>
                  <a:cxn ang="0">
                    <a:pos x="169" y="127"/>
                  </a:cxn>
                  <a:cxn ang="0">
                    <a:pos x="127" y="127"/>
                  </a:cxn>
                  <a:cxn ang="0">
                    <a:pos x="85" y="127"/>
                  </a:cxn>
                  <a:cxn ang="0">
                    <a:pos x="42" y="127"/>
                  </a:cxn>
                  <a:cxn ang="0">
                    <a:pos x="42" y="127"/>
                  </a:cxn>
                  <a:cxn ang="0">
                    <a:pos x="0" y="127"/>
                  </a:cxn>
                  <a:cxn ang="0">
                    <a:pos x="42" y="127"/>
                  </a:cxn>
                  <a:cxn ang="0">
                    <a:pos x="42" y="127"/>
                  </a:cxn>
                  <a:cxn ang="0">
                    <a:pos x="85" y="85"/>
                  </a:cxn>
                  <a:cxn ang="0">
                    <a:pos x="169" y="127"/>
                  </a:cxn>
                  <a:cxn ang="0">
                    <a:pos x="296" y="127"/>
                  </a:cxn>
                  <a:cxn ang="0">
                    <a:pos x="720" y="85"/>
                  </a:cxn>
                  <a:cxn ang="0">
                    <a:pos x="847" y="85"/>
                  </a:cxn>
                  <a:cxn ang="0">
                    <a:pos x="1101" y="43"/>
                  </a:cxn>
                  <a:cxn ang="0">
                    <a:pos x="1185" y="0"/>
                  </a:cxn>
                  <a:cxn ang="0">
                    <a:pos x="1228" y="43"/>
                  </a:cxn>
                </a:cxnLst>
                <a:rect l="0" t="0" r="r" b="b"/>
                <a:pathLst>
                  <a:path w="1228" h="593">
                    <a:moveTo>
                      <a:pt x="1228" y="43"/>
                    </a:moveTo>
                    <a:lnTo>
                      <a:pt x="1228" y="127"/>
                    </a:lnTo>
                    <a:lnTo>
                      <a:pt x="1185" y="127"/>
                    </a:lnTo>
                    <a:lnTo>
                      <a:pt x="1143" y="127"/>
                    </a:lnTo>
                    <a:lnTo>
                      <a:pt x="1101" y="127"/>
                    </a:lnTo>
                    <a:lnTo>
                      <a:pt x="1058" y="127"/>
                    </a:lnTo>
                    <a:lnTo>
                      <a:pt x="974" y="170"/>
                    </a:lnTo>
                    <a:lnTo>
                      <a:pt x="974" y="170"/>
                    </a:lnTo>
                    <a:lnTo>
                      <a:pt x="847" y="212"/>
                    </a:lnTo>
                    <a:lnTo>
                      <a:pt x="804" y="254"/>
                    </a:lnTo>
                    <a:lnTo>
                      <a:pt x="804" y="297"/>
                    </a:lnTo>
                    <a:lnTo>
                      <a:pt x="720" y="339"/>
                    </a:lnTo>
                    <a:lnTo>
                      <a:pt x="677" y="339"/>
                    </a:lnTo>
                    <a:lnTo>
                      <a:pt x="593" y="339"/>
                    </a:lnTo>
                    <a:lnTo>
                      <a:pt x="593" y="339"/>
                    </a:lnTo>
                    <a:lnTo>
                      <a:pt x="550" y="339"/>
                    </a:lnTo>
                    <a:lnTo>
                      <a:pt x="550" y="339"/>
                    </a:lnTo>
                    <a:lnTo>
                      <a:pt x="423" y="381"/>
                    </a:lnTo>
                    <a:lnTo>
                      <a:pt x="381" y="381"/>
                    </a:lnTo>
                    <a:lnTo>
                      <a:pt x="381" y="381"/>
                    </a:lnTo>
                    <a:lnTo>
                      <a:pt x="254" y="381"/>
                    </a:lnTo>
                    <a:lnTo>
                      <a:pt x="212" y="381"/>
                    </a:lnTo>
                    <a:lnTo>
                      <a:pt x="169" y="466"/>
                    </a:lnTo>
                    <a:lnTo>
                      <a:pt x="169" y="508"/>
                    </a:lnTo>
                    <a:lnTo>
                      <a:pt x="127" y="508"/>
                    </a:lnTo>
                    <a:lnTo>
                      <a:pt x="127" y="551"/>
                    </a:lnTo>
                    <a:lnTo>
                      <a:pt x="127" y="551"/>
                    </a:lnTo>
                    <a:lnTo>
                      <a:pt x="85" y="551"/>
                    </a:lnTo>
                    <a:lnTo>
                      <a:pt x="85" y="551"/>
                    </a:lnTo>
                    <a:lnTo>
                      <a:pt x="42" y="551"/>
                    </a:lnTo>
                    <a:lnTo>
                      <a:pt x="42" y="593"/>
                    </a:lnTo>
                    <a:lnTo>
                      <a:pt x="42" y="593"/>
                    </a:lnTo>
                    <a:lnTo>
                      <a:pt x="0" y="508"/>
                    </a:lnTo>
                    <a:lnTo>
                      <a:pt x="0" y="508"/>
                    </a:lnTo>
                    <a:lnTo>
                      <a:pt x="0" y="466"/>
                    </a:lnTo>
                    <a:lnTo>
                      <a:pt x="42" y="466"/>
                    </a:lnTo>
                    <a:lnTo>
                      <a:pt x="85" y="424"/>
                    </a:lnTo>
                    <a:lnTo>
                      <a:pt x="42" y="381"/>
                    </a:lnTo>
                    <a:lnTo>
                      <a:pt x="42" y="339"/>
                    </a:lnTo>
                    <a:lnTo>
                      <a:pt x="42" y="254"/>
                    </a:lnTo>
                    <a:lnTo>
                      <a:pt x="85" y="212"/>
                    </a:lnTo>
                    <a:lnTo>
                      <a:pt x="169" y="170"/>
                    </a:lnTo>
                    <a:lnTo>
                      <a:pt x="169" y="127"/>
                    </a:lnTo>
                    <a:lnTo>
                      <a:pt x="169" y="127"/>
                    </a:lnTo>
                    <a:lnTo>
                      <a:pt x="127" y="127"/>
                    </a:lnTo>
                    <a:lnTo>
                      <a:pt x="85" y="127"/>
                    </a:lnTo>
                    <a:lnTo>
                      <a:pt x="42" y="127"/>
                    </a:lnTo>
                    <a:lnTo>
                      <a:pt x="42" y="127"/>
                    </a:lnTo>
                    <a:lnTo>
                      <a:pt x="0" y="127"/>
                    </a:lnTo>
                    <a:lnTo>
                      <a:pt x="42" y="127"/>
                    </a:lnTo>
                    <a:lnTo>
                      <a:pt x="42" y="127"/>
                    </a:lnTo>
                    <a:lnTo>
                      <a:pt x="85" y="85"/>
                    </a:lnTo>
                    <a:lnTo>
                      <a:pt x="169" y="127"/>
                    </a:lnTo>
                    <a:lnTo>
                      <a:pt x="296" y="127"/>
                    </a:lnTo>
                    <a:lnTo>
                      <a:pt x="720" y="85"/>
                    </a:lnTo>
                    <a:lnTo>
                      <a:pt x="847" y="85"/>
                    </a:lnTo>
                    <a:lnTo>
                      <a:pt x="1101" y="43"/>
                    </a:lnTo>
                    <a:lnTo>
                      <a:pt x="1185" y="0"/>
                    </a:lnTo>
                    <a:lnTo>
                      <a:pt x="1228" y="43"/>
                    </a:lnTo>
                    <a:close/>
                  </a:path>
                </a:pathLst>
              </a:custGeom>
              <a:grpFill/>
              <a:ln w="12700" cap="flat" cmpd="sng">
                <a:solidFill>
                  <a:schemeClr val="tx1"/>
                </a:solidFill>
                <a:prstDash val="solid"/>
                <a:bevel/>
                <a:headEnd/>
                <a:tailEnd/>
              </a:ln>
            </p:spPr>
            <p:txBody>
              <a:bodyPr/>
              <a:lstStyle/>
              <a:p>
                <a:endParaRPr lang="nl-NL"/>
              </a:p>
            </p:txBody>
          </p:sp>
          <p:sp>
            <p:nvSpPr>
              <p:cNvPr id="70" name="Freeform 546">
                <a:extLst>
                  <a:ext uri="{FF2B5EF4-FFF2-40B4-BE49-F238E27FC236}">
                    <a16:creationId xmlns:a16="http://schemas.microsoft.com/office/drawing/2014/main" id="{4FD16ABA-B24B-422A-325E-825F2466E499}"/>
                  </a:ext>
                </a:extLst>
              </p:cNvPr>
              <p:cNvSpPr>
                <a:spLocks/>
              </p:cNvSpPr>
              <p:nvPr/>
            </p:nvSpPr>
            <p:spPr bwMode="auto">
              <a:xfrm>
                <a:off x="4194" y="960"/>
                <a:ext cx="257" cy="114"/>
              </a:xfrm>
              <a:custGeom>
                <a:avLst/>
                <a:gdLst/>
                <a:ahLst/>
                <a:cxnLst>
                  <a:cxn ang="0">
                    <a:pos x="1355" y="423"/>
                  </a:cxn>
                  <a:cxn ang="0">
                    <a:pos x="1228" y="466"/>
                  </a:cxn>
                  <a:cxn ang="0">
                    <a:pos x="1186" y="508"/>
                  </a:cxn>
                  <a:cxn ang="0">
                    <a:pos x="1059" y="635"/>
                  </a:cxn>
                  <a:cxn ang="0">
                    <a:pos x="1016" y="635"/>
                  </a:cxn>
                  <a:cxn ang="0">
                    <a:pos x="974" y="677"/>
                  </a:cxn>
                  <a:cxn ang="0">
                    <a:pos x="889" y="635"/>
                  </a:cxn>
                  <a:cxn ang="0">
                    <a:pos x="847" y="677"/>
                  </a:cxn>
                  <a:cxn ang="0">
                    <a:pos x="805" y="720"/>
                  </a:cxn>
                  <a:cxn ang="0">
                    <a:pos x="762" y="720"/>
                  </a:cxn>
                  <a:cxn ang="0">
                    <a:pos x="762" y="762"/>
                  </a:cxn>
                  <a:cxn ang="0">
                    <a:pos x="678" y="720"/>
                  </a:cxn>
                  <a:cxn ang="0">
                    <a:pos x="635" y="720"/>
                  </a:cxn>
                  <a:cxn ang="0">
                    <a:pos x="593" y="720"/>
                  </a:cxn>
                  <a:cxn ang="0">
                    <a:pos x="508" y="804"/>
                  </a:cxn>
                  <a:cxn ang="0">
                    <a:pos x="424" y="804"/>
                  </a:cxn>
                  <a:cxn ang="0">
                    <a:pos x="339" y="847"/>
                  </a:cxn>
                  <a:cxn ang="0">
                    <a:pos x="339" y="889"/>
                  </a:cxn>
                  <a:cxn ang="0">
                    <a:pos x="297" y="889"/>
                  </a:cxn>
                  <a:cxn ang="0">
                    <a:pos x="254" y="931"/>
                  </a:cxn>
                  <a:cxn ang="0">
                    <a:pos x="170" y="974"/>
                  </a:cxn>
                  <a:cxn ang="0">
                    <a:pos x="43" y="889"/>
                  </a:cxn>
                  <a:cxn ang="0">
                    <a:pos x="0" y="889"/>
                  </a:cxn>
                  <a:cxn ang="0">
                    <a:pos x="43" y="804"/>
                  </a:cxn>
                  <a:cxn ang="0">
                    <a:pos x="212" y="550"/>
                  </a:cxn>
                  <a:cxn ang="0">
                    <a:pos x="297" y="508"/>
                  </a:cxn>
                  <a:cxn ang="0">
                    <a:pos x="551" y="423"/>
                  </a:cxn>
                  <a:cxn ang="0">
                    <a:pos x="889" y="381"/>
                  </a:cxn>
                  <a:cxn ang="0">
                    <a:pos x="1355" y="212"/>
                  </a:cxn>
                  <a:cxn ang="0">
                    <a:pos x="1948" y="42"/>
                  </a:cxn>
                  <a:cxn ang="0">
                    <a:pos x="2117" y="42"/>
                  </a:cxn>
                  <a:cxn ang="0">
                    <a:pos x="2202" y="85"/>
                  </a:cxn>
                  <a:cxn ang="0">
                    <a:pos x="2202" y="169"/>
                  </a:cxn>
                  <a:cxn ang="0">
                    <a:pos x="2202" y="212"/>
                  </a:cxn>
                  <a:cxn ang="0">
                    <a:pos x="2202" y="127"/>
                  </a:cxn>
                  <a:cxn ang="0">
                    <a:pos x="2159" y="85"/>
                  </a:cxn>
                  <a:cxn ang="0">
                    <a:pos x="2117" y="169"/>
                  </a:cxn>
                  <a:cxn ang="0">
                    <a:pos x="2075" y="212"/>
                  </a:cxn>
                  <a:cxn ang="0">
                    <a:pos x="1948" y="212"/>
                  </a:cxn>
                  <a:cxn ang="0">
                    <a:pos x="1863" y="254"/>
                  </a:cxn>
                  <a:cxn ang="0">
                    <a:pos x="1821" y="212"/>
                  </a:cxn>
                  <a:cxn ang="0">
                    <a:pos x="1821" y="212"/>
                  </a:cxn>
                  <a:cxn ang="0">
                    <a:pos x="1821" y="254"/>
                  </a:cxn>
                  <a:cxn ang="0">
                    <a:pos x="1821" y="296"/>
                  </a:cxn>
                  <a:cxn ang="0">
                    <a:pos x="1778" y="296"/>
                  </a:cxn>
                  <a:cxn ang="0">
                    <a:pos x="1736" y="254"/>
                  </a:cxn>
                  <a:cxn ang="0">
                    <a:pos x="1694" y="254"/>
                  </a:cxn>
                  <a:cxn ang="0">
                    <a:pos x="1736" y="339"/>
                  </a:cxn>
                  <a:cxn ang="0">
                    <a:pos x="1651" y="339"/>
                  </a:cxn>
                  <a:cxn ang="0">
                    <a:pos x="1609" y="296"/>
                  </a:cxn>
                  <a:cxn ang="0">
                    <a:pos x="1609" y="296"/>
                  </a:cxn>
                  <a:cxn ang="0">
                    <a:pos x="1694" y="381"/>
                  </a:cxn>
                  <a:cxn ang="0">
                    <a:pos x="1778" y="381"/>
                  </a:cxn>
                  <a:cxn ang="0">
                    <a:pos x="1736" y="423"/>
                  </a:cxn>
                  <a:cxn ang="0">
                    <a:pos x="1567" y="423"/>
                  </a:cxn>
                </a:cxnLst>
                <a:rect l="0" t="0" r="r" b="b"/>
                <a:pathLst>
                  <a:path w="2202" h="974">
                    <a:moveTo>
                      <a:pt x="1524" y="423"/>
                    </a:moveTo>
                    <a:lnTo>
                      <a:pt x="1355" y="423"/>
                    </a:lnTo>
                    <a:lnTo>
                      <a:pt x="1270" y="466"/>
                    </a:lnTo>
                    <a:lnTo>
                      <a:pt x="1228" y="466"/>
                    </a:lnTo>
                    <a:lnTo>
                      <a:pt x="1186" y="508"/>
                    </a:lnTo>
                    <a:lnTo>
                      <a:pt x="1186" y="508"/>
                    </a:lnTo>
                    <a:lnTo>
                      <a:pt x="1101" y="593"/>
                    </a:lnTo>
                    <a:lnTo>
                      <a:pt x="1059" y="635"/>
                    </a:lnTo>
                    <a:lnTo>
                      <a:pt x="1059" y="635"/>
                    </a:lnTo>
                    <a:lnTo>
                      <a:pt x="1016" y="635"/>
                    </a:lnTo>
                    <a:lnTo>
                      <a:pt x="974" y="635"/>
                    </a:lnTo>
                    <a:lnTo>
                      <a:pt x="974" y="677"/>
                    </a:lnTo>
                    <a:lnTo>
                      <a:pt x="932" y="677"/>
                    </a:lnTo>
                    <a:lnTo>
                      <a:pt x="889" y="635"/>
                    </a:lnTo>
                    <a:lnTo>
                      <a:pt x="889" y="677"/>
                    </a:lnTo>
                    <a:lnTo>
                      <a:pt x="847" y="677"/>
                    </a:lnTo>
                    <a:lnTo>
                      <a:pt x="805" y="720"/>
                    </a:lnTo>
                    <a:lnTo>
                      <a:pt x="805" y="720"/>
                    </a:lnTo>
                    <a:lnTo>
                      <a:pt x="805" y="720"/>
                    </a:lnTo>
                    <a:lnTo>
                      <a:pt x="762" y="720"/>
                    </a:lnTo>
                    <a:lnTo>
                      <a:pt x="762" y="762"/>
                    </a:lnTo>
                    <a:lnTo>
                      <a:pt x="762" y="762"/>
                    </a:lnTo>
                    <a:lnTo>
                      <a:pt x="720" y="720"/>
                    </a:lnTo>
                    <a:lnTo>
                      <a:pt x="678" y="720"/>
                    </a:lnTo>
                    <a:lnTo>
                      <a:pt x="678" y="720"/>
                    </a:lnTo>
                    <a:lnTo>
                      <a:pt x="635" y="720"/>
                    </a:lnTo>
                    <a:lnTo>
                      <a:pt x="593" y="720"/>
                    </a:lnTo>
                    <a:lnTo>
                      <a:pt x="593" y="720"/>
                    </a:lnTo>
                    <a:lnTo>
                      <a:pt x="551" y="762"/>
                    </a:lnTo>
                    <a:lnTo>
                      <a:pt x="508" y="804"/>
                    </a:lnTo>
                    <a:lnTo>
                      <a:pt x="466" y="762"/>
                    </a:lnTo>
                    <a:lnTo>
                      <a:pt x="424" y="804"/>
                    </a:lnTo>
                    <a:lnTo>
                      <a:pt x="381" y="804"/>
                    </a:lnTo>
                    <a:lnTo>
                      <a:pt x="339" y="847"/>
                    </a:lnTo>
                    <a:lnTo>
                      <a:pt x="339" y="889"/>
                    </a:lnTo>
                    <a:lnTo>
                      <a:pt x="339" y="889"/>
                    </a:lnTo>
                    <a:lnTo>
                      <a:pt x="339" y="889"/>
                    </a:lnTo>
                    <a:lnTo>
                      <a:pt x="297" y="889"/>
                    </a:lnTo>
                    <a:lnTo>
                      <a:pt x="212" y="931"/>
                    </a:lnTo>
                    <a:lnTo>
                      <a:pt x="254" y="931"/>
                    </a:lnTo>
                    <a:lnTo>
                      <a:pt x="212" y="974"/>
                    </a:lnTo>
                    <a:lnTo>
                      <a:pt x="170" y="974"/>
                    </a:lnTo>
                    <a:lnTo>
                      <a:pt x="85" y="974"/>
                    </a:lnTo>
                    <a:lnTo>
                      <a:pt x="43" y="889"/>
                    </a:lnTo>
                    <a:lnTo>
                      <a:pt x="0" y="889"/>
                    </a:lnTo>
                    <a:lnTo>
                      <a:pt x="0" y="889"/>
                    </a:lnTo>
                    <a:lnTo>
                      <a:pt x="0" y="847"/>
                    </a:lnTo>
                    <a:lnTo>
                      <a:pt x="43" y="804"/>
                    </a:lnTo>
                    <a:lnTo>
                      <a:pt x="127" y="677"/>
                    </a:lnTo>
                    <a:lnTo>
                      <a:pt x="212" y="550"/>
                    </a:lnTo>
                    <a:lnTo>
                      <a:pt x="212" y="550"/>
                    </a:lnTo>
                    <a:lnTo>
                      <a:pt x="297" y="508"/>
                    </a:lnTo>
                    <a:lnTo>
                      <a:pt x="381" y="466"/>
                    </a:lnTo>
                    <a:lnTo>
                      <a:pt x="551" y="423"/>
                    </a:lnTo>
                    <a:lnTo>
                      <a:pt x="805" y="381"/>
                    </a:lnTo>
                    <a:lnTo>
                      <a:pt x="889" y="381"/>
                    </a:lnTo>
                    <a:lnTo>
                      <a:pt x="1143" y="296"/>
                    </a:lnTo>
                    <a:lnTo>
                      <a:pt x="1355" y="212"/>
                    </a:lnTo>
                    <a:lnTo>
                      <a:pt x="1821" y="42"/>
                    </a:lnTo>
                    <a:lnTo>
                      <a:pt x="1948" y="42"/>
                    </a:lnTo>
                    <a:lnTo>
                      <a:pt x="2075" y="0"/>
                    </a:lnTo>
                    <a:lnTo>
                      <a:pt x="2117" y="42"/>
                    </a:lnTo>
                    <a:lnTo>
                      <a:pt x="2159" y="42"/>
                    </a:lnTo>
                    <a:lnTo>
                      <a:pt x="2202" y="85"/>
                    </a:lnTo>
                    <a:lnTo>
                      <a:pt x="2202" y="85"/>
                    </a:lnTo>
                    <a:lnTo>
                      <a:pt x="2202" y="169"/>
                    </a:lnTo>
                    <a:lnTo>
                      <a:pt x="2202" y="212"/>
                    </a:lnTo>
                    <a:lnTo>
                      <a:pt x="2202" y="212"/>
                    </a:lnTo>
                    <a:lnTo>
                      <a:pt x="2202" y="169"/>
                    </a:lnTo>
                    <a:lnTo>
                      <a:pt x="2202" y="127"/>
                    </a:lnTo>
                    <a:lnTo>
                      <a:pt x="2159" y="85"/>
                    </a:lnTo>
                    <a:lnTo>
                      <a:pt x="2159" y="85"/>
                    </a:lnTo>
                    <a:lnTo>
                      <a:pt x="2159" y="127"/>
                    </a:lnTo>
                    <a:lnTo>
                      <a:pt x="2117" y="169"/>
                    </a:lnTo>
                    <a:lnTo>
                      <a:pt x="2117" y="169"/>
                    </a:lnTo>
                    <a:lnTo>
                      <a:pt x="2075" y="212"/>
                    </a:lnTo>
                    <a:lnTo>
                      <a:pt x="1990" y="212"/>
                    </a:lnTo>
                    <a:lnTo>
                      <a:pt x="1948" y="212"/>
                    </a:lnTo>
                    <a:lnTo>
                      <a:pt x="1863" y="254"/>
                    </a:lnTo>
                    <a:lnTo>
                      <a:pt x="1863" y="254"/>
                    </a:lnTo>
                    <a:lnTo>
                      <a:pt x="1863" y="254"/>
                    </a:lnTo>
                    <a:lnTo>
                      <a:pt x="1821" y="212"/>
                    </a:lnTo>
                    <a:lnTo>
                      <a:pt x="1821" y="212"/>
                    </a:lnTo>
                    <a:lnTo>
                      <a:pt x="1821" y="212"/>
                    </a:lnTo>
                    <a:lnTo>
                      <a:pt x="1821" y="212"/>
                    </a:lnTo>
                    <a:lnTo>
                      <a:pt x="1821" y="254"/>
                    </a:lnTo>
                    <a:lnTo>
                      <a:pt x="1863" y="254"/>
                    </a:lnTo>
                    <a:lnTo>
                      <a:pt x="1821" y="296"/>
                    </a:lnTo>
                    <a:lnTo>
                      <a:pt x="1778" y="296"/>
                    </a:lnTo>
                    <a:lnTo>
                      <a:pt x="1778" y="296"/>
                    </a:lnTo>
                    <a:lnTo>
                      <a:pt x="1736" y="296"/>
                    </a:lnTo>
                    <a:lnTo>
                      <a:pt x="1736" y="254"/>
                    </a:lnTo>
                    <a:lnTo>
                      <a:pt x="1694" y="254"/>
                    </a:lnTo>
                    <a:lnTo>
                      <a:pt x="1694" y="254"/>
                    </a:lnTo>
                    <a:lnTo>
                      <a:pt x="1736" y="296"/>
                    </a:lnTo>
                    <a:lnTo>
                      <a:pt x="1736" y="339"/>
                    </a:lnTo>
                    <a:lnTo>
                      <a:pt x="1694" y="339"/>
                    </a:lnTo>
                    <a:lnTo>
                      <a:pt x="1651" y="339"/>
                    </a:lnTo>
                    <a:lnTo>
                      <a:pt x="1651" y="339"/>
                    </a:lnTo>
                    <a:lnTo>
                      <a:pt x="1609" y="296"/>
                    </a:lnTo>
                    <a:lnTo>
                      <a:pt x="1609" y="296"/>
                    </a:lnTo>
                    <a:lnTo>
                      <a:pt x="1609" y="296"/>
                    </a:lnTo>
                    <a:lnTo>
                      <a:pt x="1651" y="339"/>
                    </a:lnTo>
                    <a:lnTo>
                      <a:pt x="1694" y="381"/>
                    </a:lnTo>
                    <a:lnTo>
                      <a:pt x="1736" y="381"/>
                    </a:lnTo>
                    <a:lnTo>
                      <a:pt x="1778" y="381"/>
                    </a:lnTo>
                    <a:lnTo>
                      <a:pt x="1778" y="381"/>
                    </a:lnTo>
                    <a:lnTo>
                      <a:pt x="1736" y="423"/>
                    </a:lnTo>
                    <a:lnTo>
                      <a:pt x="1651" y="423"/>
                    </a:lnTo>
                    <a:lnTo>
                      <a:pt x="1567" y="423"/>
                    </a:lnTo>
                    <a:lnTo>
                      <a:pt x="1524" y="423"/>
                    </a:lnTo>
                    <a:close/>
                  </a:path>
                </a:pathLst>
              </a:custGeom>
              <a:grpFill/>
              <a:ln w="12700" cap="flat" cmpd="sng">
                <a:solidFill>
                  <a:schemeClr val="tx1"/>
                </a:solidFill>
                <a:prstDash val="solid"/>
                <a:bevel/>
                <a:headEnd/>
                <a:tailEnd/>
              </a:ln>
            </p:spPr>
            <p:txBody>
              <a:bodyPr/>
              <a:lstStyle/>
              <a:p>
                <a:endParaRPr lang="nl-NL"/>
              </a:p>
            </p:txBody>
          </p:sp>
          <p:sp>
            <p:nvSpPr>
              <p:cNvPr id="71" name="Freeform 547">
                <a:extLst>
                  <a:ext uri="{FF2B5EF4-FFF2-40B4-BE49-F238E27FC236}">
                    <a16:creationId xmlns:a16="http://schemas.microsoft.com/office/drawing/2014/main" id="{42F2319B-C574-F67C-BB41-A22651D04BD0}"/>
                  </a:ext>
                </a:extLst>
              </p:cNvPr>
              <p:cNvSpPr>
                <a:spLocks/>
              </p:cNvSpPr>
              <p:nvPr/>
            </p:nvSpPr>
            <p:spPr bwMode="auto">
              <a:xfrm>
                <a:off x="4000" y="1114"/>
                <a:ext cx="159" cy="109"/>
              </a:xfrm>
              <a:custGeom>
                <a:avLst/>
                <a:gdLst/>
                <a:ahLst/>
                <a:cxnLst>
                  <a:cxn ang="0">
                    <a:pos x="1143" y="127"/>
                  </a:cxn>
                  <a:cxn ang="0">
                    <a:pos x="1143" y="170"/>
                  </a:cxn>
                  <a:cxn ang="0">
                    <a:pos x="1101" y="212"/>
                  </a:cxn>
                  <a:cxn ang="0">
                    <a:pos x="1016" y="254"/>
                  </a:cxn>
                  <a:cxn ang="0">
                    <a:pos x="762" y="339"/>
                  </a:cxn>
                  <a:cxn ang="0">
                    <a:pos x="678" y="381"/>
                  </a:cxn>
                  <a:cxn ang="0">
                    <a:pos x="678" y="424"/>
                  </a:cxn>
                  <a:cxn ang="0">
                    <a:pos x="678" y="508"/>
                  </a:cxn>
                  <a:cxn ang="0">
                    <a:pos x="720" y="508"/>
                  </a:cxn>
                  <a:cxn ang="0">
                    <a:pos x="720" y="466"/>
                  </a:cxn>
                  <a:cxn ang="0">
                    <a:pos x="720" y="466"/>
                  </a:cxn>
                  <a:cxn ang="0">
                    <a:pos x="720" y="466"/>
                  </a:cxn>
                  <a:cxn ang="0">
                    <a:pos x="720" y="466"/>
                  </a:cxn>
                  <a:cxn ang="0">
                    <a:pos x="762" y="466"/>
                  </a:cxn>
                  <a:cxn ang="0">
                    <a:pos x="720" y="508"/>
                  </a:cxn>
                  <a:cxn ang="0">
                    <a:pos x="678" y="593"/>
                  </a:cxn>
                  <a:cxn ang="0">
                    <a:pos x="678" y="593"/>
                  </a:cxn>
                  <a:cxn ang="0">
                    <a:pos x="678" y="593"/>
                  </a:cxn>
                  <a:cxn ang="0">
                    <a:pos x="551" y="678"/>
                  </a:cxn>
                  <a:cxn ang="0">
                    <a:pos x="508" y="720"/>
                  </a:cxn>
                  <a:cxn ang="0">
                    <a:pos x="466" y="720"/>
                  </a:cxn>
                  <a:cxn ang="0">
                    <a:pos x="466" y="762"/>
                  </a:cxn>
                  <a:cxn ang="0">
                    <a:pos x="424" y="805"/>
                  </a:cxn>
                  <a:cxn ang="0">
                    <a:pos x="339" y="847"/>
                  </a:cxn>
                  <a:cxn ang="0">
                    <a:pos x="339" y="847"/>
                  </a:cxn>
                  <a:cxn ang="0">
                    <a:pos x="339" y="847"/>
                  </a:cxn>
                  <a:cxn ang="0">
                    <a:pos x="297" y="847"/>
                  </a:cxn>
                  <a:cxn ang="0">
                    <a:pos x="212" y="847"/>
                  </a:cxn>
                  <a:cxn ang="0">
                    <a:pos x="85" y="847"/>
                  </a:cxn>
                  <a:cxn ang="0">
                    <a:pos x="43" y="889"/>
                  </a:cxn>
                  <a:cxn ang="0">
                    <a:pos x="43" y="889"/>
                  </a:cxn>
                  <a:cxn ang="0">
                    <a:pos x="43" y="932"/>
                  </a:cxn>
                  <a:cxn ang="0">
                    <a:pos x="85" y="932"/>
                  </a:cxn>
                  <a:cxn ang="0">
                    <a:pos x="43" y="932"/>
                  </a:cxn>
                  <a:cxn ang="0">
                    <a:pos x="0" y="932"/>
                  </a:cxn>
                  <a:cxn ang="0">
                    <a:pos x="0" y="932"/>
                  </a:cxn>
                  <a:cxn ang="0">
                    <a:pos x="0" y="847"/>
                  </a:cxn>
                  <a:cxn ang="0">
                    <a:pos x="0" y="805"/>
                  </a:cxn>
                  <a:cxn ang="0">
                    <a:pos x="0" y="762"/>
                  </a:cxn>
                  <a:cxn ang="0">
                    <a:pos x="254" y="635"/>
                  </a:cxn>
                  <a:cxn ang="0">
                    <a:pos x="381" y="508"/>
                  </a:cxn>
                  <a:cxn ang="0">
                    <a:pos x="466" y="466"/>
                  </a:cxn>
                  <a:cxn ang="0">
                    <a:pos x="551" y="381"/>
                  </a:cxn>
                  <a:cxn ang="0">
                    <a:pos x="593" y="339"/>
                  </a:cxn>
                  <a:cxn ang="0">
                    <a:pos x="762" y="212"/>
                  </a:cxn>
                  <a:cxn ang="0">
                    <a:pos x="847" y="170"/>
                  </a:cxn>
                  <a:cxn ang="0">
                    <a:pos x="889" y="127"/>
                  </a:cxn>
                  <a:cxn ang="0">
                    <a:pos x="889" y="127"/>
                  </a:cxn>
                  <a:cxn ang="0">
                    <a:pos x="1016" y="85"/>
                  </a:cxn>
                  <a:cxn ang="0">
                    <a:pos x="1101" y="43"/>
                  </a:cxn>
                  <a:cxn ang="0">
                    <a:pos x="1186" y="0"/>
                  </a:cxn>
                  <a:cxn ang="0">
                    <a:pos x="1228" y="0"/>
                  </a:cxn>
                  <a:cxn ang="0">
                    <a:pos x="1355" y="43"/>
                  </a:cxn>
                  <a:cxn ang="0">
                    <a:pos x="1355" y="85"/>
                  </a:cxn>
                  <a:cxn ang="0">
                    <a:pos x="1313" y="127"/>
                  </a:cxn>
                  <a:cxn ang="0">
                    <a:pos x="1313" y="127"/>
                  </a:cxn>
                  <a:cxn ang="0">
                    <a:pos x="1313" y="127"/>
                  </a:cxn>
                  <a:cxn ang="0">
                    <a:pos x="1270" y="127"/>
                  </a:cxn>
                  <a:cxn ang="0">
                    <a:pos x="1228" y="127"/>
                  </a:cxn>
                  <a:cxn ang="0">
                    <a:pos x="1143" y="127"/>
                  </a:cxn>
                </a:cxnLst>
                <a:rect l="0" t="0" r="r" b="b"/>
                <a:pathLst>
                  <a:path w="1355" h="932">
                    <a:moveTo>
                      <a:pt x="1143" y="127"/>
                    </a:moveTo>
                    <a:lnTo>
                      <a:pt x="1143" y="170"/>
                    </a:lnTo>
                    <a:lnTo>
                      <a:pt x="1101" y="212"/>
                    </a:lnTo>
                    <a:lnTo>
                      <a:pt x="1016" y="254"/>
                    </a:lnTo>
                    <a:lnTo>
                      <a:pt x="762" y="339"/>
                    </a:lnTo>
                    <a:lnTo>
                      <a:pt x="678" y="381"/>
                    </a:lnTo>
                    <a:lnTo>
                      <a:pt x="678" y="424"/>
                    </a:lnTo>
                    <a:lnTo>
                      <a:pt x="678" y="508"/>
                    </a:lnTo>
                    <a:lnTo>
                      <a:pt x="720" y="508"/>
                    </a:lnTo>
                    <a:lnTo>
                      <a:pt x="720" y="466"/>
                    </a:lnTo>
                    <a:lnTo>
                      <a:pt x="720" y="466"/>
                    </a:lnTo>
                    <a:lnTo>
                      <a:pt x="720" y="466"/>
                    </a:lnTo>
                    <a:lnTo>
                      <a:pt x="720" y="466"/>
                    </a:lnTo>
                    <a:lnTo>
                      <a:pt x="762" y="466"/>
                    </a:lnTo>
                    <a:lnTo>
                      <a:pt x="720" y="508"/>
                    </a:lnTo>
                    <a:lnTo>
                      <a:pt x="678" y="593"/>
                    </a:lnTo>
                    <a:lnTo>
                      <a:pt x="678" y="593"/>
                    </a:lnTo>
                    <a:lnTo>
                      <a:pt x="678" y="593"/>
                    </a:lnTo>
                    <a:lnTo>
                      <a:pt x="551" y="678"/>
                    </a:lnTo>
                    <a:lnTo>
                      <a:pt x="508" y="720"/>
                    </a:lnTo>
                    <a:lnTo>
                      <a:pt x="466" y="720"/>
                    </a:lnTo>
                    <a:lnTo>
                      <a:pt x="466" y="762"/>
                    </a:lnTo>
                    <a:lnTo>
                      <a:pt x="424" y="805"/>
                    </a:lnTo>
                    <a:lnTo>
                      <a:pt x="339" y="847"/>
                    </a:lnTo>
                    <a:lnTo>
                      <a:pt x="339" y="847"/>
                    </a:lnTo>
                    <a:lnTo>
                      <a:pt x="339" y="847"/>
                    </a:lnTo>
                    <a:lnTo>
                      <a:pt x="297" y="847"/>
                    </a:lnTo>
                    <a:lnTo>
                      <a:pt x="212" y="847"/>
                    </a:lnTo>
                    <a:lnTo>
                      <a:pt x="85" y="847"/>
                    </a:lnTo>
                    <a:lnTo>
                      <a:pt x="43" y="889"/>
                    </a:lnTo>
                    <a:lnTo>
                      <a:pt x="43" y="889"/>
                    </a:lnTo>
                    <a:lnTo>
                      <a:pt x="43" y="932"/>
                    </a:lnTo>
                    <a:lnTo>
                      <a:pt x="85" y="932"/>
                    </a:lnTo>
                    <a:lnTo>
                      <a:pt x="43" y="932"/>
                    </a:lnTo>
                    <a:lnTo>
                      <a:pt x="0" y="932"/>
                    </a:lnTo>
                    <a:lnTo>
                      <a:pt x="0" y="932"/>
                    </a:lnTo>
                    <a:lnTo>
                      <a:pt x="0" y="847"/>
                    </a:lnTo>
                    <a:lnTo>
                      <a:pt x="0" y="805"/>
                    </a:lnTo>
                    <a:lnTo>
                      <a:pt x="0" y="762"/>
                    </a:lnTo>
                    <a:lnTo>
                      <a:pt x="254" y="635"/>
                    </a:lnTo>
                    <a:lnTo>
                      <a:pt x="381" y="508"/>
                    </a:lnTo>
                    <a:lnTo>
                      <a:pt x="466" y="466"/>
                    </a:lnTo>
                    <a:lnTo>
                      <a:pt x="551" y="381"/>
                    </a:lnTo>
                    <a:lnTo>
                      <a:pt x="593" y="339"/>
                    </a:lnTo>
                    <a:lnTo>
                      <a:pt x="762" y="212"/>
                    </a:lnTo>
                    <a:lnTo>
                      <a:pt x="847" y="170"/>
                    </a:lnTo>
                    <a:lnTo>
                      <a:pt x="889" y="127"/>
                    </a:lnTo>
                    <a:lnTo>
                      <a:pt x="889" y="127"/>
                    </a:lnTo>
                    <a:lnTo>
                      <a:pt x="1016" y="85"/>
                    </a:lnTo>
                    <a:lnTo>
                      <a:pt x="1101" y="43"/>
                    </a:lnTo>
                    <a:lnTo>
                      <a:pt x="1186" y="0"/>
                    </a:lnTo>
                    <a:lnTo>
                      <a:pt x="1228" y="0"/>
                    </a:lnTo>
                    <a:lnTo>
                      <a:pt x="1355" y="43"/>
                    </a:lnTo>
                    <a:lnTo>
                      <a:pt x="1355" y="85"/>
                    </a:lnTo>
                    <a:lnTo>
                      <a:pt x="1313" y="127"/>
                    </a:lnTo>
                    <a:lnTo>
                      <a:pt x="1313" y="127"/>
                    </a:lnTo>
                    <a:lnTo>
                      <a:pt x="1313" y="127"/>
                    </a:lnTo>
                    <a:lnTo>
                      <a:pt x="1270" y="127"/>
                    </a:lnTo>
                    <a:lnTo>
                      <a:pt x="1228" y="127"/>
                    </a:lnTo>
                    <a:lnTo>
                      <a:pt x="1143" y="127"/>
                    </a:lnTo>
                    <a:close/>
                  </a:path>
                </a:pathLst>
              </a:custGeom>
              <a:grpFill/>
              <a:ln w="12700" cap="flat" cmpd="sng">
                <a:solidFill>
                  <a:schemeClr val="tx1"/>
                </a:solidFill>
                <a:prstDash val="solid"/>
                <a:bevel/>
                <a:headEnd/>
                <a:tailEnd/>
              </a:ln>
            </p:spPr>
            <p:txBody>
              <a:bodyPr/>
              <a:lstStyle/>
              <a:p>
                <a:endParaRPr lang="nl-NL"/>
              </a:p>
            </p:txBody>
          </p:sp>
          <p:sp>
            <p:nvSpPr>
              <p:cNvPr id="72" name="Freeform 548">
                <a:extLst>
                  <a:ext uri="{FF2B5EF4-FFF2-40B4-BE49-F238E27FC236}">
                    <a16:creationId xmlns:a16="http://schemas.microsoft.com/office/drawing/2014/main" id="{FA59190F-A9EC-7EB9-E816-E8719A1C996D}"/>
                  </a:ext>
                </a:extLst>
              </p:cNvPr>
              <p:cNvSpPr>
                <a:spLocks/>
              </p:cNvSpPr>
              <p:nvPr/>
            </p:nvSpPr>
            <p:spPr bwMode="auto">
              <a:xfrm>
                <a:off x="5022" y="846"/>
                <a:ext cx="40" cy="39"/>
              </a:xfrm>
              <a:custGeom>
                <a:avLst/>
                <a:gdLst/>
                <a:ahLst/>
                <a:cxnLst>
                  <a:cxn ang="0">
                    <a:pos x="212" y="43"/>
                  </a:cxn>
                  <a:cxn ang="0">
                    <a:pos x="212" y="85"/>
                  </a:cxn>
                  <a:cxn ang="0">
                    <a:pos x="212" y="85"/>
                  </a:cxn>
                  <a:cxn ang="0">
                    <a:pos x="254" y="127"/>
                  </a:cxn>
                  <a:cxn ang="0">
                    <a:pos x="296" y="170"/>
                  </a:cxn>
                  <a:cxn ang="0">
                    <a:pos x="339" y="212"/>
                  </a:cxn>
                  <a:cxn ang="0">
                    <a:pos x="296" y="170"/>
                  </a:cxn>
                  <a:cxn ang="0">
                    <a:pos x="254" y="170"/>
                  </a:cxn>
                  <a:cxn ang="0">
                    <a:pos x="169" y="170"/>
                  </a:cxn>
                  <a:cxn ang="0">
                    <a:pos x="127" y="170"/>
                  </a:cxn>
                  <a:cxn ang="0">
                    <a:pos x="127" y="170"/>
                  </a:cxn>
                  <a:cxn ang="0">
                    <a:pos x="127" y="212"/>
                  </a:cxn>
                  <a:cxn ang="0">
                    <a:pos x="127" y="254"/>
                  </a:cxn>
                  <a:cxn ang="0">
                    <a:pos x="169" y="254"/>
                  </a:cxn>
                  <a:cxn ang="0">
                    <a:pos x="169" y="254"/>
                  </a:cxn>
                  <a:cxn ang="0">
                    <a:pos x="127" y="339"/>
                  </a:cxn>
                  <a:cxn ang="0">
                    <a:pos x="85" y="297"/>
                  </a:cxn>
                  <a:cxn ang="0">
                    <a:pos x="42" y="170"/>
                  </a:cxn>
                  <a:cxn ang="0">
                    <a:pos x="0" y="127"/>
                  </a:cxn>
                  <a:cxn ang="0">
                    <a:pos x="0" y="85"/>
                  </a:cxn>
                  <a:cxn ang="0">
                    <a:pos x="42" y="0"/>
                  </a:cxn>
                  <a:cxn ang="0">
                    <a:pos x="85" y="0"/>
                  </a:cxn>
                  <a:cxn ang="0">
                    <a:pos x="127" y="0"/>
                  </a:cxn>
                  <a:cxn ang="0">
                    <a:pos x="169" y="0"/>
                  </a:cxn>
                  <a:cxn ang="0">
                    <a:pos x="212" y="43"/>
                  </a:cxn>
                  <a:cxn ang="0">
                    <a:pos x="212" y="43"/>
                  </a:cxn>
                  <a:cxn ang="0">
                    <a:pos x="212" y="43"/>
                  </a:cxn>
                </a:cxnLst>
                <a:rect l="0" t="0" r="r" b="b"/>
                <a:pathLst>
                  <a:path w="339" h="339">
                    <a:moveTo>
                      <a:pt x="212" y="43"/>
                    </a:moveTo>
                    <a:lnTo>
                      <a:pt x="212" y="85"/>
                    </a:lnTo>
                    <a:lnTo>
                      <a:pt x="212" y="85"/>
                    </a:lnTo>
                    <a:lnTo>
                      <a:pt x="254" y="127"/>
                    </a:lnTo>
                    <a:lnTo>
                      <a:pt x="296" y="170"/>
                    </a:lnTo>
                    <a:lnTo>
                      <a:pt x="339" y="212"/>
                    </a:lnTo>
                    <a:lnTo>
                      <a:pt x="296" y="170"/>
                    </a:lnTo>
                    <a:lnTo>
                      <a:pt x="254" y="170"/>
                    </a:lnTo>
                    <a:lnTo>
                      <a:pt x="169" y="170"/>
                    </a:lnTo>
                    <a:lnTo>
                      <a:pt x="127" y="170"/>
                    </a:lnTo>
                    <a:lnTo>
                      <a:pt x="127" y="170"/>
                    </a:lnTo>
                    <a:lnTo>
                      <a:pt x="127" y="212"/>
                    </a:lnTo>
                    <a:lnTo>
                      <a:pt x="127" y="254"/>
                    </a:lnTo>
                    <a:lnTo>
                      <a:pt x="169" y="254"/>
                    </a:lnTo>
                    <a:lnTo>
                      <a:pt x="169" y="254"/>
                    </a:lnTo>
                    <a:lnTo>
                      <a:pt x="127" y="339"/>
                    </a:lnTo>
                    <a:lnTo>
                      <a:pt x="85" y="297"/>
                    </a:lnTo>
                    <a:lnTo>
                      <a:pt x="42" y="170"/>
                    </a:lnTo>
                    <a:lnTo>
                      <a:pt x="0" y="127"/>
                    </a:lnTo>
                    <a:lnTo>
                      <a:pt x="0" y="85"/>
                    </a:lnTo>
                    <a:lnTo>
                      <a:pt x="42" y="0"/>
                    </a:lnTo>
                    <a:lnTo>
                      <a:pt x="85" y="0"/>
                    </a:lnTo>
                    <a:lnTo>
                      <a:pt x="127" y="0"/>
                    </a:lnTo>
                    <a:lnTo>
                      <a:pt x="169" y="0"/>
                    </a:lnTo>
                    <a:lnTo>
                      <a:pt x="212" y="43"/>
                    </a:lnTo>
                    <a:lnTo>
                      <a:pt x="212" y="43"/>
                    </a:lnTo>
                    <a:lnTo>
                      <a:pt x="212" y="43"/>
                    </a:lnTo>
                    <a:close/>
                  </a:path>
                </a:pathLst>
              </a:custGeom>
              <a:grpFill/>
              <a:ln w="12700" cap="flat" cmpd="sng">
                <a:solidFill>
                  <a:schemeClr val="tx1"/>
                </a:solidFill>
                <a:prstDash val="solid"/>
                <a:bevel/>
                <a:headEnd/>
                <a:tailEnd/>
              </a:ln>
            </p:spPr>
            <p:txBody>
              <a:bodyPr/>
              <a:lstStyle/>
              <a:p>
                <a:endParaRPr lang="nl-NL"/>
              </a:p>
            </p:txBody>
          </p:sp>
          <p:sp>
            <p:nvSpPr>
              <p:cNvPr id="73" name="Freeform 549">
                <a:extLst>
                  <a:ext uri="{FF2B5EF4-FFF2-40B4-BE49-F238E27FC236}">
                    <a16:creationId xmlns:a16="http://schemas.microsoft.com/office/drawing/2014/main" id="{491DCBA9-6FD4-7FB9-D313-71F805977DCB}"/>
                  </a:ext>
                </a:extLst>
              </p:cNvPr>
              <p:cNvSpPr>
                <a:spLocks noEditPoints="1"/>
              </p:cNvSpPr>
              <p:nvPr/>
            </p:nvSpPr>
            <p:spPr bwMode="auto">
              <a:xfrm>
                <a:off x="4308" y="1000"/>
                <a:ext cx="709" cy="655"/>
              </a:xfrm>
              <a:custGeom>
                <a:avLst/>
                <a:gdLst/>
                <a:ahLst/>
                <a:cxnLst>
                  <a:cxn ang="0">
                    <a:pos x="4106" y="84"/>
                  </a:cxn>
                  <a:cxn ang="0">
                    <a:pos x="3513" y="169"/>
                  </a:cxn>
                  <a:cxn ang="0">
                    <a:pos x="3048" y="254"/>
                  </a:cxn>
                  <a:cxn ang="0">
                    <a:pos x="2709" y="423"/>
                  </a:cxn>
                  <a:cxn ang="0">
                    <a:pos x="1905" y="846"/>
                  </a:cxn>
                  <a:cxn ang="0">
                    <a:pos x="1397" y="1058"/>
                  </a:cxn>
                  <a:cxn ang="0">
                    <a:pos x="1143" y="1397"/>
                  </a:cxn>
                  <a:cxn ang="0">
                    <a:pos x="762" y="1651"/>
                  </a:cxn>
                  <a:cxn ang="0">
                    <a:pos x="508" y="2074"/>
                  </a:cxn>
                  <a:cxn ang="0">
                    <a:pos x="465" y="2328"/>
                  </a:cxn>
                  <a:cxn ang="0">
                    <a:pos x="296" y="2794"/>
                  </a:cxn>
                  <a:cxn ang="0">
                    <a:pos x="296" y="3005"/>
                  </a:cxn>
                  <a:cxn ang="0">
                    <a:pos x="381" y="3344"/>
                  </a:cxn>
                  <a:cxn ang="0">
                    <a:pos x="338" y="3386"/>
                  </a:cxn>
                  <a:cxn ang="0">
                    <a:pos x="381" y="3556"/>
                  </a:cxn>
                  <a:cxn ang="0">
                    <a:pos x="423" y="3979"/>
                  </a:cxn>
                  <a:cxn ang="0">
                    <a:pos x="423" y="4148"/>
                  </a:cxn>
                  <a:cxn ang="0">
                    <a:pos x="423" y="4487"/>
                  </a:cxn>
                  <a:cxn ang="0">
                    <a:pos x="169" y="4783"/>
                  </a:cxn>
                  <a:cxn ang="0">
                    <a:pos x="296" y="4995"/>
                  </a:cxn>
                  <a:cxn ang="0">
                    <a:pos x="677" y="5122"/>
                  </a:cxn>
                  <a:cxn ang="0">
                    <a:pos x="1270" y="5334"/>
                  </a:cxn>
                  <a:cxn ang="0">
                    <a:pos x="1566" y="5164"/>
                  </a:cxn>
                  <a:cxn ang="0">
                    <a:pos x="1862" y="5207"/>
                  </a:cxn>
                  <a:cxn ang="0">
                    <a:pos x="2116" y="5249"/>
                  </a:cxn>
                  <a:cxn ang="0">
                    <a:pos x="2540" y="5588"/>
                  </a:cxn>
                  <a:cxn ang="0">
                    <a:pos x="2794" y="5545"/>
                  </a:cxn>
                  <a:cxn ang="0">
                    <a:pos x="3090" y="5545"/>
                  </a:cxn>
                  <a:cxn ang="0">
                    <a:pos x="3259" y="5334"/>
                  </a:cxn>
                  <a:cxn ang="0">
                    <a:pos x="3556" y="5291"/>
                  </a:cxn>
                  <a:cxn ang="0">
                    <a:pos x="3852" y="5461"/>
                  </a:cxn>
                  <a:cxn ang="0">
                    <a:pos x="4148" y="5249"/>
                  </a:cxn>
                  <a:cxn ang="0">
                    <a:pos x="4783" y="4783"/>
                  </a:cxn>
                  <a:cxn ang="0">
                    <a:pos x="5249" y="4445"/>
                  </a:cxn>
                  <a:cxn ang="0">
                    <a:pos x="5926" y="4233"/>
                  </a:cxn>
                  <a:cxn ang="0">
                    <a:pos x="5672" y="3386"/>
                  </a:cxn>
                  <a:cxn ang="0">
                    <a:pos x="5291" y="2878"/>
                  </a:cxn>
                  <a:cxn ang="0">
                    <a:pos x="4910" y="2709"/>
                  </a:cxn>
                  <a:cxn ang="0">
                    <a:pos x="4656" y="2328"/>
                  </a:cxn>
                  <a:cxn ang="0">
                    <a:pos x="4826" y="1947"/>
                  </a:cxn>
                  <a:cxn ang="0">
                    <a:pos x="4826" y="1651"/>
                  </a:cxn>
                  <a:cxn ang="0">
                    <a:pos x="4995" y="1354"/>
                  </a:cxn>
                  <a:cxn ang="0">
                    <a:pos x="5037" y="1143"/>
                  </a:cxn>
                  <a:cxn ang="0">
                    <a:pos x="5249" y="931"/>
                  </a:cxn>
                  <a:cxn ang="0">
                    <a:pos x="5037" y="592"/>
                  </a:cxn>
                  <a:cxn ang="0">
                    <a:pos x="4910" y="677"/>
                  </a:cxn>
                  <a:cxn ang="0">
                    <a:pos x="4783" y="550"/>
                  </a:cxn>
                  <a:cxn ang="0">
                    <a:pos x="4699" y="677"/>
                  </a:cxn>
                  <a:cxn ang="0">
                    <a:pos x="4572" y="592"/>
                  </a:cxn>
                  <a:cxn ang="0">
                    <a:pos x="4529" y="296"/>
                  </a:cxn>
                  <a:cxn ang="0">
                    <a:pos x="4868" y="550"/>
                  </a:cxn>
                  <a:cxn ang="0">
                    <a:pos x="0" y="3090"/>
                  </a:cxn>
                  <a:cxn ang="0">
                    <a:pos x="465" y="2116"/>
                  </a:cxn>
                  <a:cxn ang="0">
                    <a:pos x="4572" y="846"/>
                  </a:cxn>
                </a:cxnLst>
                <a:rect l="0" t="0" r="r" b="b"/>
                <a:pathLst>
                  <a:path w="6053" h="5588">
                    <a:moveTo>
                      <a:pt x="4614" y="0"/>
                    </a:moveTo>
                    <a:lnTo>
                      <a:pt x="4402" y="84"/>
                    </a:lnTo>
                    <a:lnTo>
                      <a:pt x="4360" y="84"/>
                    </a:lnTo>
                    <a:lnTo>
                      <a:pt x="4275" y="42"/>
                    </a:lnTo>
                    <a:lnTo>
                      <a:pt x="4148" y="42"/>
                    </a:lnTo>
                    <a:lnTo>
                      <a:pt x="4148" y="84"/>
                    </a:lnTo>
                    <a:lnTo>
                      <a:pt x="4106" y="84"/>
                    </a:lnTo>
                    <a:lnTo>
                      <a:pt x="4064" y="84"/>
                    </a:lnTo>
                    <a:lnTo>
                      <a:pt x="4021" y="42"/>
                    </a:lnTo>
                    <a:lnTo>
                      <a:pt x="3852" y="84"/>
                    </a:lnTo>
                    <a:lnTo>
                      <a:pt x="3767" y="84"/>
                    </a:lnTo>
                    <a:lnTo>
                      <a:pt x="3725" y="84"/>
                    </a:lnTo>
                    <a:lnTo>
                      <a:pt x="3683" y="127"/>
                    </a:lnTo>
                    <a:lnTo>
                      <a:pt x="3513" y="169"/>
                    </a:lnTo>
                    <a:lnTo>
                      <a:pt x="3471" y="169"/>
                    </a:lnTo>
                    <a:lnTo>
                      <a:pt x="3429" y="169"/>
                    </a:lnTo>
                    <a:lnTo>
                      <a:pt x="3259" y="254"/>
                    </a:lnTo>
                    <a:lnTo>
                      <a:pt x="3175" y="254"/>
                    </a:lnTo>
                    <a:lnTo>
                      <a:pt x="3132" y="254"/>
                    </a:lnTo>
                    <a:lnTo>
                      <a:pt x="3090" y="254"/>
                    </a:lnTo>
                    <a:lnTo>
                      <a:pt x="3048" y="254"/>
                    </a:lnTo>
                    <a:lnTo>
                      <a:pt x="3048" y="211"/>
                    </a:lnTo>
                    <a:lnTo>
                      <a:pt x="3005" y="169"/>
                    </a:lnTo>
                    <a:lnTo>
                      <a:pt x="3005" y="254"/>
                    </a:lnTo>
                    <a:lnTo>
                      <a:pt x="2921" y="296"/>
                    </a:lnTo>
                    <a:lnTo>
                      <a:pt x="2836" y="338"/>
                    </a:lnTo>
                    <a:lnTo>
                      <a:pt x="2794" y="381"/>
                    </a:lnTo>
                    <a:lnTo>
                      <a:pt x="2709" y="423"/>
                    </a:lnTo>
                    <a:lnTo>
                      <a:pt x="2667" y="465"/>
                    </a:lnTo>
                    <a:lnTo>
                      <a:pt x="2582" y="508"/>
                    </a:lnTo>
                    <a:lnTo>
                      <a:pt x="2497" y="508"/>
                    </a:lnTo>
                    <a:lnTo>
                      <a:pt x="2370" y="592"/>
                    </a:lnTo>
                    <a:lnTo>
                      <a:pt x="2201" y="677"/>
                    </a:lnTo>
                    <a:lnTo>
                      <a:pt x="2116" y="719"/>
                    </a:lnTo>
                    <a:lnTo>
                      <a:pt x="1905" y="846"/>
                    </a:lnTo>
                    <a:lnTo>
                      <a:pt x="1778" y="846"/>
                    </a:lnTo>
                    <a:lnTo>
                      <a:pt x="1735" y="889"/>
                    </a:lnTo>
                    <a:lnTo>
                      <a:pt x="1651" y="931"/>
                    </a:lnTo>
                    <a:lnTo>
                      <a:pt x="1608" y="931"/>
                    </a:lnTo>
                    <a:lnTo>
                      <a:pt x="1566" y="973"/>
                    </a:lnTo>
                    <a:lnTo>
                      <a:pt x="1481" y="1016"/>
                    </a:lnTo>
                    <a:lnTo>
                      <a:pt x="1397" y="1058"/>
                    </a:lnTo>
                    <a:lnTo>
                      <a:pt x="1354" y="1100"/>
                    </a:lnTo>
                    <a:lnTo>
                      <a:pt x="1270" y="1185"/>
                    </a:lnTo>
                    <a:lnTo>
                      <a:pt x="1227" y="1270"/>
                    </a:lnTo>
                    <a:lnTo>
                      <a:pt x="1185" y="1312"/>
                    </a:lnTo>
                    <a:lnTo>
                      <a:pt x="1185" y="1354"/>
                    </a:lnTo>
                    <a:lnTo>
                      <a:pt x="1143" y="1354"/>
                    </a:lnTo>
                    <a:lnTo>
                      <a:pt x="1143" y="1397"/>
                    </a:lnTo>
                    <a:lnTo>
                      <a:pt x="1058" y="1439"/>
                    </a:lnTo>
                    <a:lnTo>
                      <a:pt x="1016" y="1481"/>
                    </a:lnTo>
                    <a:lnTo>
                      <a:pt x="973" y="1481"/>
                    </a:lnTo>
                    <a:lnTo>
                      <a:pt x="889" y="1566"/>
                    </a:lnTo>
                    <a:lnTo>
                      <a:pt x="846" y="1608"/>
                    </a:lnTo>
                    <a:lnTo>
                      <a:pt x="804" y="1608"/>
                    </a:lnTo>
                    <a:lnTo>
                      <a:pt x="762" y="1651"/>
                    </a:lnTo>
                    <a:lnTo>
                      <a:pt x="719" y="1735"/>
                    </a:lnTo>
                    <a:lnTo>
                      <a:pt x="677" y="1735"/>
                    </a:lnTo>
                    <a:lnTo>
                      <a:pt x="635" y="1778"/>
                    </a:lnTo>
                    <a:lnTo>
                      <a:pt x="592" y="1862"/>
                    </a:lnTo>
                    <a:lnTo>
                      <a:pt x="550" y="1989"/>
                    </a:lnTo>
                    <a:lnTo>
                      <a:pt x="508" y="2032"/>
                    </a:lnTo>
                    <a:lnTo>
                      <a:pt x="508" y="2074"/>
                    </a:lnTo>
                    <a:lnTo>
                      <a:pt x="550" y="2074"/>
                    </a:lnTo>
                    <a:lnTo>
                      <a:pt x="508" y="2116"/>
                    </a:lnTo>
                    <a:lnTo>
                      <a:pt x="465" y="2159"/>
                    </a:lnTo>
                    <a:lnTo>
                      <a:pt x="423" y="2201"/>
                    </a:lnTo>
                    <a:lnTo>
                      <a:pt x="423" y="2243"/>
                    </a:lnTo>
                    <a:lnTo>
                      <a:pt x="465" y="2243"/>
                    </a:lnTo>
                    <a:lnTo>
                      <a:pt x="465" y="2328"/>
                    </a:lnTo>
                    <a:lnTo>
                      <a:pt x="423" y="2413"/>
                    </a:lnTo>
                    <a:lnTo>
                      <a:pt x="423" y="2540"/>
                    </a:lnTo>
                    <a:lnTo>
                      <a:pt x="423" y="2624"/>
                    </a:lnTo>
                    <a:lnTo>
                      <a:pt x="423" y="2667"/>
                    </a:lnTo>
                    <a:lnTo>
                      <a:pt x="381" y="2709"/>
                    </a:lnTo>
                    <a:lnTo>
                      <a:pt x="381" y="2751"/>
                    </a:lnTo>
                    <a:lnTo>
                      <a:pt x="296" y="2794"/>
                    </a:lnTo>
                    <a:lnTo>
                      <a:pt x="254" y="2794"/>
                    </a:lnTo>
                    <a:lnTo>
                      <a:pt x="296" y="2836"/>
                    </a:lnTo>
                    <a:lnTo>
                      <a:pt x="254" y="2878"/>
                    </a:lnTo>
                    <a:lnTo>
                      <a:pt x="254" y="2921"/>
                    </a:lnTo>
                    <a:lnTo>
                      <a:pt x="211" y="2963"/>
                    </a:lnTo>
                    <a:lnTo>
                      <a:pt x="254" y="2963"/>
                    </a:lnTo>
                    <a:lnTo>
                      <a:pt x="296" y="3005"/>
                    </a:lnTo>
                    <a:lnTo>
                      <a:pt x="338" y="3090"/>
                    </a:lnTo>
                    <a:lnTo>
                      <a:pt x="338" y="3132"/>
                    </a:lnTo>
                    <a:lnTo>
                      <a:pt x="338" y="3175"/>
                    </a:lnTo>
                    <a:lnTo>
                      <a:pt x="338" y="3217"/>
                    </a:lnTo>
                    <a:lnTo>
                      <a:pt x="381" y="3302"/>
                    </a:lnTo>
                    <a:lnTo>
                      <a:pt x="338" y="3302"/>
                    </a:lnTo>
                    <a:lnTo>
                      <a:pt x="381" y="3344"/>
                    </a:lnTo>
                    <a:lnTo>
                      <a:pt x="338" y="3344"/>
                    </a:lnTo>
                    <a:lnTo>
                      <a:pt x="338" y="3302"/>
                    </a:lnTo>
                    <a:lnTo>
                      <a:pt x="254" y="3302"/>
                    </a:lnTo>
                    <a:lnTo>
                      <a:pt x="254" y="3344"/>
                    </a:lnTo>
                    <a:lnTo>
                      <a:pt x="254" y="3386"/>
                    </a:lnTo>
                    <a:lnTo>
                      <a:pt x="296" y="3386"/>
                    </a:lnTo>
                    <a:lnTo>
                      <a:pt x="338" y="3386"/>
                    </a:lnTo>
                    <a:lnTo>
                      <a:pt x="338" y="3471"/>
                    </a:lnTo>
                    <a:lnTo>
                      <a:pt x="338" y="3513"/>
                    </a:lnTo>
                    <a:lnTo>
                      <a:pt x="381" y="3471"/>
                    </a:lnTo>
                    <a:lnTo>
                      <a:pt x="381" y="3513"/>
                    </a:lnTo>
                    <a:lnTo>
                      <a:pt x="338" y="3513"/>
                    </a:lnTo>
                    <a:lnTo>
                      <a:pt x="338" y="3556"/>
                    </a:lnTo>
                    <a:lnTo>
                      <a:pt x="381" y="3556"/>
                    </a:lnTo>
                    <a:lnTo>
                      <a:pt x="423" y="3598"/>
                    </a:lnTo>
                    <a:lnTo>
                      <a:pt x="423" y="3640"/>
                    </a:lnTo>
                    <a:lnTo>
                      <a:pt x="423" y="3683"/>
                    </a:lnTo>
                    <a:lnTo>
                      <a:pt x="423" y="3725"/>
                    </a:lnTo>
                    <a:lnTo>
                      <a:pt x="381" y="3767"/>
                    </a:lnTo>
                    <a:lnTo>
                      <a:pt x="381" y="3852"/>
                    </a:lnTo>
                    <a:lnTo>
                      <a:pt x="423" y="3979"/>
                    </a:lnTo>
                    <a:lnTo>
                      <a:pt x="423" y="4064"/>
                    </a:lnTo>
                    <a:lnTo>
                      <a:pt x="465" y="4106"/>
                    </a:lnTo>
                    <a:lnTo>
                      <a:pt x="465" y="4120"/>
                    </a:lnTo>
                    <a:lnTo>
                      <a:pt x="550" y="4064"/>
                    </a:lnTo>
                    <a:lnTo>
                      <a:pt x="465" y="4148"/>
                    </a:lnTo>
                    <a:lnTo>
                      <a:pt x="465" y="4120"/>
                    </a:lnTo>
                    <a:lnTo>
                      <a:pt x="423" y="4148"/>
                    </a:lnTo>
                    <a:lnTo>
                      <a:pt x="423" y="4191"/>
                    </a:lnTo>
                    <a:lnTo>
                      <a:pt x="423" y="4275"/>
                    </a:lnTo>
                    <a:lnTo>
                      <a:pt x="381" y="4275"/>
                    </a:lnTo>
                    <a:lnTo>
                      <a:pt x="338" y="4318"/>
                    </a:lnTo>
                    <a:lnTo>
                      <a:pt x="381" y="4360"/>
                    </a:lnTo>
                    <a:lnTo>
                      <a:pt x="423" y="4445"/>
                    </a:lnTo>
                    <a:lnTo>
                      <a:pt x="423" y="4487"/>
                    </a:lnTo>
                    <a:lnTo>
                      <a:pt x="423" y="4572"/>
                    </a:lnTo>
                    <a:lnTo>
                      <a:pt x="423" y="4614"/>
                    </a:lnTo>
                    <a:lnTo>
                      <a:pt x="381" y="4656"/>
                    </a:lnTo>
                    <a:lnTo>
                      <a:pt x="338" y="4656"/>
                    </a:lnTo>
                    <a:lnTo>
                      <a:pt x="296" y="4656"/>
                    </a:lnTo>
                    <a:lnTo>
                      <a:pt x="211" y="4741"/>
                    </a:lnTo>
                    <a:lnTo>
                      <a:pt x="169" y="4783"/>
                    </a:lnTo>
                    <a:lnTo>
                      <a:pt x="127" y="4826"/>
                    </a:lnTo>
                    <a:lnTo>
                      <a:pt x="169" y="4868"/>
                    </a:lnTo>
                    <a:lnTo>
                      <a:pt x="169" y="4910"/>
                    </a:lnTo>
                    <a:lnTo>
                      <a:pt x="169" y="4953"/>
                    </a:lnTo>
                    <a:lnTo>
                      <a:pt x="254" y="4953"/>
                    </a:lnTo>
                    <a:lnTo>
                      <a:pt x="254" y="4995"/>
                    </a:lnTo>
                    <a:lnTo>
                      <a:pt x="296" y="4995"/>
                    </a:lnTo>
                    <a:lnTo>
                      <a:pt x="381" y="5080"/>
                    </a:lnTo>
                    <a:lnTo>
                      <a:pt x="465" y="5164"/>
                    </a:lnTo>
                    <a:lnTo>
                      <a:pt x="508" y="5164"/>
                    </a:lnTo>
                    <a:lnTo>
                      <a:pt x="550" y="5164"/>
                    </a:lnTo>
                    <a:lnTo>
                      <a:pt x="592" y="5164"/>
                    </a:lnTo>
                    <a:lnTo>
                      <a:pt x="677" y="5164"/>
                    </a:lnTo>
                    <a:lnTo>
                      <a:pt x="677" y="5122"/>
                    </a:lnTo>
                    <a:lnTo>
                      <a:pt x="804" y="5164"/>
                    </a:lnTo>
                    <a:lnTo>
                      <a:pt x="889" y="5164"/>
                    </a:lnTo>
                    <a:lnTo>
                      <a:pt x="931" y="5207"/>
                    </a:lnTo>
                    <a:lnTo>
                      <a:pt x="1100" y="5291"/>
                    </a:lnTo>
                    <a:lnTo>
                      <a:pt x="1185" y="5291"/>
                    </a:lnTo>
                    <a:lnTo>
                      <a:pt x="1185" y="5334"/>
                    </a:lnTo>
                    <a:lnTo>
                      <a:pt x="1270" y="5334"/>
                    </a:lnTo>
                    <a:lnTo>
                      <a:pt x="1312" y="5291"/>
                    </a:lnTo>
                    <a:lnTo>
                      <a:pt x="1354" y="5291"/>
                    </a:lnTo>
                    <a:lnTo>
                      <a:pt x="1354" y="5249"/>
                    </a:lnTo>
                    <a:lnTo>
                      <a:pt x="1397" y="5207"/>
                    </a:lnTo>
                    <a:lnTo>
                      <a:pt x="1397" y="5164"/>
                    </a:lnTo>
                    <a:lnTo>
                      <a:pt x="1481" y="5122"/>
                    </a:lnTo>
                    <a:lnTo>
                      <a:pt x="1566" y="5164"/>
                    </a:lnTo>
                    <a:lnTo>
                      <a:pt x="1608" y="5122"/>
                    </a:lnTo>
                    <a:lnTo>
                      <a:pt x="1693" y="5080"/>
                    </a:lnTo>
                    <a:lnTo>
                      <a:pt x="1735" y="5080"/>
                    </a:lnTo>
                    <a:lnTo>
                      <a:pt x="1778" y="5122"/>
                    </a:lnTo>
                    <a:lnTo>
                      <a:pt x="1778" y="5207"/>
                    </a:lnTo>
                    <a:lnTo>
                      <a:pt x="1820" y="5207"/>
                    </a:lnTo>
                    <a:lnTo>
                      <a:pt x="1862" y="5207"/>
                    </a:lnTo>
                    <a:lnTo>
                      <a:pt x="1947" y="5207"/>
                    </a:lnTo>
                    <a:lnTo>
                      <a:pt x="1989" y="5207"/>
                    </a:lnTo>
                    <a:lnTo>
                      <a:pt x="2032" y="5207"/>
                    </a:lnTo>
                    <a:lnTo>
                      <a:pt x="2032" y="5249"/>
                    </a:lnTo>
                    <a:lnTo>
                      <a:pt x="2074" y="5249"/>
                    </a:lnTo>
                    <a:lnTo>
                      <a:pt x="2116" y="5207"/>
                    </a:lnTo>
                    <a:lnTo>
                      <a:pt x="2116" y="5249"/>
                    </a:lnTo>
                    <a:lnTo>
                      <a:pt x="2201" y="5291"/>
                    </a:lnTo>
                    <a:lnTo>
                      <a:pt x="2159" y="5207"/>
                    </a:lnTo>
                    <a:lnTo>
                      <a:pt x="2286" y="5249"/>
                    </a:lnTo>
                    <a:lnTo>
                      <a:pt x="2328" y="5249"/>
                    </a:lnTo>
                    <a:lnTo>
                      <a:pt x="2497" y="5461"/>
                    </a:lnTo>
                    <a:lnTo>
                      <a:pt x="2540" y="5545"/>
                    </a:lnTo>
                    <a:lnTo>
                      <a:pt x="2540" y="5588"/>
                    </a:lnTo>
                    <a:lnTo>
                      <a:pt x="2582" y="5545"/>
                    </a:lnTo>
                    <a:lnTo>
                      <a:pt x="2667" y="5461"/>
                    </a:lnTo>
                    <a:lnTo>
                      <a:pt x="2709" y="5461"/>
                    </a:lnTo>
                    <a:lnTo>
                      <a:pt x="2709" y="5503"/>
                    </a:lnTo>
                    <a:lnTo>
                      <a:pt x="2751" y="5503"/>
                    </a:lnTo>
                    <a:lnTo>
                      <a:pt x="2794" y="5503"/>
                    </a:lnTo>
                    <a:lnTo>
                      <a:pt x="2794" y="5545"/>
                    </a:lnTo>
                    <a:lnTo>
                      <a:pt x="2836" y="5545"/>
                    </a:lnTo>
                    <a:lnTo>
                      <a:pt x="2878" y="5545"/>
                    </a:lnTo>
                    <a:lnTo>
                      <a:pt x="2921" y="5588"/>
                    </a:lnTo>
                    <a:lnTo>
                      <a:pt x="2963" y="5588"/>
                    </a:lnTo>
                    <a:lnTo>
                      <a:pt x="3005" y="5588"/>
                    </a:lnTo>
                    <a:lnTo>
                      <a:pt x="3048" y="5588"/>
                    </a:lnTo>
                    <a:lnTo>
                      <a:pt x="3090" y="5545"/>
                    </a:lnTo>
                    <a:lnTo>
                      <a:pt x="3132" y="5545"/>
                    </a:lnTo>
                    <a:lnTo>
                      <a:pt x="3132" y="5503"/>
                    </a:lnTo>
                    <a:lnTo>
                      <a:pt x="3175" y="5503"/>
                    </a:lnTo>
                    <a:lnTo>
                      <a:pt x="3217" y="5461"/>
                    </a:lnTo>
                    <a:lnTo>
                      <a:pt x="3217" y="5418"/>
                    </a:lnTo>
                    <a:lnTo>
                      <a:pt x="3259" y="5376"/>
                    </a:lnTo>
                    <a:lnTo>
                      <a:pt x="3259" y="5334"/>
                    </a:lnTo>
                    <a:lnTo>
                      <a:pt x="3302" y="5291"/>
                    </a:lnTo>
                    <a:lnTo>
                      <a:pt x="3386" y="5291"/>
                    </a:lnTo>
                    <a:lnTo>
                      <a:pt x="3386" y="5249"/>
                    </a:lnTo>
                    <a:lnTo>
                      <a:pt x="3471" y="5291"/>
                    </a:lnTo>
                    <a:lnTo>
                      <a:pt x="3471" y="5249"/>
                    </a:lnTo>
                    <a:lnTo>
                      <a:pt x="3556" y="5207"/>
                    </a:lnTo>
                    <a:lnTo>
                      <a:pt x="3556" y="5291"/>
                    </a:lnTo>
                    <a:lnTo>
                      <a:pt x="3598" y="5376"/>
                    </a:lnTo>
                    <a:lnTo>
                      <a:pt x="3640" y="5418"/>
                    </a:lnTo>
                    <a:lnTo>
                      <a:pt x="3683" y="5418"/>
                    </a:lnTo>
                    <a:lnTo>
                      <a:pt x="3683" y="5461"/>
                    </a:lnTo>
                    <a:lnTo>
                      <a:pt x="3725" y="5418"/>
                    </a:lnTo>
                    <a:lnTo>
                      <a:pt x="3852" y="5376"/>
                    </a:lnTo>
                    <a:lnTo>
                      <a:pt x="3852" y="5461"/>
                    </a:lnTo>
                    <a:lnTo>
                      <a:pt x="3937" y="5418"/>
                    </a:lnTo>
                    <a:lnTo>
                      <a:pt x="3979" y="5376"/>
                    </a:lnTo>
                    <a:lnTo>
                      <a:pt x="4021" y="5376"/>
                    </a:lnTo>
                    <a:lnTo>
                      <a:pt x="4021" y="5334"/>
                    </a:lnTo>
                    <a:lnTo>
                      <a:pt x="3979" y="5249"/>
                    </a:lnTo>
                    <a:lnTo>
                      <a:pt x="4021" y="5249"/>
                    </a:lnTo>
                    <a:lnTo>
                      <a:pt x="4148" y="5249"/>
                    </a:lnTo>
                    <a:lnTo>
                      <a:pt x="4191" y="5207"/>
                    </a:lnTo>
                    <a:lnTo>
                      <a:pt x="4233" y="5164"/>
                    </a:lnTo>
                    <a:lnTo>
                      <a:pt x="4360" y="5080"/>
                    </a:lnTo>
                    <a:lnTo>
                      <a:pt x="4487" y="4995"/>
                    </a:lnTo>
                    <a:lnTo>
                      <a:pt x="4572" y="4910"/>
                    </a:lnTo>
                    <a:lnTo>
                      <a:pt x="4741" y="4826"/>
                    </a:lnTo>
                    <a:lnTo>
                      <a:pt x="4783" y="4783"/>
                    </a:lnTo>
                    <a:lnTo>
                      <a:pt x="4826" y="4741"/>
                    </a:lnTo>
                    <a:lnTo>
                      <a:pt x="4953" y="4572"/>
                    </a:lnTo>
                    <a:lnTo>
                      <a:pt x="5037" y="4529"/>
                    </a:lnTo>
                    <a:lnTo>
                      <a:pt x="5037" y="4487"/>
                    </a:lnTo>
                    <a:lnTo>
                      <a:pt x="5037" y="4445"/>
                    </a:lnTo>
                    <a:lnTo>
                      <a:pt x="5122" y="4402"/>
                    </a:lnTo>
                    <a:lnTo>
                      <a:pt x="5249" y="4445"/>
                    </a:lnTo>
                    <a:lnTo>
                      <a:pt x="5376" y="4445"/>
                    </a:lnTo>
                    <a:lnTo>
                      <a:pt x="5545" y="4614"/>
                    </a:lnTo>
                    <a:lnTo>
                      <a:pt x="5715" y="4487"/>
                    </a:lnTo>
                    <a:lnTo>
                      <a:pt x="5842" y="4360"/>
                    </a:lnTo>
                    <a:lnTo>
                      <a:pt x="5884" y="4318"/>
                    </a:lnTo>
                    <a:lnTo>
                      <a:pt x="5926" y="4275"/>
                    </a:lnTo>
                    <a:lnTo>
                      <a:pt x="5926" y="4233"/>
                    </a:lnTo>
                    <a:lnTo>
                      <a:pt x="6053" y="4021"/>
                    </a:lnTo>
                    <a:lnTo>
                      <a:pt x="6011" y="3979"/>
                    </a:lnTo>
                    <a:lnTo>
                      <a:pt x="5969" y="3894"/>
                    </a:lnTo>
                    <a:lnTo>
                      <a:pt x="5926" y="3810"/>
                    </a:lnTo>
                    <a:lnTo>
                      <a:pt x="5757" y="3556"/>
                    </a:lnTo>
                    <a:lnTo>
                      <a:pt x="5672" y="3429"/>
                    </a:lnTo>
                    <a:lnTo>
                      <a:pt x="5672" y="3386"/>
                    </a:lnTo>
                    <a:lnTo>
                      <a:pt x="5672" y="3259"/>
                    </a:lnTo>
                    <a:lnTo>
                      <a:pt x="5715" y="3132"/>
                    </a:lnTo>
                    <a:lnTo>
                      <a:pt x="5630" y="3090"/>
                    </a:lnTo>
                    <a:lnTo>
                      <a:pt x="5503" y="3090"/>
                    </a:lnTo>
                    <a:lnTo>
                      <a:pt x="5376" y="3005"/>
                    </a:lnTo>
                    <a:lnTo>
                      <a:pt x="5418" y="2921"/>
                    </a:lnTo>
                    <a:lnTo>
                      <a:pt x="5291" y="2878"/>
                    </a:lnTo>
                    <a:lnTo>
                      <a:pt x="5291" y="2836"/>
                    </a:lnTo>
                    <a:lnTo>
                      <a:pt x="5249" y="2794"/>
                    </a:lnTo>
                    <a:lnTo>
                      <a:pt x="5164" y="2751"/>
                    </a:lnTo>
                    <a:lnTo>
                      <a:pt x="5122" y="2709"/>
                    </a:lnTo>
                    <a:lnTo>
                      <a:pt x="5080" y="2709"/>
                    </a:lnTo>
                    <a:lnTo>
                      <a:pt x="4995" y="2709"/>
                    </a:lnTo>
                    <a:lnTo>
                      <a:pt x="4910" y="2709"/>
                    </a:lnTo>
                    <a:lnTo>
                      <a:pt x="4826" y="2709"/>
                    </a:lnTo>
                    <a:lnTo>
                      <a:pt x="4783" y="2709"/>
                    </a:lnTo>
                    <a:lnTo>
                      <a:pt x="4741" y="2624"/>
                    </a:lnTo>
                    <a:lnTo>
                      <a:pt x="4699" y="2582"/>
                    </a:lnTo>
                    <a:lnTo>
                      <a:pt x="4656" y="2540"/>
                    </a:lnTo>
                    <a:lnTo>
                      <a:pt x="4656" y="2370"/>
                    </a:lnTo>
                    <a:lnTo>
                      <a:pt x="4656" y="2328"/>
                    </a:lnTo>
                    <a:lnTo>
                      <a:pt x="4656" y="2243"/>
                    </a:lnTo>
                    <a:lnTo>
                      <a:pt x="4656" y="2159"/>
                    </a:lnTo>
                    <a:lnTo>
                      <a:pt x="4699" y="2116"/>
                    </a:lnTo>
                    <a:lnTo>
                      <a:pt x="4741" y="2032"/>
                    </a:lnTo>
                    <a:lnTo>
                      <a:pt x="4741" y="1989"/>
                    </a:lnTo>
                    <a:lnTo>
                      <a:pt x="4783" y="1947"/>
                    </a:lnTo>
                    <a:lnTo>
                      <a:pt x="4826" y="1947"/>
                    </a:lnTo>
                    <a:lnTo>
                      <a:pt x="4868" y="1905"/>
                    </a:lnTo>
                    <a:lnTo>
                      <a:pt x="4910" y="1820"/>
                    </a:lnTo>
                    <a:lnTo>
                      <a:pt x="4910" y="1778"/>
                    </a:lnTo>
                    <a:lnTo>
                      <a:pt x="4910" y="1735"/>
                    </a:lnTo>
                    <a:lnTo>
                      <a:pt x="4910" y="1651"/>
                    </a:lnTo>
                    <a:lnTo>
                      <a:pt x="4868" y="1651"/>
                    </a:lnTo>
                    <a:lnTo>
                      <a:pt x="4826" y="1651"/>
                    </a:lnTo>
                    <a:lnTo>
                      <a:pt x="4826" y="1608"/>
                    </a:lnTo>
                    <a:lnTo>
                      <a:pt x="4868" y="1566"/>
                    </a:lnTo>
                    <a:lnTo>
                      <a:pt x="4910" y="1524"/>
                    </a:lnTo>
                    <a:lnTo>
                      <a:pt x="4953" y="1481"/>
                    </a:lnTo>
                    <a:lnTo>
                      <a:pt x="4953" y="1439"/>
                    </a:lnTo>
                    <a:lnTo>
                      <a:pt x="4953" y="1397"/>
                    </a:lnTo>
                    <a:lnTo>
                      <a:pt x="4995" y="1354"/>
                    </a:lnTo>
                    <a:lnTo>
                      <a:pt x="4995" y="1312"/>
                    </a:lnTo>
                    <a:lnTo>
                      <a:pt x="5037" y="1312"/>
                    </a:lnTo>
                    <a:lnTo>
                      <a:pt x="5080" y="1270"/>
                    </a:lnTo>
                    <a:lnTo>
                      <a:pt x="5037" y="1270"/>
                    </a:lnTo>
                    <a:lnTo>
                      <a:pt x="5037" y="1227"/>
                    </a:lnTo>
                    <a:lnTo>
                      <a:pt x="5037" y="1185"/>
                    </a:lnTo>
                    <a:lnTo>
                      <a:pt x="5037" y="1143"/>
                    </a:lnTo>
                    <a:lnTo>
                      <a:pt x="5080" y="1100"/>
                    </a:lnTo>
                    <a:lnTo>
                      <a:pt x="5122" y="1100"/>
                    </a:lnTo>
                    <a:lnTo>
                      <a:pt x="5164" y="1058"/>
                    </a:lnTo>
                    <a:lnTo>
                      <a:pt x="5164" y="1016"/>
                    </a:lnTo>
                    <a:lnTo>
                      <a:pt x="5207" y="973"/>
                    </a:lnTo>
                    <a:lnTo>
                      <a:pt x="5249" y="973"/>
                    </a:lnTo>
                    <a:lnTo>
                      <a:pt x="5249" y="931"/>
                    </a:lnTo>
                    <a:lnTo>
                      <a:pt x="5207" y="931"/>
                    </a:lnTo>
                    <a:lnTo>
                      <a:pt x="5207" y="889"/>
                    </a:lnTo>
                    <a:lnTo>
                      <a:pt x="5207" y="635"/>
                    </a:lnTo>
                    <a:lnTo>
                      <a:pt x="5164" y="635"/>
                    </a:lnTo>
                    <a:lnTo>
                      <a:pt x="5164" y="592"/>
                    </a:lnTo>
                    <a:lnTo>
                      <a:pt x="5080" y="592"/>
                    </a:lnTo>
                    <a:lnTo>
                      <a:pt x="5037" y="592"/>
                    </a:lnTo>
                    <a:lnTo>
                      <a:pt x="4995" y="635"/>
                    </a:lnTo>
                    <a:lnTo>
                      <a:pt x="4953" y="635"/>
                    </a:lnTo>
                    <a:lnTo>
                      <a:pt x="4910" y="635"/>
                    </a:lnTo>
                    <a:lnTo>
                      <a:pt x="4953" y="677"/>
                    </a:lnTo>
                    <a:lnTo>
                      <a:pt x="4953" y="719"/>
                    </a:lnTo>
                    <a:lnTo>
                      <a:pt x="4910" y="719"/>
                    </a:lnTo>
                    <a:lnTo>
                      <a:pt x="4910" y="677"/>
                    </a:lnTo>
                    <a:lnTo>
                      <a:pt x="4868" y="635"/>
                    </a:lnTo>
                    <a:lnTo>
                      <a:pt x="4868" y="592"/>
                    </a:lnTo>
                    <a:lnTo>
                      <a:pt x="4826" y="592"/>
                    </a:lnTo>
                    <a:lnTo>
                      <a:pt x="4868" y="550"/>
                    </a:lnTo>
                    <a:lnTo>
                      <a:pt x="4826" y="550"/>
                    </a:lnTo>
                    <a:lnTo>
                      <a:pt x="4783" y="508"/>
                    </a:lnTo>
                    <a:lnTo>
                      <a:pt x="4783" y="550"/>
                    </a:lnTo>
                    <a:lnTo>
                      <a:pt x="4741" y="635"/>
                    </a:lnTo>
                    <a:lnTo>
                      <a:pt x="4741" y="592"/>
                    </a:lnTo>
                    <a:lnTo>
                      <a:pt x="4741" y="550"/>
                    </a:lnTo>
                    <a:lnTo>
                      <a:pt x="4656" y="508"/>
                    </a:lnTo>
                    <a:lnTo>
                      <a:pt x="4614" y="550"/>
                    </a:lnTo>
                    <a:lnTo>
                      <a:pt x="4614" y="592"/>
                    </a:lnTo>
                    <a:lnTo>
                      <a:pt x="4699" y="677"/>
                    </a:lnTo>
                    <a:lnTo>
                      <a:pt x="4699" y="719"/>
                    </a:lnTo>
                    <a:lnTo>
                      <a:pt x="4656" y="719"/>
                    </a:lnTo>
                    <a:lnTo>
                      <a:pt x="4656" y="677"/>
                    </a:lnTo>
                    <a:lnTo>
                      <a:pt x="4614" y="719"/>
                    </a:lnTo>
                    <a:lnTo>
                      <a:pt x="4614" y="677"/>
                    </a:lnTo>
                    <a:lnTo>
                      <a:pt x="4572" y="635"/>
                    </a:lnTo>
                    <a:lnTo>
                      <a:pt x="4572" y="592"/>
                    </a:lnTo>
                    <a:lnTo>
                      <a:pt x="4572" y="550"/>
                    </a:lnTo>
                    <a:lnTo>
                      <a:pt x="4572" y="465"/>
                    </a:lnTo>
                    <a:lnTo>
                      <a:pt x="4529" y="423"/>
                    </a:lnTo>
                    <a:lnTo>
                      <a:pt x="4529" y="381"/>
                    </a:lnTo>
                    <a:lnTo>
                      <a:pt x="4572" y="338"/>
                    </a:lnTo>
                    <a:lnTo>
                      <a:pt x="4529" y="338"/>
                    </a:lnTo>
                    <a:lnTo>
                      <a:pt x="4529" y="296"/>
                    </a:lnTo>
                    <a:lnTo>
                      <a:pt x="4529" y="254"/>
                    </a:lnTo>
                    <a:lnTo>
                      <a:pt x="4487" y="211"/>
                    </a:lnTo>
                    <a:lnTo>
                      <a:pt x="4529" y="127"/>
                    </a:lnTo>
                    <a:lnTo>
                      <a:pt x="4529" y="84"/>
                    </a:lnTo>
                    <a:lnTo>
                      <a:pt x="4529" y="42"/>
                    </a:lnTo>
                    <a:lnTo>
                      <a:pt x="4614" y="0"/>
                    </a:lnTo>
                    <a:close/>
                    <a:moveTo>
                      <a:pt x="4868" y="550"/>
                    </a:moveTo>
                    <a:lnTo>
                      <a:pt x="4868" y="592"/>
                    </a:lnTo>
                    <a:lnTo>
                      <a:pt x="4910" y="635"/>
                    </a:lnTo>
                    <a:lnTo>
                      <a:pt x="4868" y="550"/>
                    </a:lnTo>
                    <a:close/>
                    <a:moveTo>
                      <a:pt x="211" y="2963"/>
                    </a:moveTo>
                    <a:lnTo>
                      <a:pt x="84" y="3090"/>
                    </a:lnTo>
                    <a:lnTo>
                      <a:pt x="42" y="3090"/>
                    </a:lnTo>
                    <a:lnTo>
                      <a:pt x="0" y="3090"/>
                    </a:lnTo>
                    <a:lnTo>
                      <a:pt x="42" y="3132"/>
                    </a:lnTo>
                    <a:lnTo>
                      <a:pt x="84" y="3132"/>
                    </a:lnTo>
                    <a:lnTo>
                      <a:pt x="127" y="3090"/>
                    </a:lnTo>
                    <a:lnTo>
                      <a:pt x="211" y="2963"/>
                    </a:lnTo>
                    <a:close/>
                    <a:moveTo>
                      <a:pt x="508" y="2116"/>
                    </a:moveTo>
                    <a:lnTo>
                      <a:pt x="508" y="2074"/>
                    </a:lnTo>
                    <a:lnTo>
                      <a:pt x="465" y="2116"/>
                    </a:lnTo>
                    <a:lnTo>
                      <a:pt x="508" y="2116"/>
                    </a:lnTo>
                    <a:close/>
                    <a:moveTo>
                      <a:pt x="4614" y="804"/>
                    </a:moveTo>
                    <a:lnTo>
                      <a:pt x="4656" y="804"/>
                    </a:lnTo>
                    <a:lnTo>
                      <a:pt x="4656" y="846"/>
                    </a:lnTo>
                    <a:lnTo>
                      <a:pt x="4614" y="804"/>
                    </a:lnTo>
                    <a:close/>
                    <a:moveTo>
                      <a:pt x="4529" y="846"/>
                    </a:moveTo>
                    <a:lnTo>
                      <a:pt x="4572" y="846"/>
                    </a:lnTo>
                    <a:lnTo>
                      <a:pt x="4529" y="889"/>
                    </a:lnTo>
                    <a:lnTo>
                      <a:pt x="4529" y="846"/>
                    </a:lnTo>
                    <a:close/>
                    <a:moveTo>
                      <a:pt x="381" y="3386"/>
                    </a:moveTo>
                    <a:lnTo>
                      <a:pt x="423" y="3386"/>
                    </a:lnTo>
                    <a:lnTo>
                      <a:pt x="381" y="3429"/>
                    </a:lnTo>
                    <a:lnTo>
                      <a:pt x="381" y="3386"/>
                    </a:lnTo>
                    <a:close/>
                  </a:path>
                </a:pathLst>
              </a:custGeom>
              <a:solidFill>
                <a:schemeClr val="accent1"/>
              </a:solidFill>
              <a:ln w="12700" cap="flat" cmpd="sng">
                <a:solidFill>
                  <a:schemeClr val="tx1"/>
                </a:solidFill>
                <a:prstDash val="solid"/>
                <a:bevel/>
                <a:headEnd/>
                <a:tailEnd/>
              </a:ln>
            </p:spPr>
            <p:txBody>
              <a:bodyPr/>
              <a:lstStyle/>
              <a:p>
                <a:endParaRPr lang="nl-NL"/>
              </a:p>
            </p:txBody>
          </p:sp>
        </p:grpSp>
        <p:grpSp>
          <p:nvGrpSpPr>
            <p:cNvPr id="55" name="Group 550">
              <a:extLst>
                <a:ext uri="{FF2B5EF4-FFF2-40B4-BE49-F238E27FC236}">
                  <a16:creationId xmlns:a16="http://schemas.microsoft.com/office/drawing/2014/main" id="{07269747-6776-A009-DB03-B41D43D8CCB7}"/>
                </a:ext>
              </a:extLst>
            </p:cNvPr>
            <p:cNvGrpSpPr>
              <a:grpSpLocks/>
            </p:cNvGrpSpPr>
            <p:nvPr/>
          </p:nvGrpSpPr>
          <p:grpSpPr bwMode="auto">
            <a:xfrm>
              <a:off x="916449" y="7700314"/>
              <a:ext cx="1881250" cy="1818014"/>
              <a:chOff x="-119" y="2736"/>
              <a:chExt cx="1430" cy="1381"/>
            </a:xfrm>
            <a:noFill/>
          </p:grpSpPr>
          <p:sp>
            <p:nvSpPr>
              <p:cNvPr id="60" name="Freeform 551">
                <a:extLst>
                  <a:ext uri="{FF2B5EF4-FFF2-40B4-BE49-F238E27FC236}">
                    <a16:creationId xmlns:a16="http://schemas.microsoft.com/office/drawing/2014/main" id="{8866B0D3-6F83-635E-91EC-391772E2A244}"/>
                  </a:ext>
                </a:extLst>
              </p:cNvPr>
              <p:cNvSpPr>
                <a:spLocks noEditPoints="1"/>
              </p:cNvSpPr>
              <p:nvPr/>
            </p:nvSpPr>
            <p:spPr bwMode="auto">
              <a:xfrm>
                <a:off x="546" y="2736"/>
                <a:ext cx="755" cy="418"/>
              </a:xfrm>
              <a:custGeom>
                <a:avLst/>
                <a:gdLst/>
                <a:ahLst/>
                <a:cxnLst>
                  <a:cxn ang="0">
                    <a:pos x="974" y="42"/>
                  </a:cxn>
                  <a:cxn ang="0">
                    <a:pos x="847" y="84"/>
                  </a:cxn>
                  <a:cxn ang="0">
                    <a:pos x="847" y="42"/>
                  </a:cxn>
                  <a:cxn ang="0">
                    <a:pos x="381" y="211"/>
                  </a:cxn>
                  <a:cxn ang="0">
                    <a:pos x="169" y="254"/>
                  </a:cxn>
                  <a:cxn ang="0">
                    <a:pos x="127" y="423"/>
                  </a:cxn>
                  <a:cxn ang="0">
                    <a:pos x="212" y="592"/>
                  </a:cxn>
                  <a:cxn ang="0">
                    <a:pos x="339" y="592"/>
                  </a:cxn>
                  <a:cxn ang="0">
                    <a:pos x="296" y="508"/>
                  </a:cxn>
                  <a:cxn ang="0">
                    <a:pos x="423" y="508"/>
                  </a:cxn>
                  <a:cxn ang="0">
                    <a:pos x="550" y="465"/>
                  </a:cxn>
                  <a:cxn ang="0">
                    <a:pos x="677" y="381"/>
                  </a:cxn>
                  <a:cxn ang="0">
                    <a:pos x="931" y="465"/>
                  </a:cxn>
                  <a:cxn ang="0">
                    <a:pos x="1016" y="635"/>
                  </a:cxn>
                  <a:cxn ang="0">
                    <a:pos x="1058" y="762"/>
                  </a:cxn>
                  <a:cxn ang="0">
                    <a:pos x="1058" y="804"/>
                  </a:cxn>
                  <a:cxn ang="0">
                    <a:pos x="1058" y="973"/>
                  </a:cxn>
                  <a:cxn ang="0">
                    <a:pos x="1143" y="1058"/>
                  </a:cxn>
                  <a:cxn ang="0">
                    <a:pos x="1185" y="1270"/>
                  </a:cxn>
                  <a:cxn ang="0">
                    <a:pos x="1312" y="1312"/>
                  </a:cxn>
                  <a:cxn ang="0">
                    <a:pos x="1439" y="1312"/>
                  </a:cxn>
                  <a:cxn ang="0">
                    <a:pos x="1609" y="1312"/>
                  </a:cxn>
                  <a:cxn ang="0">
                    <a:pos x="1820" y="1481"/>
                  </a:cxn>
                  <a:cxn ang="0">
                    <a:pos x="1990" y="1524"/>
                  </a:cxn>
                  <a:cxn ang="0">
                    <a:pos x="2117" y="1608"/>
                  </a:cxn>
                  <a:cxn ang="0">
                    <a:pos x="2159" y="1693"/>
                  </a:cxn>
                  <a:cxn ang="0">
                    <a:pos x="2413" y="1778"/>
                  </a:cxn>
                  <a:cxn ang="0">
                    <a:pos x="2582" y="1735"/>
                  </a:cxn>
                  <a:cxn ang="0">
                    <a:pos x="2836" y="1693"/>
                  </a:cxn>
                  <a:cxn ang="0">
                    <a:pos x="3006" y="1524"/>
                  </a:cxn>
                  <a:cxn ang="0">
                    <a:pos x="2963" y="1439"/>
                  </a:cxn>
                  <a:cxn ang="0">
                    <a:pos x="3090" y="1439"/>
                  </a:cxn>
                  <a:cxn ang="0">
                    <a:pos x="3175" y="1397"/>
                  </a:cxn>
                  <a:cxn ang="0">
                    <a:pos x="3133" y="1312"/>
                  </a:cxn>
                  <a:cxn ang="0">
                    <a:pos x="2921" y="1354"/>
                  </a:cxn>
                  <a:cxn ang="0">
                    <a:pos x="2709" y="1354"/>
                  </a:cxn>
                  <a:cxn ang="0">
                    <a:pos x="2498" y="1185"/>
                  </a:cxn>
                  <a:cxn ang="0">
                    <a:pos x="2413" y="1100"/>
                  </a:cxn>
                  <a:cxn ang="0">
                    <a:pos x="2328" y="973"/>
                  </a:cxn>
                  <a:cxn ang="0">
                    <a:pos x="2032" y="719"/>
                  </a:cxn>
                  <a:cxn ang="0">
                    <a:pos x="1905" y="677"/>
                  </a:cxn>
                  <a:cxn ang="0">
                    <a:pos x="1736" y="550"/>
                  </a:cxn>
                  <a:cxn ang="0">
                    <a:pos x="1439" y="423"/>
                  </a:cxn>
                  <a:cxn ang="0">
                    <a:pos x="1270" y="296"/>
                  </a:cxn>
                  <a:cxn ang="0">
                    <a:pos x="1185" y="296"/>
                  </a:cxn>
                  <a:cxn ang="0">
                    <a:pos x="1185" y="211"/>
                  </a:cxn>
                  <a:cxn ang="0">
                    <a:pos x="1143" y="211"/>
                  </a:cxn>
                  <a:cxn ang="0">
                    <a:pos x="1016" y="127"/>
                  </a:cxn>
                  <a:cxn ang="0">
                    <a:pos x="169" y="635"/>
                  </a:cxn>
                  <a:cxn ang="0">
                    <a:pos x="0" y="804"/>
                  </a:cxn>
                  <a:cxn ang="0">
                    <a:pos x="169" y="889"/>
                  </a:cxn>
                  <a:cxn ang="0">
                    <a:pos x="169" y="804"/>
                  </a:cxn>
                </a:cxnLst>
                <a:rect l="0" t="0" r="r" b="b"/>
                <a:pathLst>
                  <a:path w="3217" h="1778">
                    <a:moveTo>
                      <a:pt x="974" y="0"/>
                    </a:moveTo>
                    <a:lnTo>
                      <a:pt x="889" y="42"/>
                    </a:lnTo>
                    <a:lnTo>
                      <a:pt x="974" y="42"/>
                    </a:lnTo>
                    <a:lnTo>
                      <a:pt x="974" y="0"/>
                    </a:lnTo>
                    <a:close/>
                    <a:moveTo>
                      <a:pt x="974" y="42"/>
                    </a:moveTo>
                    <a:lnTo>
                      <a:pt x="847" y="84"/>
                    </a:lnTo>
                    <a:lnTo>
                      <a:pt x="804" y="84"/>
                    </a:lnTo>
                    <a:lnTo>
                      <a:pt x="762" y="84"/>
                    </a:lnTo>
                    <a:lnTo>
                      <a:pt x="847" y="42"/>
                    </a:lnTo>
                    <a:lnTo>
                      <a:pt x="720" y="84"/>
                    </a:lnTo>
                    <a:lnTo>
                      <a:pt x="466" y="169"/>
                    </a:lnTo>
                    <a:lnTo>
                      <a:pt x="381" y="211"/>
                    </a:lnTo>
                    <a:lnTo>
                      <a:pt x="339" y="211"/>
                    </a:lnTo>
                    <a:lnTo>
                      <a:pt x="212" y="254"/>
                    </a:lnTo>
                    <a:lnTo>
                      <a:pt x="169" y="254"/>
                    </a:lnTo>
                    <a:lnTo>
                      <a:pt x="127" y="338"/>
                    </a:lnTo>
                    <a:lnTo>
                      <a:pt x="127" y="381"/>
                    </a:lnTo>
                    <a:lnTo>
                      <a:pt x="127" y="423"/>
                    </a:lnTo>
                    <a:lnTo>
                      <a:pt x="169" y="550"/>
                    </a:lnTo>
                    <a:lnTo>
                      <a:pt x="169" y="592"/>
                    </a:lnTo>
                    <a:lnTo>
                      <a:pt x="212" y="592"/>
                    </a:lnTo>
                    <a:lnTo>
                      <a:pt x="212" y="635"/>
                    </a:lnTo>
                    <a:lnTo>
                      <a:pt x="254" y="635"/>
                    </a:lnTo>
                    <a:lnTo>
                      <a:pt x="339" y="592"/>
                    </a:lnTo>
                    <a:lnTo>
                      <a:pt x="339" y="550"/>
                    </a:lnTo>
                    <a:lnTo>
                      <a:pt x="296" y="550"/>
                    </a:lnTo>
                    <a:lnTo>
                      <a:pt x="296" y="508"/>
                    </a:lnTo>
                    <a:lnTo>
                      <a:pt x="339" y="508"/>
                    </a:lnTo>
                    <a:lnTo>
                      <a:pt x="381" y="508"/>
                    </a:lnTo>
                    <a:lnTo>
                      <a:pt x="423" y="508"/>
                    </a:lnTo>
                    <a:lnTo>
                      <a:pt x="466" y="465"/>
                    </a:lnTo>
                    <a:lnTo>
                      <a:pt x="508" y="465"/>
                    </a:lnTo>
                    <a:lnTo>
                      <a:pt x="550" y="465"/>
                    </a:lnTo>
                    <a:lnTo>
                      <a:pt x="593" y="465"/>
                    </a:lnTo>
                    <a:lnTo>
                      <a:pt x="635" y="423"/>
                    </a:lnTo>
                    <a:lnTo>
                      <a:pt x="677" y="381"/>
                    </a:lnTo>
                    <a:lnTo>
                      <a:pt x="762" y="423"/>
                    </a:lnTo>
                    <a:lnTo>
                      <a:pt x="847" y="423"/>
                    </a:lnTo>
                    <a:lnTo>
                      <a:pt x="931" y="465"/>
                    </a:lnTo>
                    <a:lnTo>
                      <a:pt x="931" y="508"/>
                    </a:lnTo>
                    <a:lnTo>
                      <a:pt x="974" y="550"/>
                    </a:lnTo>
                    <a:lnTo>
                      <a:pt x="1016" y="635"/>
                    </a:lnTo>
                    <a:lnTo>
                      <a:pt x="1058" y="635"/>
                    </a:lnTo>
                    <a:lnTo>
                      <a:pt x="1058" y="719"/>
                    </a:lnTo>
                    <a:lnTo>
                      <a:pt x="1058" y="762"/>
                    </a:lnTo>
                    <a:lnTo>
                      <a:pt x="1016" y="762"/>
                    </a:lnTo>
                    <a:lnTo>
                      <a:pt x="1016" y="804"/>
                    </a:lnTo>
                    <a:lnTo>
                      <a:pt x="1058" y="804"/>
                    </a:lnTo>
                    <a:lnTo>
                      <a:pt x="1016" y="846"/>
                    </a:lnTo>
                    <a:lnTo>
                      <a:pt x="1016" y="889"/>
                    </a:lnTo>
                    <a:lnTo>
                      <a:pt x="1058" y="973"/>
                    </a:lnTo>
                    <a:lnTo>
                      <a:pt x="1101" y="973"/>
                    </a:lnTo>
                    <a:lnTo>
                      <a:pt x="1101" y="1016"/>
                    </a:lnTo>
                    <a:lnTo>
                      <a:pt x="1143" y="1058"/>
                    </a:lnTo>
                    <a:lnTo>
                      <a:pt x="1143" y="1100"/>
                    </a:lnTo>
                    <a:lnTo>
                      <a:pt x="1185" y="1185"/>
                    </a:lnTo>
                    <a:lnTo>
                      <a:pt x="1185" y="1270"/>
                    </a:lnTo>
                    <a:lnTo>
                      <a:pt x="1228" y="1270"/>
                    </a:lnTo>
                    <a:lnTo>
                      <a:pt x="1270" y="1270"/>
                    </a:lnTo>
                    <a:lnTo>
                      <a:pt x="1312" y="1312"/>
                    </a:lnTo>
                    <a:lnTo>
                      <a:pt x="1355" y="1270"/>
                    </a:lnTo>
                    <a:lnTo>
                      <a:pt x="1355" y="1312"/>
                    </a:lnTo>
                    <a:lnTo>
                      <a:pt x="1439" y="1312"/>
                    </a:lnTo>
                    <a:lnTo>
                      <a:pt x="1524" y="1312"/>
                    </a:lnTo>
                    <a:lnTo>
                      <a:pt x="1566" y="1312"/>
                    </a:lnTo>
                    <a:lnTo>
                      <a:pt x="1609" y="1312"/>
                    </a:lnTo>
                    <a:lnTo>
                      <a:pt x="1651" y="1354"/>
                    </a:lnTo>
                    <a:lnTo>
                      <a:pt x="1778" y="1397"/>
                    </a:lnTo>
                    <a:lnTo>
                      <a:pt x="1820" y="1481"/>
                    </a:lnTo>
                    <a:lnTo>
                      <a:pt x="1863" y="1524"/>
                    </a:lnTo>
                    <a:lnTo>
                      <a:pt x="1947" y="1524"/>
                    </a:lnTo>
                    <a:lnTo>
                      <a:pt x="1990" y="1524"/>
                    </a:lnTo>
                    <a:lnTo>
                      <a:pt x="1990" y="1566"/>
                    </a:lnTo>
                    <a:lnTo>
                      <a:pt x="2074" y="1566"/>
                    </a:lnTo>
                    <a:lnTo>
                      <a:pt x="2117" y="1608"/>
                    </a:lnTo>
                    <a:lnTo>
                      <a:pt x="2159" y="1608"/>
                    </a:lnTo>
                    <a:lnTo>
                      <a:pt x="2159" y="1651"/>
                    </a:lnTo>
                    <a:lnTo>
                      <a:pt x="2159" y="1693"/>
                    </a:lnTo>
                    <a:lnTo>
                      <a:pt x="2244" y="1735"/>
                    </a:lnTo>
                    <a:lnTo>
                      <a:pt x="2286" y="1778"/>
                    </a:lnTo>
                    <a:lnTo>
                      <a:pt x="2413" y="1778"/>
                    </a:lnTo>
                    <a:lnTo>
                      <a:pt x="2455" y="1778"/>
                    </a:lnTo>
                    <a:lnTo>
                      <a:pt x="2498" y="1778"/>
                    </a:lnTo>
                    <a:lnTo>
                      <a:pt x="2582" y="1735"/>
                    </a:lnTo>
                    <a:lnTo>
                      <a:pt x="2667" y="1735"/>
                    </a:lnTo>
                    <a:lnTo>
                      <a:pt x="2709" y="1735"/>
                    </a:lnTo>
                    <a:lnTo>
                      <a:pt x="2836" y="1693"/>
                    </a:lnTo>
                    <a:lnTo>
                      <a:pt x="2921" y="1651"/>
                    </a:lnTo>
                    <a:lnTo>
                      <a:pt x="2963" y="1608"/>
                    </a:lnTo>
                    <a:lnTo>
                      <a:pt x="3006" y="1524"/>
                    </a:lnTo>
                    <a:lnTo>
                      <a:pt x="3006" y="1481"/>
                    </a:lnTo>
                    <a:lnTo>
                      <a:pt x="2963" y="1481"/>
                    </a:lnTo>
                    <a:lnTo>
                      <a:pt x="2963" y="1439"/>
                    </a:lnTo>
                    <a:lnTo>
                      <a:pt x="3006" y="1439"/>
                    </a:lnTo>
                    <a:lnTo>
                      <a:pt x="3048" y="1439"/>
                    </a:lnTo>
                    <a:lnTo>
                      <a:pt x="3090" y="1439"/>
                    </a:lnTo>
                    <a:lnTo>
                      <a:pt x="3133" y="1439"/>
                    </a:lnTo>
                    <a:lnTo>
                      <a:pt x="3217" y="1397"/>
                    </a:lnTo>
                    <a:lnTo>
                      <a:pt x="3175" y="1397"/>
                    </a:lnTo>
                    <a:lnTo>
                      <a:pt x="3175" y="1354"/>
                    </a:lnTo>
                    <a:lnTo>
                      <a:pt x="3175" y="1312"/>
                    </a:lnTo>
                    <a:lnTo>
                      <a:pt x="3133" y="1312"/>
                    </a:lnTo>
                    <a:lnTo>
                      <a:pt x="3090" y="1354"/>
                    </a:lnTo>
                    <a:lnTo>
                      <a:pt x="3006" y="1354"/>
                    </a:lnTo>
                    <a:lnTo>
                      <a:pt x="2921" y="1354"/>
                    </a:lnTo>
                    <a:lnTo>
                      <a:pt x="2836" y="1354"/>
                    </a:lnTo>
                    <a:lnTo>
                      <a:pt x="2794" y="1354"/>
                    </a:lnTo>
                    <a:lnTo>
                      <a:pt x="2709" y="1354"/>
                    </a:lnTo>
                    <a:lnTo>
                      <a:pt x="2625" y="1227"/>
                    </a:lnTo>
                    <a:lnTo>
                      <a:pt x="2540" y="1227"/>
                    </a:lnTo>
                    <a:lnTo>
                      <a:pt x="2498" y="1185"/>
                    </a:lnTo>
                    <a:lnTo>
                      <a:pt x="2455" y="1185"/>
                    </a:lnTo>
                    <a:lnTo>
                      <a:pt x="2413" y="1143"/>
                    </a:lnTo>
                    <a:lnTo>
                      <a:pt x="2413" y="1100"/>
                    </a:lnTo>
                    <a:lnTo>
                      <a:pt x="2328" y="1058"/>
                    </a:lnTo>
                    <a:lnTo>
                      <a:pt x="2328" y="1016"/>
                    </a:lnTo>
                    <a:lnTo>
                      <a:pt x="2328" y="973"/>
                    </a:lnTo>
                    <a:lnTo>
                      <a:pt x="2286" y="973"/>
                    </a:lnTo>
                    <a:lnTo>
                      <a:pt x="2159" y="846"/>
                    </a:lnTo>
                    <a:lnTo>
                      <a:pt x="2032" y="719"/>
                    </a:lnTo>
                    <a:lnTo>
                      <a:pt x="1990" y="719"/>
                    </a:lnTo>
                    <a:lnTo>
                      <a:pt x="1990" y="677"/>
                    </a:lnTo>
                    <a:lnTo>
                      <a:pt x="1905" y="677"/>
                    </a:lnTo>
                    <a:lnTo>
                      <a:pt x="1863" y="635"/>
                    </a:lnTo>
                    <a:lnTo>
                      <a:pt x="1820" y="635"/>
                    </a:lnTo>
                    <a:lnTo>
                      <a:pt x="1736" y="550"/>
                    </a:lnTo>
                    <a:lnTo>
                      <a:pt x="1651" y="508"/>
                    </a:lnTo>
                    <a:lnTo>
                      <a:pt x="1609" y="508"/>
                    </a:lnTo>
                    <a:lnTo>
                      <a:pt x="1439" y="423"/>
                    </a:lnTo>
                    <a:lnTo>
                      <a:pt x="1397" y="381"/>
                    </a:lnTo>
                    <a:lnTo>
                      <a:pt x="1270" y="338"/>
                    </a:lnTo>
                    <a:lnTo>
                      <a:pt x="1270" y="296"/>
                    </a:lnTo>
                    <a:lnTo>
                      <a:pt x="1228" y="254"/>
                    </a:lnTo>
                    <a:lnTo>
                      <a:pt x="1185" y="254"/>
                    </a:lnTo>
                    <a:lnTo>
                      <a:pt x="1185" y="296"/>
                    </a:lnTo>
                    <a:lnTo>
                      <a:pt x="1143" y="254"/>
                    </a:lnTo>
                    <a:lnTo>
                      <a:pt x="1185" y="254"/>
                    </a:lnTo>
                    <a:lnTo>
                      <a:pt x="1185" y="211"/>
                    </a:lnTo>
                    <a:lnTo>
                      <a:pt x="1185" y="169"/>
                    </a:lnTo>
                    <a:lnTo>
                      <a:pt x="1143" y="169"/>
                    </a:lnTo>
                    <a:lnTo>
                      <a:pt x="1143" y="211"/>
                    </a:lnTo>
                    <a:lnTo>
                      <a:pt x="1101" y="211"/>
                    </a:lnTo>
                    <a:lnTo>
                      <a:pt x="1101" y="169"/>
                    </a:lnTo>
                    <a:lnTo>
                      <a:pt x="1016" y="127"/>
                    </a:lnTo>
                    <a:lnTo>
                      <a:pt x="1016" y="84"/>
                    </a:lnTo>
                    <a:lnTo>
                      <a:pt x="974" y="42"/>
                    </a:lnTo>
                    <a:close/>
                    <a:moveTo>
                      <a:pt x="169" y="635"/>
                    </a:moveTo>
                    <a:lnTo>
                      <a:pt x="127" y="719"/>
                    </a:lnTo>
                    <a:lnTo>
                      <a:pt x="85" y="762"/>
                    </a:lnTo>
                    <a:lnTo>
                      <a:pt x="0" y="804"/>
                    </a:lnTo>
                    <a:lnTo>
                      <a:pt x="42" y="804"/>
                    </a:lnTo>
                    <a:lnTo>
                      <a:pt x="127" y="846"/>
                    </a:lnTo>
                    <a:lnTo>
                      <a:pt x="169" y="889"/>
                    </a:lnTo>
                    <a:lnTo>
                      <a:pt x="212" y="889"/>
                    </a:lnTo>
                    <a:lnTo>
                      <a:pt x="212" y="846"/>
                    </a:lnTo>
                    <a:lnTo>
                      <a:pt x="169" y="804"/>
                    </a:lnTo>
                    <a:lnTo>
                      <a:pt x="127" y="762"/>
                    </a:lnTo>
                    <a:lnTo>
                      <a:pt x="169" y="635"/>
                    </a:lnTo>
                    <a:close/>
                  </a:path>
                </a:pathLst>
              </a:custGeom>
              <a:grpFill/>
              <a:ln w="12700" cap="flat" cmpd="sng">
                <a:solidFill>
                  <a:schemeClr val="tx1"/>
                </a:solidFill>
                <a:prstDash val="solid"/>
                <a:bevel/>
                <a:headEnd/>
                <a:tailEnd/>
              </a:ln>
            </p:spPr>
            <p:txBody>
              <a:bodyPr/>
              <a:lstStyle/>
              <a:p>
                <a:endParaRPr lang="nl-NL"/>
              </a:p>
            </p:txBody>
          </p:sp>
          <p:sp>
            <p:nvSpPr>
              <p:cNvPr id="61" name="Freeform 552">
                <a:extLst>
                  <a:ext uri="{FF2B5EF4-FFF2-40B4-BE49-F238E27FC236}">
                    <a16:creationId xmlns:a16="http://schemas.microsoft.com/office/drawing/2014/main" id="{3B43624A-78F6-AA4F-7E90-0042776E9739}"/>
                  </a:ext>
                </a:extLst>
              </p:cNvPr>
              <p:cNvSpPr>
                <a:spLocks noEditPoints="1"/>
              </p:cNvSpPr>
              <p:nvPr/>
            </p:nvSpPr>
            <p:spPr bwMode="auto">
              <a:xfrm>
                <a:off x="0" y="3273"/>
                <a:ext cx="1122" cy="487"/>
              </a:xfrm>
              <a:custGeom>
                <a:avLst/>
                <a:gdLst/>
                <a:ahLst/>
                <a:cxnLst>
                  <a:cxn ang="0">
                    <a:pos x="592" y="84"/>
                  </a:cxn>
                  <a:cxn ang="0">
                    <a:pos x="296" y="254"/>
                  </a:cxn>
                  <a:cxn ang="0">
                    <a:pos x="42" y="423"/>
                  </a:cxn>
                  <a:cxn ang="0">
                    <a:pos x="42" y="677"/>
                  </a:cxn>
                  <a:cxn ang="0">
                    <a:pos x="254" y="846"/>
                  </a:cxn>
                  <a:cxn ang="0">
                    <a:pos x="423" y="1016"/>
                  </a:cxn>
                  <a:cxn ang="0">
                    <a:pos x="550" y="1227"/>
                  </a:cxn>
                  <a:cxn ang="0">
                    <a:pos x="719" y="1397"/>
                  </a:cxn>
                  <a:cxn ang="0">
                    <a:pos x="889" y="1270"/>
                  </a:cxn>
                  <a:cxn ang="0">
                    <a:pos x="1100" y="1397"/>
                  </a:cxn>
                  <a:cxn ang="0">
                    <a:pos x="1312" y="1312"/>
                  </a:cxn>
                  <a:cxn ang="0">
                    <a:pos x="1397" y="1227"/>
                  </a:cxn>
                  <a:cxn ang="0">
                    <a:pos x="1566" y="1143"/>
                  </a:cxn>
                  <a:cxn ang="0">
                    <a:pos x="1566" y="1312"/>
                  </a:cxn>
                  <a:cxn ang="0">
                    <a:pos x="1481" y="1397"/>
                  </a:cxn>
                  <a:cxn ang="0">
                    <a:pos x="1608" y="1608"/>
                  </a:cxn>
                  <a:cxn ang="0">
                    <a:pos x="1735" y="1651"/>
                  </a:cxn>
                  <a:cxn ang="0">
                    <a:pos x="1989" y="1778"/>
                  </a:cxn>
                  <a:cxn ang="0">
                    <a:pos x="2243" y="1905"/>
                  </a:cxn>
                  <a:cxn ang="0">
                    <a:pos x="2540" y="1820"/>
                  </a:cxn>
                  <a:cxn ang="0">
                    <a:pos x="2709" y="1608"/>
                  </a:cxn>
                  <a:cxn ang="0">
                    <a:pos x="2751" y="1397"/>
                  </a:cxn>
                  <a:cxn ang="0">
                    <a:pos x="2963" y="1312"/>
                  </a:cxn>
                  <a:cxn ang="0">
                    <a:pos x="3175" y="1397"/>
                  </a:cxn>
                  <a:cxn ang="0">
                    <a:pos x="3344" y="1481"/>
                  </a:cxn>
                  <a:cxn ang="0">
                    <a:pos x="3556" y="1693"/>
                  </a:cxn>
                  <a:cxn ang="0">
                    <a:pos x="3852" y="1820"/>
                  </a:cxn>
                  <a:cxn ang="0">
                    <a:pos x="4275" y="1778"/>
                  </a:cxn>
                  <a:cxn ang="0">
                    <a:pos x="4445" y="1820"/>
                  </a:cxn>
                  <a:cxn ang="0">
                    <a:pos x="4783" y="2032"/>
                  </a:cxn>
                  <a:cxn ang="0">
                    <a:pos x="4699" y="1693"/>
                  </a:cxn>
                  <a:cxn ang="0">
                    <a:pos x="4445" y="1016"/>
                  </a:cxn>
                  <a:cxn ang="0">
                    <a:pos x="4402" y="1481"/>
                  </a:cxn>
                  <a:cxn ang="0">
                    <a:pos x="4191" y="1439"/>
                  </a:cxn>
                  <a:cxn ang="0">
                    <a:pos x="3979" y="1524"/>
                  </a:cxn>
                  <a:cxn ang="0">
                    <a:pos x="3725" y="1397"/>
                  </a:cxn>
                  <a:cxn ang="0">
                    <a:pos x="3513" y="1058"/>
                  </a:cxn>
                  <a:cxn ang="0">
                    <a:pos x="3471" y="889"/>
                  </a:cxn>
                  <a:cxn ang="0">
                    <a:pos x="3217" y="719"/>
                  </a:cxn>
                  <a:cxn ang="0">
                    <a:pos x="2963" y="592"/>
                  </a:cxn>
                  <a:cxn ang="0">
                    <a:pos x="2836" y="550"/>
                  </a:cxn>
                  <a:cxn ang="0">
                    <a:pos x="2667" y="465"/>
                  </a:cxn>
                  <a:cxn ang="0">
                    <a:pos x="2413" y="508"/>
                  </a:cxn>
                  <a:cxn ang="0">
                    <a:pos x="2201" y="423"/>
                  </a:cxn>
                  <a:cxn ang="0">
                    <a:pos x="1862" y="465"/>
                  </a:cxn>
                  <a:cxn ang="0">
                    <a:pos x="1651" y="592"/>
                  </a:cxn>
                  <a:cxn ang="0">
                    <a:pos x="1566" y="719"/>
                  </a:cxn>
                  <a:cxn ang="0">
                    <a:pos x="1397" y="592"/>
                  </a:cxn>
                  <a:cxn ang="0">
                    <a:pos x="1270" y="338"/>
                  </a:cxn>
                  <a:cxn ang="0">
                    <a:pos x="1100" y="84"/>
                  </a:cxn>
                  <a:cxn ang="0">
                    <a:pos x="889" y="0"/>
                  </a:cxn>
                  <a:cxn ang="0">
                    <a:pos x="1524" y="1312"/>
                  </a:cxn>
                </a:cxnLst>
                <a:rect l="0" t="0" r="r" b="b"/>
                <a:pathLst>
                  <a:path w="4783" h="2074">
                    <a:moveTo>
                      <a:pt x="719" y="0"/>
                    </a:moveTo>
                    <a:lnTo>
                      <a:pt x="719" y="42"/>
                    </a:lnTo>
                    <a:lnTo>
                      <a:pt x="677" y="42"/>
                    </a:lnTo>
                    <a:lnTo>
                      <a:pt x="635" y="42"/>
                    </a:lnTo>
                    <a:lnTo>
                      <a:pt x="592" y="84"/>
                    </a:lnTo>
                    <a:lnTo>
                      <a:pt x="508" y="127"/>
                    </a:lnTo>
                    <a:lnTo>
                      <a:pt x="465" y="169"/>
                    </a:lnTo>
                    <a:lnTo>
                      <a:pt x="381" y="211"/>
                    </a:lnTo>
                    <a:lnTo>
                      <a:pt x="338" y="211"/>
                    </a:lnTo>
                    <a:lnTo>
                      <a:pt x="296" y="254"/>
                    </a:lnTo>
                    <a:lnTo>
                      <a:pt x="254" y="296"/>
                    </a:lnTo>
                    <a:lnTo>
                      <a:pt x="169" y="338"/>
                    </a:lnTo>
                    <a:lnTo>
                      <a:pt x="127" y="381"/>
                    </a:lnTo>
                    <a:lnTo>
                      <a:pt x="84" y="381"/>
                    </a:lnTo>
                    <a:lnTo>
                      <a:pt x="42" y="423"/>
                    </a:lnTo>
                    <a:lnTo>
                      <a:pt x="0" y="465"/>
                    </a:lnTo>
                    <a:lnTo>
                      <a:pt x="0" y="508"/>
                    </a:lnTo>
                    <a:lnTo>
                      <a:pt x="0" y="550"/>
                    </a:lnTo>
                    <a:lnTo>
                      <a:pt x="0" y="592"/>
                    </a:lnTo>
                    <a:lnTo>
                      <a:pt x="42" y="677"/>
                    </a:lnTo>
                    <a:lnTo>
                      <a:pt x="84" y="677"/>
                    </a:lnTo>
                    <a:lnTo>
                      <a:pt x="127" y="719"/>
                    </a:lnTo>
                    <a:lnTo>
                      <a:pt x="169" y="762"/>
                    </a:lnTo>
                    <a:lnTo>
                      <a:pt x="254" y="804"/>
                    </a:lnTo>
                    <a:lnTo>
                      <a:pt x="254" y="846"/>
                    </a:lnTo>
                    <a:lnTo>
                      <a:pt x="296" y="846"/>
                    </a:lnTo>
                    <a:lnTo>
                      <a:pt x="338" y="889"/>
                    </a:lnTo>
                    <a:lnTo>
                      <a:pt x="381" y="931"/>
                    </a:lnTo>
                    <a:lnTo>
                      <a:pt x="381" y="973"/>
                    </a:lnTo>
                    <a:lnTo>
                      <a:pt x="423" y="1016"/>
                    </a:lnTo>
                    <a:lnTo>
                      <a:pt x="423" y="1058"/>
                    </a:lnTo>
                    <a:lnTo>
                      <a:pt x="465" y="1100"/>
                    </a:lnTo>
                    <a:lnTo>
                      <a:pt x="465" y="1143"/>
                    </a:lnTo>
                    <a:lnTo>
                      <a:pt x="508" y="1185"/>
                    </a:lnTo>
                    <a:lnTo>
                      <a:pt x="550" y="1227"/>
                    </a:lnTo>
                    <a:lnTo>
                      <a:pt x="635" y="1270"/>
                    </a:lnTo>
                    <a:lnTo>
                      <a:pt x="635" y="1312"/>
                    </a:lnTo>
                    <a:lnTo>
                      <a:pt x="677" y="1312"/>
                    </a:lnTo>
                    <a:lnTo>
                      <a:pt x="719" y="1354"/>
                    </a:lnTo>
                    <a:lnTo>
                      <a:pt x="719" y="1397"/>
                    </a:lnTo>
                    <a:lnTo>
                      <a:pt x="762" y="1397"/>
                    </a:lnTo>
                    <a:lnTo>
                      <a:pt x="846" y="1397"/>
                    </a:lnTo>
                    <a:lnTo>
                      <a:pt x="889" y="1397"/>
                    </a:lnTo>
                    <a:lnTo>
                      <a:pt x="889" y="1354"/>
                    </a:lnTo>
                    <a:lnTo>
                      <a:pt x="889" y="1270"/>
                    </a:lnTo>
                    <a:lnTo>
                      <a:pt x="931" y="1270"/>
                    </a:lnTo>
                    <a:lnTo>
                      <a:pt x="931" y="1354"/>
                    </a:lnTo>
                    <a:lnTo>
                      <a:pt x="973" y="1397"/>
                    </a:lnTo>
                    <a:lnTo>
                      <a:pt x="1016" y="1397"/>
                    </a:lnTo>
                    <a:lnTo>
                      <a:pt x="1100" y="1397"/>
                    </a:lnTo>
                    <a:lnTo>
                      <a:pt x="1143" y="1354"/>
                    </a:lnTo>
                    <a:lnTo>
                      <a:pt x="1143" y="1312"/>
                    </a:lnTo>
                    <a:lnTo>
                      <a:pt x="1185" y="1312"/>
                    </a:lnTo>
                    <a:lnTo>
                      <a:pt x="1270" y="1312"/>
                    </a:lnTo>
                    <a:lnTo>
                      <a:pt x="1312" y="1312"/>
                    </a:lnTo>
                    <a:lnTo>
                      <a:pt x="1227" y="1270"/>
                    </a:lnTo>
                    <a:lnTo>
                      <a:pt x="1270" y="1227"/>
                    </a:lnTo>
                    <a:lnTo>
                      <a:pt x="1354" y="1185"/>
                    </a:lnTo>
                    <a:lnTo>
                      <a:pt x="1397" y="1185"/>
                    </a:lnTo>
                    <a:lnTo>
                      <a:pt x="1397" y="1227"/>
                    </a:lnTo>
                    <a:lnTo>
                      <a:pt x="1524" y="1143"/>
                    </a:lnTo>
                    <a:lnTo>
                      <a:pt x="1524" y="1100"/>
                    </a:lnTo>
                    <a:lnTo>
                      <a:pt x="1524" y="1058"/>
                    </a:lnTo>
                    <a:lnTo>
                      <a:pt x="1566" y="1100"/>
                    </a:lnTo>
                    <a:lnTo>
                      <a:pt x="1566" y="1143"/>
                    </a:lnTo>
                    <a:lnTo>
                      <a:pt x="1608" y="1143"/>
                    </a:lnTo>
                    <a:lnTo>
                      <a:pt x="1566" y="1185"/>
                    </a:lnTo>
                    <a:lnTo>
                      <a:pt x="1566" y="1270"/>
                    </a:lnTo>
                    <a:lnTo>
                      <a:pt x="1608" y="1270"/>
                    </a:lnTo>
                    <a:lnTo>
                      <a:pt x="1566" y="1312"/>
                    </a:lnTo>
                    <a:lnTo>
                      <a:pt x="1608" y="1354"/>
                    </a:lnTo>
                    <a:lnTo>
                      <a:pt x="1608" y="1397"/>
                    </a:lnTo>
                    <a:lnTo>
                      <a:pt x="1566" y="1354"/>
                    </a:lnTo>
                    <a:lnTo>
                      <a:pt x="1524" y="1397"/>
                    </a:lnTo>
                    <a:lnTo>
                      <a:pt x="1481" y="1397"/>
                    </a:lnTo>
                    <a:lnTo>
                      <a:pt x="1524" y="1439"/>
                    </a:lnTo>
                    <a:lnTo>
                      <a:pt x="1566" y="1481"/>
                    </a:lnTo>
                    <a:lnTo>
                      <a:pt x="1566" y="1524"/>
                    </a:lnTo>
                    <a:lnTo>
                      <a:pt x="1608" y="1524"/>
                    </a:lnTo>
                    <a:lnTo>
                      <a:pt x="1608" y="1608"/>
                    </a:lnTo>
                    <a:lnTo>
                      <a:pt x="1608" y="1651"/>
                    </a:lnTo>
                    <a:lnTo>
                      <a:pt x="1651" y="1651"/>
                    </a:lnTo>
                    <a:lnTo>
                      <a:pt x="1693" y="1693"/>
                    </a:lnTo>
                    <a:lnTo>
                      <a:pt x="1735" y="1693"/>
                    </a:lnTo>
                    <a:lnTo>
                      <a:pt x="1735" y="1651"/>
                    </a:lnTo>
                    <a:lnTo>
                      <a:pt x="1778" y="1651"/>
                    </a:lnTo>
                    <a:lnTo>
                      <a:pt x="1862" y="1693"/>
                    </a:lnTo>
                    <a:lnTo>
                      <a:pt x="1905" y="1693"/>
                    </a:lnTo>
                    <a:lnTo>
                      <a:pt x="1905" y="1735"/>
                    </a:lnTo>
                    <a:lnTo>
                      <a:pt x="1989" y="1778"/>
                    </a:lnTo>
                    <a:lnTo>
                      <a:pt x="1989" y="1820"/>
                    </a:lnTo>
                    <a:lnTo>
                      <a:pt x="2032" y="1820"/>
                    </a:lnTo>
                    <a:lnTo>
                      <a:pt x="2116" y="1905"/>
                    </a:lnTo>
                    <a:lnTo>
                      <a:pt x="2159" y="1905"/>
                    </a:lnTo>
                    <a:lnTo>
                      <a:pt x="2243" y="1905"/>
                    </a:lnTo>
                    <a:lnTo>
                      <a:pt x="2328" y="1862"/>
                    </a:lnTo>
                    <a:lnTo>
                      <a:pt x="2370" y="1862"/>
                    </a:lnTo>
                    <a:lnTo>
                      <a:pt x="2413" y="1820"/>
                    </a:lnTo>
                    <a:lnTo>
                      <a:pt x="2497" y="1820"/>
                    </a:lnTo>
                    <a:lnTo>
                      <a:pt x="2540" y="1820"/>
                    </a:lnTo>
                    <a:lnTo>
                      <a:pt x="2582" y="1862"/>
                    </a:lnTo>
                    <a:lnTo>
                      <a:pt x="2624" y="1820"/>
                    </a:lnTo>
                    <a:lnTo>
                      <a:pt x="2667" y="1651"/>
                    </a:lnTo>
                    <a:lnTo>
                      <a:pt x="2709" y="1651"/>
                    </a:lnTo>
                    <a:lnTo>
                      <a:pt x="2709" y="1608"/>
                    </a:lnTo>
                    <a:lnTo>
                      <a:pt x="2709" y="1566"/>
                    </a:lnTo>
                    <a:lnTo>
                      <a:pt x="2751" y="1566"/>
                    </a:lnTo>
                    <a:lnTo>
                      <a:pt x="2751" y="1481"/>
                    </a:lnTo>
                    <a:lnTo>
                      <a:pt x="2751" y="1439"/>
                    </a:lnTo>
                    <a:lnTo>
                      <a:pt x="2751" y="1397"/>
                    </a:lnTo>
                    <a:lnTo>
                      <a:pt x="2751" y="1354"/>
                    </a:lnTo>
                    <a:lnTo>
                      <a:pt x="2751" y="1312"/>
                    </a:lnTo>
                    <a:lnTo>
                      <a:pt x="2836" y="1354"/>
                    </a:lnTo>
                    <a:lnTo>
                      <a:pt x="2921" y="1312"/>
                    </a:lnTo>
                    <a:lnTo>
                      <a:pt x="2963" y="1312"/>
                    </a:lnTo>
                    <a:lnTo>
                      <a:pt x="3048" y="1227"/>
                    </a:lnTo>
                    <a:lnTo>
                      <a:pt x="3090" y="1270"/>
                    </a:lnTo>
                    <a:lnTo>
                      <a:pt x="3132" y="1312"/>
                    </a:lnTo>
                    <a:lnTo>
                      <a:pt x="3175" y="1354"/>
                    </a:lnTo>
                    <a:lnTo>
                      <a:pt x="3175" y="1397"/>
                    </a:lnTo>
                    <a:lnTo>
                      <a:pt x="3217" y="1397"/>
                    </a:lnTo>
                    <a:lnTo>
                      <a:pt x="3217" y="1439"/>
                    </a:lnTo>
                    <a:lnTo>
                      <a:pt x="3259" y="1439"/>
                    </a:lnTo>
                    <a:lnTo>
                      <a:pt x="3302" y="1439"/>
                    </a:lnTo>
                    <a:lnTo>
                      <a:pt x="3344" y="1481"/>
                    </a:lnTo>
                    <a:lnTo>
                      <a:pt x="3386" y="1524"/>
                    </a:lnTo>
                    <a:lnTo>
                      <a:pt x="3471" y="1524"/>
                    </a:lnTo>
                    <a:lnTo>
                      <a:pt x="3471" y="1566"/>
                    </a:lnTo>
                    <a:lnTo>
                      <a:pt x="3471" y="1651"/>
                    </a:lnTo>
                    <a:lnTo>
                      <a:pt x="3556" y="1693"/>
                    </a:lnTo>
                    <a:lnTo>
                      <a:pt x="3598" y="1693"/>
                    </a:lnTo>
                    <a:lnTo>
                      <a:pt x="3640" y="1735"/>
                    </a:lnTo>
                    <a:lnTo>
                      <a:pt x="3683" y="1735"/>
                    </a:lnTo>
                    <a:lnTo>
                      <a:pt x="3767" y="1778"/>
                    </a:lnTo>
                    <a:lnTo>
                      <a:pt x="3852" y="1820"/>
                    </a:lnTo>
                    <a:lnTo>
                      <a:pt x="3937" y="1820"/>
                    </a:lnTo>
                    <a:lnTo>
                      <a:pt x="3979" y="1862"/>
                    </a:lnTo>
                    <a:lnTo>
                      <a:pt x="4064" y="1862"/>
                    </a:lnTo>
                    <a:lnTo>
                      <a:pt x="4191" y="1820"/>
                    </a:lnTo>
                    <a:lnTo>
                      <a:pt x="4275" y="1778"/>
                    </a:lnTo>
                    <a:lnTo>
                      <a:pt x="4318" y="1778"/>
                    </a:lnTo>
                    <a:lnTo>
                      <a:pt x="4360" y="1778"/>
                    </a:lnTo>
                    <a:lnTo>
                      <a:pt x="4360" y="1820"/>
                    </a:lnTo>
                    <a:lnTo>
                      <a:pt x="4402" y="1820"/>
                    </a:lnTo>
                    <a:lnTo>
                      <a:pt x="4445" y="1820"/>
                    </a:lnTo>
                    <a:lnTo>
                      <a:pt x="4529" y="1862"/>
                    </a:lnTo>
                    <a:lnTo>
                      <a:pt x="4572" y="1989"/>
                    </a:lnTo>
                    <a:lnTo>
                      <a:pt x="4572" y="2074"/>
                    </a:lnTo>
                    <a:lnTo>
                      <a:pt x="4699" y="2074"/>
                    </a:lnTo>
                    <a:lnTo>
                      <a:pt x="4783" y="2032"/>
                    </a:lnTo>
                    <a:lnTo>
                      <a:pt x="4741" y="1989"/>
                    </a:lnTo>
                    <a:lnTo>
                      <a:pt x="4699" y="1989"/>
                    </a:lnTo>
                    <a:lnTo>
                      <a:pt x="4699" y="1947"/>
                    </a:lnTo>
                    <a:lnTo>
                      <a:pt x="4741" y="1820"/>
                    </a:lnTo>
                    <a:lnTo>
                      <a:pt x="4699" y="1693"/>
                    </a:lnTo>
                    <a:lnTo>
                      <a:pt x="4699" y="1651"/>
                    </a:lnTo>
                    <a:lnTo>
                      <a:pt x="4783" y="1608"/>
                    </a:lnTo>
                    <a:lnTo>
                      <a:pt x="4699" y="1481"/>
                    </a:lnTo>
                    <a:lnTo>
                      <a:pt x="4529" y="1016"/>
                    </a:lnTo>
                    <a:lnTo>
                      <a:pt x="4445" y="1016"/>
                    </a:lnTo>
                    <a:lnTo>
                      <a:pt x="4445" y="1270"/>
                    </a:lnTo>
                    <a:lnTo>
                      <a:pt x="4445" y="1312"/>
                    </a:lnTo>
                    <a:lnTo>
                      <a:pt x="4487" y="1481"/>
                    </a:lnTo>
                    <a:lnTo>
                      <a:pt x="4445" y="1481"/>
                    </a:lnTo>
                    <a:lnTo>
                      <a:pt x="4402" y="1481"/>
                    </a:lnTo>
                    <a:lnTo>
                      <a:pt x="4360" y="1481"/>
                    </a:lnTo>
                    <a:lnTo>
                      <a:pt x="4318" y="1439"/>
                    </a:lnTo>
                    <a:lnTo>
                      <a:pt x="4275" y="1439"/>
                    </a:lnTo>
                    <a:lnTo>
                      <a:pt x="4233" y="1439"/>
                    </a:lnTo>
                    <a:lnTo>
                      <a:pt x="4191" y="1439"/>
                    </a:lnTo>
                    <a:lnTo>
                      <a:pt x="4148" y="1481"/>
                    </a:lnTo>
                    <a:lnTo>
                      <a:pt x="4106" y="1481"/>
                    </a:lnTo>
                    <a:lnTo>
                      <a:pt x="4064" y="1524"/>
                    </a:lnTo>
                    <a:lnTo>
                      <a:pt x="4021" y="1524"/>
                    </a:lnTo>
                    <a:lnTo>
                      <a:pt x="3979" y="1524"/>
                    </a:lnTo>
                    <a:lnTo>
                      <a:pt x="3937" y="1524"/>
                    </a:lnTo>
                    <a:lnTo>
                      <a:pt x="3937" y="1481"/>
                    </a:lnTo>
                    <a:lnTo>
                      <a:pt x="3894" y="1481"/>
                    </a:lnTo>
                    <a:lnTo>
                      <a:pt x="3767" y="1397"/>
                    </a:lnTo>
                    <a:lnTo>
                      <a:pt x="3725" y="1397"/>
                    </a:lnTo>
                    <a:lnTo>
                      <a:pt x="3683" y="1270"/>
                    </a:lnTo>
                    <a:lnTo>
                      <a:pt x="3640" y="1270"/>
                    </a:lnTo>
                    <a:lnTo>
                      <a:pt x="3556" y="1143"/>
                    </a:lnTo>
                    <a:lnTo>
                      <a:pt x="3556" y="1100"/>
                    </a:lnTo>
                    <a:lnTo>
                      <a:pt x="3513" y="1058"/>
                    </a:lnTo>
                    <a:lnTo>
                      <a:pt x="3556" y="1016"/>
                    </a:lnTo>
                    <a:lnTo>
                      <a:pt x="3513" y="973"/>
                    </a:lnTo>
                    <a:lnTo>
                      <a:pt x="3513" y="931"/>
                    </a:lnTo>
                    <a:lnTo>
                      <a:pt x="3513" y="889"/>
                    </a:lnTo>
                    <a:lnTo>
                      <a:pt x="3471" y="889"/>
                    </a:lnTo>
                    <a:lnTo>
                      <a:pt x="3429" y="846"/>
                    </a:lnTo>
                    <a:lnTo>
                      <a:pt x="3344" y="762"/>
                    </a:lnTo>
                    <a:lnTo>
                      <a:pt x="3302" y="719"/>
                    </a:lnTo>
                    <a:lnTo>
                      <a:pt x="3259" y="719"/>
                    </a:lnTo>
                    <a:lnTo>
                      <a:pt x="3217" y="719"/>
                    </a:lnTo>
                    <a:lnTo>
                      <a:pt x="3175" y="677"/>
                    </a:lnTo>
                    <a:lnTo>
                      <a:pt x="3132" y="677"/>
                    </a:lnTo>
                    <a:lnTo>
                      <a:pt x="3048" y="635"/>
                    </a:lnTo>
                    <a:lnTo>
                      <a:pt x="3005" y="635"/>
                    </a:lnTo>
                    <a:lnTo>
                      <a:pt x="2963" y="592"/>
                    </a:lnTo>
                    <a:lnTo>
                      <a:pt x="2921" y="635"/>
                    </a:lnTo>
                    <a:lnTo>
                      <a:pt x="2878" y="635"/>
                    </a:lnTo>
                    <a:lnTo>
                      <a:pt x="2878" y="677"/>
                    </a:lnTo>
                    <a:lnTo>
                      <a:pt x="2794" y="550"/>
                    </a:lnTo>
                    <a:lnTo>
                      <a:pt x="2836" y="550"/>
                    </a:lnTo>
                    <a:lnTo>
                      <a:pt x="2794" y="508"/>
                    </a:lnTo>
                    <a:lnTo>
                      <a:pt x="2794" y="465"/>
                    </a:lnTo>
                    <a:lnTo>
                      <a:pt x="2751" y="465"/>
                    </a:lnTo>
                    <a:lnTo>
                      <a:pt x="2709" y="465"/>
                    </a:lnTo>
                    <a:lnTo>
                      <a:pt x="2667" y="465"/>
                    </a:lnTo>
                    <a:lnTo>
                      <a:pt x="2624" y="508"/>
                    </a:lnTo>
                    <a:lnTo>
                      <a:pt x="2582" y="508"/>
                    </a:lnTo>
                    <a:lnTo>
                      <a:pt x="2540" y="508"/>
                    </a:lnTo>
                    <a:lnTo>
                      <a:pt x="2455" y="508"/>
                    </a:lnTo>
                    <a:lnTo>
                      <a:pt x="2413" y="508"/>
                    </a:lnTo>
                    <a:lnTo>
                      <a:pt x="2370" y="508"/>
                    </a:lnTo>
                    <a:lnTo>
                      <a:pt x="2328" y="508"/>
                    </a:lnTo>
                    <a:lnTo>
                      <a:pt x="2328" y="465"/>
                    </a:lnTo>
                    <a:lnTo>
                      <a:pt x="2286" y="423"/>
                    </a:lnTo>
                    <a:lnTo>
                      <a:pt x="2201" y="423"/>
                    </a:lnTo>
                    <a:lnTo>
                      <a:pt x="2116" y="465"/>
                    </a:lnTo>
                    <a:lnTo>
                      <a:pt x="2074" y="465"/>
                    </a:lnTo>
                    <a:lnTo>
                      <a:pt x="2032" y="508"/>
                    </a:lnTo>
                    <a:lnTo>
                      <a:pt x="1905" y="465"/>
                    </a:lnTo>
                    <a:lnTo>
                      <a:pt x="1862" y="465"/>
                    </a:lnTo>
                    <a:lnTo>
                      <a:pt x="1820" y="423"/>
                    </a:lnTo>
                    <a:lnTo>
                      <a:pt x="1778" y="465"/>
                    </a:lnTo>
                    <a:lnTo>
                      <a:pt x="1693" y="508"/>
                    </a:lnTo>
                    <a:lnTo>
                      <a:pt x="1693" y="550"/>
                    </a:lnTo>
                    <a:lnTo>
                      <a:pt x="1651" y="592"/>
                    </a:lnTo>
                    <a:lnTo>
                      <a:pt x="1651" y="635"/>
                    </a:lnTo>
                    <a:lnTo>
                      <a:pt x="1608" y="677"/>
                    </a:lnTo>
                    <a:lnTo>
                      <a:pt x="1566" y="677"/>
                    </a:lnTo>
                    <a:lnTo>
                      <a:pt x="1524" y="719"/>
                    </a:lnTo>
                    <a:lnTo>
                      <a:pt x="1566" y="719"/>
                    </a:lnTo>
                    <a:lnTo>
                      <a:pt x="1608" y="719"/>
                    </a:lnTo>
                    <a:lnTo>
                      <a:pt x="1524" y="762"/>
                    </a:lnTo>
                    <a:lnTo>
                      <a:pt x="1524" y="719"/>
                    </a:lnTo>
                    <a:lnTo>
                      <a:pt x="1439" y="635"/>
                    </a:lnTo>
                    <a:lnTo>
                      <a:pt x="1397" y="592"/>
                    </a:lnTo>
                    <a:lnTo>
                      <a:pt x="1397" y="550"/>
                    </a:lnTo>
                    <a:lnTo>
                      <a:pt x="1354" y="423"/>
                    </a:lnTo>
                    <a:lnTo>
                      <a:pt x="1354" y="381"/>
                    </a:lnTo>
                    <a:lnTo>
                      <a:pt x="1312" y="381"/>
                    </a:lnTo>
                    <a:lnTo>
                      <a:pt x="1270" y="338"/>
                    </a:lnTo>
                    <a:lnTo>
                      <a:pt x="1185" y="296"/>
                    </a:lnTo>
                    <a:lnTo>
                      <a:pt x="1143" y="254"/>
                    </a:lnTo>
                    <a:lnTo>
                      <a:pt x="1100" y="211"/>
                    </a:lnTo>
                    <a:lnTo>
                      <a:pt x="1100" y="169"/>
                    </a:lnTo>
                    <a:lnTo>
                      <a:pt x="1100" y="84"/>
                    </a:lnTo>
                    <a:lnTo>
                      <a:pt x="1143" y="42"/>
                    </a:lnTo>
                    <a:lnTo>
                      <a:pt x="1100" y="42"/>
                    </a:lnTo>
                    <a:lnTo>
                      <a:pt x="1058" y="42"/>
                    </a:lnTo>
                    <a:lnTo>
                      <a:pt x="1016" y="0"/>
                    </a:lnTo>
                    <a:lnTo>
                      <a:pt x="889" y="0"/>
                    </a:lnTo>
                    <a:lnTo>
                      <a:pt x="846" y="0"/>
                    </a:lnTo>
                    <a:lnTo>
                      <a:pt x="804" y="0"/>
                    </a:lnTo>
                    <a:lnTo>
                      <a:pt x="719" y="0"/>
                    </a:lnTo>
                    <a:close/>
                    <a:moveTo>
                      <a:pt x="1481" y="1397"/>
                    </a:moveTo>
                    <a:lnTo>
                      <a:pt x="1524" y="1312"/>
                    </a:lnTo>
                    <a:lnTo>
                      <a:pt x="1481" y="1354"/>
                    </a:lnTo>
                    <a:lnTo>
                      <a:pt x="1481" y="1397"/>
                    </a:lnTo>
                    <a:close/>
                  </a:path>
                </a:pathLst>
              </a:custGeom>
              <a:grpFill/>
              <a:ln w="12700" cap="flat" cmpd="sng">
                <a:solidFill>
                  <a:schemeClr val="tx1"/>
                </a:solidFill>
                <a:prstDash val="solid"/>
                <a:bevel/>
                <a:headEnd/>
                <a:tailEnd/>
              </a:ln>
            </p:spPr>
            <p:txBody>
              <a:bodyPr/>
              <a:lstStyle/>
              <a:p>
                <a:endParaRPr lang="nl-NL"/>
              </a:p>
            </p:txBody>
          </p:sp>
          <p:sp>
            <p:nvSpPr>
              <p:cNvPr id="62" name="Freeform 553">
                <a:extLst>
                  <a:ext uri="{FF2B5EF4-FFF2-40B4-BE49-F238E27FC236}">
                    <a16:creationId xmlns:a16="http://schemas.microsoft.com/office/drawing/2014/main" id="{3BDAA352-255D-053C-EF57-D3989F8E34B8}"/>
                  </a:ext>
                </a:extLst>
              </p:cNvPr>
              <p:cNvSpPr>
                <a:spLocks noEditPoints="1"/>
              </p:cNvSpPr>
              <p:nvPr/>
            </p:nvSpPr>
            <p:spPr bwMode="auto">
              <a:xfrm>
                <a:off x="-119" y="3670"/>
                <a:ext cx="1181" cy="447"/>
              </a:xfrm>
              <a:custGeom>
                <a:avLst/>
                <a:gdLst/>
                <a:ahLst/>
                <a:cxnLst>
                  <a:cxn ang="0">
                    <a:pos x="677" y="85"/>
                  </a:cxn>
                  <a:cxn ang="0">
                    <a:pos x="465" y="127"/>
                  </a:cxn>
                  <a:cxn ang="0">
                    <a:pos x="296" y="169"/>
                  </a:cxn>
                  <a:cxn ang="0">
                    <a:pos x="84" y="254"/>
                  </a:cxn>
                  <a:cxn ang="0">
                    <a:pos x="127" y="508"/>
                  </a:cxn>
                  <a:cxn ang="0">
                    <a:pos x="42" y="847"/>
                  </a:cxn>
                  <a:cxn ang="0">
                    <a:pos x="84" y="1016"/>
                  </a:cxn>
                  <a:cxn ang="0">
                    <a:pos x="169" y="1185"/>
                  </a:cxn>
                  <a:cxn ang="0">
                    <a:pos x="381" y="1355"/>
                  </a:cxn>
                  <a:cxn ang="0">
                    <a:pos x="508" y="1482"/>
                  </a:cxn>
                  <a:cxn ang="0">
                    <a:pos x="973" y="1058"/>
                  </a:cxn>
                  <a:cxn ang="0">
                    <a:pos x="1143" y="1058"/>
                  </a:cxn>
                  <a:cxn ang="0">
                    <a:pos x="1312" y="1058"/>
                  </a:cxn>
                  <a:cxn ang="0">
                    <a:pos x="1524" y="1058"/>
                  </a:cxn>
                  <a:cxn ang="0">
                    <a:pos x="1820" y="1143"/>
                  </a:cxn>
                  <a:cxn ang="0">
                    <a:pos x="2074" y="1270"/>
                  </a:cxn>
                  <a:cxn ang="0">
                    <a:pos x="2370" y="1355"/>
                  </a:cxn>
                  <a:cxn ang="0">
                    <a:pos x="2497" y="1439"/>
                  </a:cxn>
                  <a:cxn ang="0">
                    <a:pos x="2497" y="1820"/>
                  </a:cxn>
                  <a:cxn ang="0">
                    <a:pos x="2667" y="1820"/>
                  </a:cxn>
                  <a:cxn ang="0">
                    <a:pos x="2878" y="1820"/>
                  </a:cxn>
                  <a:cxn ang="0">
                    <a:pos x="3005" y="1820"/>
                  </a:cxn>
                  <a:cxn ang="0">
                    <a:pos x="3175" y="1863"/>
                  </a:cxn>
                  <a:cxn ang="0">
                    <a:pos x="3344" y="1820"/>
                  </a:cxn>
                  <a:cxn ang="0">
                    <a:pos x="3471" y="1693"/>
                  </a:cxn>
                  <a:cxn ang="0">
                    <a:pos x="3767" y="1524"/>
                  </a:cxn>
                  <a:cxn ang="0">
                    <a:pos x="3894" y="1566"/>
                  </a:cxn>
                  <a:cxn ang="0">
                    <a:pos x="4191" y="1397"/>
                  </a:cxn>
                  <a:cxn ang="0">
                    <a:pos x="5037" y="593"/>
                  </a:cxn>
                  <a:cxn ang="0">
                    <a:pos x="4953" y="466"/>
                  </a:cxn>
                  <a:cxn ang="0">
                    <a:pos x="4826" y="381"/>
                  </a:cxn>
                  <a:cxn ang="0">
                    <a:pos x="4741" y="381"/>
                  </a:cxn>
                  <a:cxn ang="0">
                    <a:pos x="4783" y="550"/>
                  </a:cxn>
                  <a:cxn ang="0">
                    <a:pos x="4699" y="635"/>
                  </a:cxn>
                  <a:cxn ang="0">
                    <a:pos x="4656" y="677"/>
                  </a:cxn>
                  <a:cxn ang="0">
                    <a:pos x="4572" y="635"/>
                  </a:cxn>
                  <a:cxn ang="0">
                    <a:pos x="4487" y="635"/>
                  </a:cxn>
                  <a:cxn ang="0">
                    <a:pos x="4445" y="720"/>
                  </a:cxn>
                  <a:cxn ang="0">
                    <a:pos x="4148" y="423"/>
                  </a:cxn>
                  <a:cxn ang="0">
                    <a:pos x="3894" y="296"/>
                  </a:cxn>
                  <a:cxn ang="0">
                    <a:pos x="3810" y="127"/>
                  </a:cxn>
                  <a:cxn ang="0">
                    <a:pos x="3556" y="42"/>
                  </a:cxn>
                  <a:cxn ang="0">
                    <a:pos x="3471" y="296"/>
                  </a:cxn>
                  <a:cxn ang="0">
                    <a:pos x="3217" y="466"/>
                  </a:cxn>
                  <a:cxn ang="0">
                    <a:pos x="2963" y="593"/>
                  </a:cxn>
                  <a:cxn ang="0">
                    <a:pos x="2751" y="677"/>
                  </a:cxn>
                  <a:cxn ang="0">
                    <a:pos x="2624" y="677"/>
                  </a:cxn>
                  <a:cxn ang="0">
                    <a:pos x="2497" y="593"/>
                  </a:cxn>
                  <a:cxn ang="0">
                    <a:pos x="2286" y="593"/>
                  </a:cxn>
                  <a:cxn ang="0">
                    <a:pos x="2116" y="550"/>
                  </a:cxn>
                  <a:cxn ang="0">
                    <a:pos x="1947" y="423"/>
                  </a:cxn>
                  <a:cxn ang="0">
                    <a:pos x="1651" y="296"/>
                  </a:cxn>
                  <a:cxn ang="0">
                    <a:pos x="1354" y="169"/>
                  </a:cxn>
                  <a:cxn ang="0">
                    <a:pos x="1143" y="42"/>
                  </a:cxn>
                  <a:cxn ang="0">
                    <a:pos x="846" y="0"/>
                  </a:cxn>
                  <a:cxn ang="0">
                    <a:pos x="4656" y="550"/>
                  </a:cxn>
                  <a:cxn ang="0">
                    <a:pos x="4699" y="508"/>
                  </a:cxn>
                  <a:cxn ang="0">
                    <a:pos x="4741" y="466"/>
                  </a:cxn>
                  <a:cxn ang="0">
                    <a:pos x="4826" y="423"/>
                  </a:cxn>
                  <a:cxn ang="0">
                    <a:pos x="4529" y="720"/>
                  </a:cxn>
                </a:cxnLst>
                <a:rect l="0" t="0" r="r" b="b"/>
                <a:pathLst>
                  <a:path w="5037" h="1905">
                    <a:moveTo>
                      <a:pt x="846" y="0"/>
                    </a:moveTo>
                    <a:lnTo>
                      <a:pt x="846" y="42"/>
                    </a:lnTo>
                    <a:lnTo>
                      <a:pt x="804" y="42"/>
                    </a:lnTo>
                    <a:lnTo>
                      <a:pt x="762" y="42"/>
                    </a:lnTo>
                    <a:lnTo>
                      <a:pt x="677" y="85"/>
                    </a:lnTo>
                    <a:lnTo>
                      <a:pt x="635" y="85"/>
                    </a:lnTo>
                    <a:lnTo>
                      <a:pt x="592" y="85"/>
                    </a:lnTo>
                    <a:lnTo>
                      <a:pt x="550" y="127"/>
                    </a:lnTo>
                    <a:lnTo>
                      <a:pt x="508" y="127"/>
                    </a:lnTo>
                    <a:lnTo>
                      <a:pt x="465" y="127"/>
                    </a:lnTo>
                    <a:lnTo>
                      <a:pt x="423" y="127"/>
                    </a:lnTo>
                    <a:lnTo>
                      <a:pt x="381" y="127"/>
                    </a:lnTo>
                    <a:lnTo>
                      <a:pt x="338" y="127"/>
                    </a:lnTo>
                    <a:lnTo>
                      <a:pt x="338" y="169"/>
                    </a:lnTo>
                    <a:lnTo>
                      <a:pt x="296" y="169"/>
                    </a:lnTo>
                    <a:lnTo>
                      <a:pt x="254" y="212"/>
                    </a:lnTo>
                    <a:lnTo>
                      <a:pt x="211" y="212"/>
                    </a:lnTo>
                    <a:lnTo>
                      <a:pt x="169" y="212"/>
                    </a:lnTo>
                    <a:lnTo>
                      <a:pt x="127" y="254"/>
                    </a:lnTo>
                    <a:lnTo>
                      <a:pt x="84" y="254"/>
                    </a:lnTo>
                    <a:lnTo>
                      <a:pt x="84" y="296"/>
                    </a:lnTo>
                    <a:lnTo>
                      <a:pt x="127" y="339"/>
                    </a:lnTo>
                    <a:lnTo>
                      <a:pt x="127" y="423"/>
                    </a:lnTo>
                    <a:lnTo>
                      <a:pt x="127" y="466"/>
                    </a:lnTo>
                    <a:lnTo>
                      <a:pt x="127" y="508"/>
                    </a:lnTo>
                    <a:lnTo>
                      <a:pt x="169" y="550"/>
                    </a:lnTo>
                    <a:lnTo>
                      <a:pt x="169" y="635"/>
                    </a:lnTo>
                    <a:lnTo>
                      <a:pt x="42" y="762"/>
                    </a:lnTo>
                    <a:lnTo>
                      <a:pt x="0" y="804"/>
                    </a:lnTo>
                    <a:lnTo>
                      <a:pt x="42" y="847"/>
                    </a:lnTo>
                    <a:lnTo>
                      <a:pt x="127" y="931"/>
                    </a:lnTo>
                    <a:lnTo>
                      <a:pt x="84" y="931"/>
                    </a:lnTo>
                    <a:lnTo>
                      <a:pt x="42" y="931"/>
                    </a:lnTo>
                    <a:lnTo>
                      <a:pt x="42" y="974"/>
                    </a:lnTo>
                    <a:lnTo>
                      <a:pt x="84" y="1016"/>
                    </a:lnTo>
                    <a:lnTo>
                      <a:pt x="127" y="1058"/>
                    </a:lnTo>
                    <a:lnTo>
                      <a:pt x="127" y="1101"/>
                    </a:lnTo>
                    <a:lnTo>
                      <a:pt x="84" y="1143"/>
                    </a:lnTo>
                    <a:lnTo>
                      <a:pt x="127" y="1185"/>
                    </a:lnTo>
                    <a:lnTo>
                      <a:pt x="169" y="1185"/>
                    </a:lnTo>
                    <a:lnTo>
                      <a:pt x="211" y="1270"/>
                    </a:lnTo>
                    <a:lnTo>
                      <a:pt x="254" y="1270"/>
                    </a:lnTo>
                    <a:lnTo>
                      <a:pt x="296" y="1355"/>
                    </a:lnTo>
                    <a:lnTo>
                      <a:pt x="338" y="1312"/>
                    </a:lnTo>
                    <a:lnTo>
                      <a:pt x="381" y="1355"/>
                    </a:lnTo>
                    <a:lnTo>
                      <a:pt x="381" y="1397"/>
                    </a:lnTo>
                    <a:lnTo>
                      <a:pt x="381" y="1439"/>
                    </a:lnTo>
                    <a:lnTo>
                      <a:pt x="423" y="1439"/>
                    </a:lnTo>
                    <a:lnTo>
                      <a:pt x="465" y="1482"/>
                    </a:lnTo>
                    <a:lnTo>
                      <a:pt x="508" y="1482"/>
                    </a:lnTo>
                    <a:lnTo>
                      <a:pt x="635" y="1482"/>
                    </a:lnTo>
                    <a:lnTo>
                      <a:pt x="973" y="1439"/>
                    </a:lnTo>
                    <a:lnTo>
                      <a:pt x="931" y="1143"/>
                    </a:lnTo>
                    <a:lnTo>
                      <a:pt x="889" y="1101"/>
                    </a:lnTo>
                    <a:lnTo>
                      <a:pt x="973" y="1058"/>
                    </a:lnTo>
                    <a:lnTo>
                      <a:pt x="1016" y="1101"/>
                    </a:lnTo>
                    <a:lnTo>
                      <a:pt x="1058" y="1101"/>
                    </a:lnTo>
                    <a:lnTo>
                      <a:pt x="1058" y="1058"/>
                    </a:lnTo>
                    <a:lnTo>
                      <a:pt x="1100" y="1058"/>
                    </a:lnTo>
                    <a:lnTo>
                      <a:pt x="1143" y="1058"/>
                    </a:lnTo>
                    <a:lnTo>
                      <a:pt x="1143" y="1016"/>
                    </a:lnTo>
                    <a:lnTo>
                      <a:pt x="1185" y="1016"/>
                    </a:lnTo>
                    <a:lnTo>
                      <a:pt x="1227" y="1058"/>
                    </a:lnTo>
                    <a:lnTo>
                      <a:pt x="1270" y="1101"/>
                    </a:lnTo>
                    <a:lnTo>
                      <a:pt x="1312" y="1058"/>
                    </a:lnTo>
                    <a:lnTo>
                      <a:pt x="1270" y="974"/>
                    </a:lnTo>
                    <a:lnTo>
                      <a:pt x="1354" y="931"/>
                    </a:lnTo>
                    <a:lnTo>
                      <a:pt x="1397" y="974"/>
                    </a:lnTo>
                    <a:lnTo>
                      <a:pt x="1481" y="1016"/>
                    </a:lnTo>
                    <a:lnTo>
                      <a:pt x="1524" y="1058"/>
                    </a:lnTo>
                    <a:lnTo>
                      <a:pt x="1608" y="1101"/>
                    </a:lnTo>
                    <a:lnTo>
                      <a:pt x="1651" y="1101"/>
                    </a:lnTo>
                    <a:lnTo>
                      <a:pt x="1651" y="1058"/>
                    </a:lnTo>
                    <a:lnTo>
                      <a:pt x="1735" y="1058"/>
                    </a:lnTo>
                    <a:lnTo>
                      <a:pt x="1820" y="1143"/>
                    </a:lnTo>
                    <a:lnTo>
                      <a:pt x="1862" y="1143"/>
                    </a:lnTo>
                    <a:lnTo>
                      <a:pt x="1905" y="1185"/>
                    </a:lnTo>
                    <a:lnTo>
                      <a:pt x="1905" y="1228"/>
                    </a:lnTo>
                    <a:lnTo>
                      <a:pt x="2032" y="1228"/>
                    </a:lnTo>
                    <a:lnTo>
                      <a:pt x="2074" y="1270"/>
                    </a:lnTo>
                    <a:lnTo>
                      <a:pt x="2074" y="1228"/>
                    </a:lnTo>
                    <a:lnTo>
                      <a:pt x="2243" y="1270"/>
                    </a:lnTo>
                    <a:lnTo>
                      <a:pt x="2286" y="1270"/>
                    </a:lnTo>
                    <a:lnTo>
                      <a:pt x="2328" y="1355"/>
                    </a:lnTo>
                    <a:lnTo>
                      <a:pt x="2370" y="1355"/>
                    </a:lnTo>
                    <a:lnTo>
                      <a:pt x="2370" y="1312"/>
                    </a:lnTo>
                    <a:lnTo>
                      <a:pt x="2413" y="1355"/>
                    </a:lnTo>
                    <a:lnTo>
                      <a:pt x="2455" y="1397"/>
                    </a:lnTo>
                    <a:lnTo>
                      <a:pt x="2497" y="1397"/>
                    </a:lnTo>
                    <a:lnTo>
                      <a:pt x="2497" y="1439"/>
                    </a:lnTo>
                    <a:lnTo>
                      <a:pt x="2455" y="1482"/>
                    </a:lnTo>
                    <a:lnTo>
                      <a:pt x="2455" y="1566"/>
                    </a:lnTo>
                    <a:lnTo>
                      <a:pt x="2455" y="1693"/>
                    </a:lnTo>
                    <a:lnTo>
                      <a:pt x="2455" y="1778"/>
                    </a:lnTo>
                    <a:lnTo>
                      <a:pt x="2497" y="1820"/>
                    </a:lnTo>
                    <a:lnTo>
                      <a:pt x="2540" y="1820"/>
                    </a:lnTo>
                    <a:lnTo>
                      <a:pt x="2540" y="1778"/>
                    </a:lnTo>
                    <a:lnTo>
                      <a:pt x="2582" y="1820"/>
                    </a:lnTo>
                    <a:lnTo>
                      <a:pt x="2624" y="1820"/>
                    </a:lnTo>
                    <a:lnTo>
                      <a:pt x="2667" y="1820"/>
                    </a:lnTo>
                    <a:lnTo>
                      <a:pt x="2709" y="1820"/>
                    </a:lnTo>
                    <a:lnTo>
                      <a:pt x="2751" y="1820"/>
                    </a:lnTo>
                    <a:lnTo>
                      <a:pt x="2794" y="1820"/>
                    </a:lnTo>
                    <a:lnTo>
                      <a:pt x="2836" y="1820"/>
                    </a:lnTo>
                    <a:lnTo>
                      <a:pt x="2878" y="1820"/>
                    </a:lnTo>
                    <a:lnTo>
                      <a:pt x="2963" y="1736"/>
                    </a:lnTo>
                    <a:lnTo>
                      <a:pt x="3005" y="1736"/>
                    </a:lnTo>
                    <a:lnTo>
                      <a:pt x="3048" y="1736"/>
                    </a:lnTo>
                    <a:lnTo>
                      <a:pt x="3048" y="1820"/>
                    </a:lnTo>
                    <a:lnTo>
                      <a:pt x="3005" y="1820"/>
                    </a:lnTo>
                    <a:lnTo>
                      <a:pt x="2963" y="1863"/>
                    </a:lnTo>
                    <a:lnTo>
                      <a:pt x="3005" y="1905"/>
                    </a:lnTo>
                    <a:lnTo>
                      <a:pt x="3048" y="1905"/>
                    </a:lnTo>
                    <a:lnTo>
                      <a:pt x="3090" y="1905"/>
                    </a:lnTo>
                    <a:lnTo>
                      <a:pt x="3175" y="1863"/>
                    </a:lnTo>
                    <a:lnTo>
                      <a:pt x="3217" y="1863"/>
                    </a:lnTo>
                    <a:lnTo>
                      <a:pt x="3175" y="1778"/>
                    </a:lnTo>
                    <a:lnTo>
                      <a:pt x="3259" y="1736"/>
                    </a:lnTo>
                    <a:lnTo>
                      <a:pt x="3302" y="1820"/>
                    </a:lnTo>
                    <a:lnTo>
                      <a:pt x="3344" y="1820"/>
                    </a:lnTo>
                    <a:lnTo>
                      <a:pt x="3344" y="1778"/>
                    </a:lnTo>
                    <a:lnTo>
                      <a:pt x="3386" y="1778"/>
                    </a:lnTo>
                    <a:lnTo>
                      <a:pt x="3429" y="1778"/>
                    </a:lnTo>
                    <a:lnTo>
                      <a:pt x="3471" y="1736"/>
                    </a:lnTo>
                    <a:lnTo>
                      <a:pt x="3471" y="1693"/>
                    </a:lnTo>
                    <a:lnTo>
                      <a:pt x="3556" y="1693"/>
                    </a:lnTo>
                    <a:lnTo>
                      <a:pt x="3598" y="1609"/>
                    </a:lnTo>
                    <a:lnTo>
                      <a:pt x="3640" y="1609"/>
                    </a:lnTo>
                    <a:lnTo>
                      <a:pt x="3683" y="1566"/>
                    </a:lnTo>
                    <a:lnTo>
                      <a:pt x="3767" y="1524"/>
                    </a:lnTo>
                    <a:lnTo>
                      <a:pt x="3810" y="1524"/>
                    </a:lnTo>
                    <a:lnTo>
                      <a:pt x="3810" y="1566"/>
                    </a:lnTo>
                    <a:lnTo>
                      <a:pt x="3852" y="1566"/>
                    </a:lnTo>
                    <a:lnTo>
                      <a:pt x="3894" y="1524"/>
                    </a:lnTo>
                    <a:lnTo>
                      <a:pt x="3894" y="1566"/>
                    </a:lnTo>
                    <a:lnTo>
                      <a:pt x="3979" y="1566"/>
                    </a:lnTo>
                    <a:lnTo>
                      <a:pt x="4021" y="1524"/>
                    </a:lnTo>
                    <a:lnTo>
                      <a:pt x="4064" y="1524"/>
                    </a:lnTo>
                    <a:lnTo>
                      <a:pt x="4106" y="1482"/>
                    </a:lnTo>
                    <a:lnTo>
                      <a:pt x="4191" y="1397"/>
                    </a:lnTo>
                    <a:lnTo>
                      <a:pt x="4275" y="1355"/>
                    </a:lnTo>
                    <a:lnTo>
                      <a:pt x="4360" y="1312"/>
                    </a:lnTo>
                    <a:lnTo>
                      <a:pt x="4572" y="1143"/>
                    </a:lnTo>
                    <a:lnTo>
                      <a:pt x="4614" y="1101"/>
                    </a:lnTo>
                    <a:lnTo>
                      <a:pt x="5037" y="593"/>
                    </a:lnTo>
                    <a:lnTo>
                      <a:pt x="4995" y="593"/>
                    </a:lnTo>
                    <a:lnTo>
                      <a:pt x="4995" y="550"/>
                    </a:lnTo>
                    <a:lnTo>
                      <a:pt x="4953" y="550"/>
                    </a:lnTo>
                    <a:lnTo>
                      <a:pt x="4953" y="508"/>
                    </a:lnTo>
                    <a:lnTo>
                      <a:pt x="4953" y="466"/>
                    </a:lnTo>
                    <a:lnTo>
                      <a:pt x="4910" y="508"/>
                    </a:lnTo>
                    <a:lnTo>
                      <a:pt x="4910" y="466"/>
                    </a:lnTo>
                    <a:lnTo>
                      <a:pt x="4910" y="423"/>
                    </a:lnTo>
                    <a:lnTo>
                      <a:pt x="4868" y="381"/>
                    </a:lnTo>
                    <a:lnTo>
                      <a:pt x="4826" y="381"/>
                    </a:lnTo>
                    <a:lnTo>
                      <a:pt x="4783" y="381"/>
                    </a:lnTo>
                    <a:lnTo>
                      <a:pt x="4826" y="339"/>
                    </a:lnTo>
                    <a:lnTo>
                      <a:pt x="4783" y="339"/>
                    </a:lnTo>
                    <a:lnTo>
                      <a:pt x="4741" y="339"/>
                    </a:lnTo>
                    <a:lnTo>
                      <a:pt x="4741" y="381"/>
                    </a:lnTo>
                    <a:lnTo>
                      <a:pt x="4699" y="423"/>
                    </a:lnTo>
                    <a:lnTo>
                      <a:pt x="4699" y="466"/>
                    </a:lnTo>
                    <a:lnTo>
                      <a:pt x="4741" y="508"/>
                    </a:lnTo>
                    <a:lnTo>
                      <a:pt x="4783" y="508"/>
                    </a:lnTo>
                    <a:lnTo>
                      <a:pt x="4783" y="550"/>
                    </a:lnTo>
                    <a:lnTo>
                      <a:pt x="4783" y="593"/>
                    </a:lnTo>
                    <a:lnTo>
                      <a:pt x="4741" y="550"/>
                    </a:lnTo>
                    <a:lnTo>
                      <a:pt x="4699" y="593"/>
                    </a:lnTo>
                    <a:lnTo>
                      <a:pt x="4741" y="593"/>
                    </a:lnTo>
                    <a:lnTo>
                      <a:pt x="4699" y="635"/>
                    </a:lnTo>
                    <a:lnTo>
                      <a:pt x="4741" y="635"/>
                    </a:lnTo>
                    <a:lnTo>
                      <a:pt x="4741" y="677"/>
                    </a:lnTo>
                    <a:lnTo>
                      <a:pt x="4699" y="635"/>
                    </a:lnTo>
                    <a:lnTo>
                      <a:pt x="4614" y="635"/>
                    </a:lnTo>
                    <a:lnTo>
                      <a:pt x="4656" y="677"/>
                    </a:lnTo>
                    <a:lnTo>
                      <a:pt x="4656" y="720"/>
                    </a:lnTo>
                    <a:lnTo>
                      <a:pt x="4614" y="635"/>
                    </a:lnTo>
                    <a:lnTo>
                      <a:pt x="4572" y="593"/>
                    </a:lnTo>
                    <a:lnTo>
                      <a:pt x="4529" y="593"/>
                    </a:lnTo>
                    <a:lnTo>
                      <a:pt x="4572" y="635"/>
                    </a:lnTo>
                    <a:lnTo>
                      <a:pt x="4614" y="677"/>
                    </a:lnTo>
                    <a:lnTo>
                      <a:pt x="4572" y="677"/>
                    </a:lnTo>
                    <a:lnTo>
                      <a:pt x="4572" y="635"/>
                    </a:lnTo>
                    <a:lnTo>
                      <a:pt x="4529" y="635"/>
                    </a:lnTo>
                    <a:lnTo>
                      <a:pt x="4487" y="635"/>
                    </a:lnTo>
                    <a:lnTo>
                      <a:pt x="4445" y="635"/>
                    </a:lnTo>
                    <a:lnTo>
                      <a:pt x="4445" y="677"/>
                    </a:lnTo>
                    <a:lnTo>
                      <a:pt x="4487" y="677"/>
                    </a:lnTo>
                    <a:lnTo>
                      <a:pt x="4487" y="720"/>
                    </a:lnTo>
                    <a:lnTo>
                      <a:pt x="4445" y="720"/>
                    </a:lnTo>
                    <a:lnTo>
                      <a:pt x="4360" y="550"/>
                    </a:lnTo>
                    <a:lnTo>
                      <a:pt x="4318" y="550"/>
                    </a:lnTo>
                    <a:lnTo>
                      <a:pt x="4191" y="466"/>
                    </a:lnTo>
                    <a:lnTo>
                      <a:pt x="4191" y="423"/>
                    </a:lnTo>
                    <a:lnTo>
                      <a:pt x="4148" y="423"/>
                    </a:lnTo>
                    <a:lnTo>
                      <a:pt x="4148" y="466"/>
                    </a:lnTo>
                    <a:lnTo>
                      <a:pt x="3979" y="423"/>
                    </a:lnTo>
                    <a:lnTo>
                      <a:pt x="3937" y="381"/>
                    </a:lnTo>
                    <a:lnTo>
                      <a:pt x="3937" y="339"/>
                    </a:lnTo>
                    <a:lnTo>
                      <a:pt x="3894" y="296"/>
                    </a:lnTo>
                    <a:lnTo>
                      <a:pt x="3894" y="254"/>
                    </a:lnTo>
                    <a:lnTo>
                      <a:pt x="3852" y="212"/>
                    </a:lnTo>
                    <a:lnTo>
                      <a:pt x="3894" y="169"/>
                    </a:lnTo>
                    <a:lnTo>
                      <a:pt x="3852" y="169"/>
                    </a:lnTo>
                    <a:lnTo>
                      <a:pt x="3810" y="127"/>
                    </a:lnTo>
                    <a:lnTo>
                      <a:pt x="3810" y="85"/>
                    </a:lnTo>
                    <a:lnTo>
                      <a:pt x="3725" y="85"/>
                    </a:lnTo>
                    <a:lnTo>
                      <a:pt x="3683" y="85"/>
                    </a:lnTo>
                    <a:lnTo>
                      <a:pt x="3640" y="42"/>
                    </a:lnTo>
                    <a:lnTo>
                      <a:pt x="3556" y="42"/>
                    </a:lnTo>
                    <a:lnTo>
                      <a:pt x="3513" y="127"/>
                    </a:lnTo>
                    <a:lnTo>
                      <a:pt x="3513" y="169"/>
                    </a:lnTo>
                    <a:lnTo>
                      <a:pt x="3471" y="169"/>
                    </a:lnTo>
                    <a:lnTo>
                      <a:pt x="3471" y="254"/>
                    </a:lnTo>
                    <a:lnTo>
                      <a:pt x="3471" y="296"/>
                    </a:lnTo>
                    <a:lnTo>
                      <a:pt x="3471" y="339"/>
                    </a:lnTo>
                    <a:lnTo>
                      <a:pt x="3471" y="381"/>
                    </a:lnTo>
                    <a:lnTo>
                      <a:pt x="3429" y="423"/>
                    </a:lnTo>
                    <a:lnTo>
                      <a:pt x="3344" y="423"/>
                    </a:lnTo>
                    <a:lnTo>
                      <a:pt x="3217" y="466"/>
                    </a:lnTo>
                    <a:lnTo>
                      <a:pt x="3132" y="508"/>
                    </a:lnTo>
                    <a:lnTo>
                      <a:pt x="3090" y="550"/>
                    </a:lnTo>
                    <a:lnTo>
                      <a:pt x="3048" y="550"/>
                    </a:lnTo>
                    <a:lnTo>
                      <a:pt x="3048" y="593"/>
                    </a:lnTo>
                    <a:lnTo>
                      <a:pt x="2963" y="593"/>
                    </a:lnTo>
                    <a:lnTo>
                      <a:pt x="2963" y="635"/>
                    </a:lnTo>
                    <a:lnTo>
                      <a:pt x="2921" y="677"/>
                    </a:lnTo>
                    <a:lnTo>
                      <a:pt x="2878" y="677"/>
                    </a:lnTo>
                    <a:lnTo>
                      <a:pt x="2794" y="677"/>
                    </a:lnTo>
                    <a:lnTo>
                      <a:pt x="2751" y="677"/>
                    </a:lnTo>
                    <a:lnTo>
                      <a:pt x="2709" y="635"/>
                    </a:lnTo>
                    <a:lnTo>
                      <a:pt x="2667" y="635"/>
                    </a:lnTo>
                    <a:lnTo>
                      <a:pt x="2667" y="677"/>
                    </a:lnTo>
                    <a:lnTo>
                      <a:pt x="2624" y="635"/>
                    </a:lnTo>
                    <a:lnTo>
                      <a:pt x="2624" y="677"/>
                    </a:lnTo>
                    <a:lnTo>
                      <a:pt x="2624" y="720"/>
                    </a:lnTo>
                    <a:lnTo>
                      <a:pt x="2582" y="635"/>
                    </a:lnTo>
                    <a:lnTo>
                      <a:pt x="2582" y="593"/>
                    </a:lnTo>
                    <a:lnTo>
                      <a:pt x="2540" y="593"/>
                    </a:lnTo>
                    <a:lnTo>
                      <a:pt x="2497" y="593"/>
                    </a:lnTo>
                    <a:lnTo>
                      <a:pt x="2497" y="550"/>
                    </a:lnTo>
                    <a:lnTo>
                      <a:pt x="2370" y="550"/>
                    </a:lnTo>
                    <a:lnTo>
                      <a:pt x="2370" y="677"/>
                    </a:lnTo>
                    <a:lnTo>
                      <a:pt x="2286" y="635"/>
                    </a:lnTo>
                    <a:lnTo>
                      <a:pt x="2286" y="593"/>
                    </a:lnTo>
                    <a:lnTo>
                      <a:pt x="2328" y="550"/>
                    </a:lnTo>
                    <a:lnTo>
                      <a:pt x="2286" y="550"/>
                    </a:lnTo>
                    <a:lnTo>
                      <a:pt x="2201" y="550"/>
                    </a:lnTo>
                    <a:lnTo>
                      <a:pt x="2159" y="550"/>
                    </a:lnTo>
                    <a:lnTo>
                      <a:pt x="2116" y="550"/>
                    </a:lnTo>
                    <a:lnTo>
                      <a:pt x="2074" y="550"/>
                    </a:lnTo>
                    <a:lnTo>
                      <a:pt x="2074" y="508"/>
                    </a:lnTo>
                    <a:lnTo>
                      <a:pt x="2032" y="466"/>
                    </a:lnTo>
                    <a:lnTo>
                      <a:pt x="1989" y="423"/>
                    </a:lnTo>
                    <a:lnTo>
                      <a:pt x="1947" y="423"/>
                    </a:lnTo>
                    <a:lnTo>
                      <a:pt x="1947" y="381"/>
                    </a:lnTo>
                    <a:lnTo>
                      <a:pt x="1905" y="339"/>
                    </a:lnTo>
                    <a:lnTo>
                      <a:pt x="1778" y="339"/>
                    </a:lnTo>
                    <a:lnTo>
                      <a:pt x="1693" y="296"/>
                    </a:lnTo>
                    <a:lnTo>
                      <a:pt x="1651" y="296"/>
                    </a:lnTo>
                    <a:lnTo>
                      <a:pt x="1524" y="254"/>
                    </a:lnTo>
                    <a:lnTo>
                      <a:pt x="1481" y="254"/>
                    </a:lnTo>
                    <a:lnTo>
                      <a:pt x="1481" y="212"/>
                    </a:lnTo>
                    <a:lnTo>
                      <a:pt x="1439" y="212"/>
                    </a:lnTo>
                    <a:lnTo>
                      <a:pt x="1354" y="169"/>
                    </a:lnTo>
                    <a:lnTo>
                      <a:pt x="1312" y="169"/>
                    </a:lnTo>
                    <a:lnTo>
                      <a:pt x="1270" y="127"/>
                    </a:lnTo>
                    <a:lnTo>
                      <a:pt x="1227" y="85"/>
                    </a:lnTo>
                    <a:lnTo>
                      <a:pt x="1185" y="85"/>
                    </a:lnTo>
                    <a:lnTo>
                      <a:pt x="1143" y="42"/>
                    </a:lnTo>
                    <a:lnTo>
                      <a:pt x="1100" y="42"/>
                    </a:lnTo>
                    <a:lnTo>
                      <a:pt x="1100" y="0"/>
                    </a:lnTo>
                    <a:lnTo>
                      <a:pt x="973" y="0"/>
                    </a:lnTo>
                    <a:lnTo>
                      <a:pt x="931" y="0"/>
                    </a:lnTo>
                    <a:lnTo>
                      <a:pt x="846" y="0"/>
                    </a:lnTo>
                    <a:close/>
                    <a:moveTo>
                      <a:pt x="4699" y="593"/>
                    </a:moveTo>
                    <a:lnTo>
                      <a:pt x="4656" y="550"/>
                    </a:lnTo>
                    <a:lnTo>
                      <a:pt x="4614" y="593"/>
                    </a:lnTo>
                    <a:lnTo>
                      <a:pt x="4699" y="593"/>
                    </a:lnTo>
                    <a:close/>
                    <a:moveTo>
                      <a:pt x="4656" y="550"/>
                    </a:moveTo>
                    <a:lnTo>
                      <a:pt x="4699" y="550"/>
                    </a:lnTo>
                    <a:lnTo>
                      <a:pt x="4741" y="550"/>
                    </a:lnTo>
                    <a:lnTo>
                      <a:pt x="4783" y="550"/>
                    </a:lnTo>
                    <a:lnTo>
                      <a:pt x="4741" y="508"/>
                    </a:lnTo>
                    <a:lnTo>
                      <a:pt x="4699" y="508"/>
                    </a:lnTo>
                    <a:lnTo>
                      <a:pt x="4656" y="508"/>
                    </a:lnTo>
                    <a:lnTo>
                      <a:pt x="4656" y="550"/>
                    </a:lnTo>
                    <a:close/>
                    <a:moveTo>
                      <a:pt x="4741" y="423"/>
                    </a:moveTo>
                    <a:lnTo>
                      <a:pt x="4783" y="466"/>
                    </a:lnTo>
                    <a:lnTo>
                      <a:pt x="4741" y="466"/>
                    </a:lnTo>
                    <a:lnTo>
                      <a:pt x="4741" y="423"/>
                    </a:lnTo>
                    <a:close/>
                    <a:moveTo>
                      <a:pt x="4826" y="423"/>
                    </a:moveTo>
                    <a:lnTo>
                      <a:pt x="4868" y="423"/>
                    </a:lnTo>
                    <a:lnTo>
                      <a:pt x="4826" y="466"/>
                    </a:lnTo>
                    <a:lnTo>
                      <a:pt x="4826" y="423"/>
                    </a:lnTo>
                    <a:close/>
                    <a:moveTo>
                      <a:pt x="4529" y="720"/>
                    </a:moveTo>
                    <a:lnTo>
                      <a:pt x="4572" y="720"/>
                    </a:lnTo>
                    <a:lnTo>
                      <a:pt x="4572" y="762"/>
                    </a:lnTo>
                    <a:lnTo>
                      <a:pt x="4529" y="762"/>
                    </a:lnTo>
                    <a:lnTo>
                      <a:pt x="4529" y="720"/>
                    </a:lnTo>
                    <a:close/>
                  </a:path>
                </a:pathLst>
              </a:custGeom>
              <a:grpFill/>
              <a:ln w="12700" cap="flat" cmpd="sng">
                <a:solidFill>
                  <a:schemeClr val="tx1"/>
                </a:solidFill>
                <a:prstDash val="solid"/>
                <a:bevel/>
                <a:headEnd/>
                <a:tailEnd/>
              </a:ln>
            </p:spPr>
            <p:txBody>
              <a:bodyPr/>
              <a:lstStyle/>
              <a:p>
                <a:endParaRPr lang="nl-NL"/>
              </a:p>
            </p:txBody>
          </p:sp>
          <p:sp>
            <p:nvSpPr>
              <p:cNvPr id="63" name="Freeform 554">
                <a:extLst>
                  <a:ext uri="{FF2B5EF4-FFF2-40B4-BE49-F238E27FC236}">
                    <a16:creationId xmlns:a16="http://schemas.microsoft.com/office/drawing/2014/main" id="{17482070-6163-3C9A-A68F-99AAD7715FA6}"/>
                  </a:ext>
                </a:extLst>
              </p:cNvPr>
              <p:cNvSpPr>
                <a:spLocks/>
              </p:cNvSpPr>
              <p:nvPr/>
            </p:nvSpPr>
            <p:spPr bwMode="auto">
              <a:xfrm>
                <a:off x="735" y="3154"/>
                <a:ext cx="337" cy="357"/>
              </a:xfrm>
              <a:custGeom>
                <a:avLst/>
                <a:gdLst/>
                <a:ahLst/>
                <a:cxnLst>
                  <a:cxn ang="0">
                    <a:pos x="931" y="465"/>
                  </a:cxn>
                  <a:cxn ang="0">
                    <a:pos x="973" y="465"/>
                  </a:cxn>
                  <a:cxn ang="0">
                    <a:pos x="1058" y="465"/>
                  </a:cxn>
                  <a:cxn ang="0">
                    <a:pos x="1100" y="381"/>
                  </a:cxn>
                  <a:cxn ang="0">
                    <a:pos x="1058" y="381"/>
                  </a:cxn>
                  <a:cxn ang="0">
                    <a:pos x="973" y="381"/>
                  </a:cxn>
                  <a:cxn ang="0">
                    <a:pos x="804" y="381"/>
                  </a:cxn>
                  <a:cxn ang="0">
                    <a:pos x="677" y="211"/>
                  </a:cxn>
                  <a:cxn ang="0">
                    <a:pos x="677" y="127"/>
                  </a:cxn>
                  <a:cxn ang="0">
                    <a:pos x="889" y="42"/>
                  </a:cxn>
                  <a:cxn ang="0">
                    <a:pos x="1058" y="127"/>
                  </a:cxn>
                  <a:cxn ang="0">
                    <a:pos x="1185" y="169"/>
                  </a:cxn>
                  <a:cxn ang="0">
                    <a:pos x="1227" y="211"/>
                  </a:cxn>
                  <a:cxn ang="0">
                    <a:pos x="1227" y="211"/>
                  </a:cxn>
                  <a:cxn ang="0">
                    <a:pos x="1227" y="169"/>
                  </a:cxn>
                  <a:cxn ang="0">
                    <a:pos x="1397" y="211"/>
                  </a:cxn>
                  <a:cxn ang="0">
                    <a:pos x="1312" y="254"/>
                  </a:cxn>
                  <a:cxn ang="0">
                    <a:pos x="1185" y="423"/>
                  </a:cxn>
                  <a:cxn ang="0">
                    <a:pos x="1185" y="592"/>
                  </a:cxn>
                  <a:cxn ang="0">
                    <a:pos x="1397" y="931"/>
                  </a:cxn>
                  <a:cxn ang="0">
                    <a:pos x="1397" y="1100"/>
                  </a:cxn>
                  <a:cxn ang="0">
                    <a:pos x="1312" y="1354"/>
                  </a:cxn>
                  <a:cxn ang="0">
                    <a:pos x="1312" y="1524"/>
                  </a:cxn>
                  <a:cxn ang="0">
                    <a:pos x="1058" y="1397"/>
                  </a:cxn>
                  <a:cxn ang="0">
                    <a:pos x="1100" y="1270"/>
                  </a:cxn>
                  <a:cxn ang="0">
                    <a:pos x="931" y="1185"/>
                  </a:cxn>
                  <a:cxn ang="0">
                    <a:pos x="846" y="1185"/>
                  </a:cxn>
                  <a:cxn ang="0">
                    <a:pos x="592" y="1185"/>
                  </a:cxn>
                  <a:cxn ang="0">
                    <a:pos x="550" y="1185"/>
                  </a:cxn>
                  <a:cxn ang="0">
                    <a:pos x="465" y="1143"/>
                  </a:cxn>
                  <a:cxn ang="0">
                    <a:pos x="423" y="1016"/>
                  </a:cxn>
                  <a:cxn ang="0">
                    <a:pos x="338" y="931"/>
                  </a:cxn>
                  <a:cxn ang="0">
                    <a:pos x="254" y="846"/>
                  </a:cxn>
                  <a:cxn ang="0">
                    <a:pos x="211" y="804"/>
                  </a:cxn>
                  <a:cxn ang="0">
                    <a:pos x="84" y="719"/>
                  </a:cxn>
                  <a:cxn ang="0">
                    <a:pos x="0" y="677"/>
                  </a:cxn>
                  <a:cxn ang="0">
                    <a:pos x="42" y="550"/>
                  </a:cxn>
                  <a:cxn ang="0">
                    <a:pos x="211" y="508"/>
                  </a:cxn>
                  <a:cxn ang="0">
                    <a:pos x="338" y="465"/>
                  </a:cxn>
                  <a:cxn ang="0">
                    <a:pos x="381" y="423"/>
                  </a:cxn>
                  <a:cxn ang="0">
                    <a:pos x="677" y="423"/>
                  </a:cxn>
                  <a:cxn ang="0">
                    <a:pos x="762" y="508"/>
                  </a:cxn>
                  <a:cxn ang="0">
                    <a:pos x="846" y="508"/>
                  </a:cxn>
                  <a:cxn ang="0">
                    <a:pos x="762" y="508"/>
                  </a:cxn>
                  <a:cxn ang="0">
                    <a:pos x="804" y="508"/>
                  </a:cxn>
                  <a:cxn ang="0">
                    <a:pos x="846" y="465"/>
                  </a:cxn>
                </a:cxnLst>
                <a:rect l="0" t="0" r="r" b="b"/>
                <a:pathLst>
                  <a:path w="1439" h="1524">
                    <a:moveTo>
                      <a:pt x="846" y="465"/>
                    </a:moveTo>
                    <a:lnTo>
                      <a:pt x="889" y="465"/>
                    </a:lnTo>
                    <a:lnTo>
                      <a:pt x="931" y="465"/>
                    </a:lnTo>
                    <a:lnTo>
                      <a:pt x="931" y="465"/>
                    </a:lnTo>
                    <a:lnTo>
                      <a:pt x="973" y="465"/>
                    </a:lnTo>
                    <a:lnTo>
                      <a:pt x="973" y="465"/>
                    </a:lnTo>
                    <a:lnTo>
                      <a:pt x="1016" y="465"/>
                    </a:lnTo>
                    <a:lnTo>
                      <a:pt x="1016" y="465"/>
                    </a:lnTo>
                    <a:lnTo>
                      <a:pt x="1058" y="465"/>
                    </a:lnTo>
                    <a:lnTo>
                      <a:pt x="1100" y="423"/>
                    </a:lnTo>
                    <a:lnTo>
                      <a:pt x="1100" y="381"/>
                    </a:lnTo>
                    <a:lnTo>
                      <a:pt x="1100" y="381"/>
                    </a:lnTo>
                    <a:lnTo>
                      <a:pt x="1100" y="338"/>
                    </a:lnTo>
                    <a:lnTo>
                      <a:pt x="1058" y="338"/>
                    </a:lnTo>
                    <a:lnTo>
                      <a:pt x="1058" y="381"/>
                    </a:lnTo>
                    <a:lnTo>
                      <a:pt x="1016" y="381"/>
                    </a:lnTo>
                    <a:lnTo>
                      <a:pt x="1016" y="381"/>
                    </a:lnTo>
                    <a:lnTo>
                      <a:pt x="973" y="381"/>
                    </a:lnTo>
                    <a:lnTo>
                      <a:pt x="973" y="381"/>
                    </a:lnTo>
                    <a:lnTo>
                      <a:pt x="889" y="381"/>
                    </a:lnTo>
                    <a:lnTo>
                      <a:pt x="804" y="381"/>
                    </a:lnTo>
                    <a:lnTo>
                      <a:pt x="762" y="296"/>
                    </a:lnTo>
                    <a:lnTo>
                      <a:pt x="719" y="211"/>
                    </a:lnTo>
                    <a:lnTo>
                      <a:pt x="677" y="211"/>
                    </a:lnTo>
                    <a:lnTo>
                      <a:pt x="677" y="211"/>
                    </a:lnTo>
                    <a:lnTo>
                      <a:pt x="635" y="127"/>
                    </a:lnTo>
                    <a:lnTo>
                      <a:pt x="677" y="127"/>
                    </a:lnTo>
                    <a:lnTo>
                      <a:pt x="762" y="42"/>
                    </a:lnTo>
                    <a:lnTo>
                      <a:pt x="762" y="0"/>
                    </a:lnTo>
                    <a:lnTo>
                      <a:pt x="889" y="42"/>
                    </a:lnTo>
                    <a:lnTo>
                      <a:pt x="931" y="42"/>
                    </a:lnTo>
                    <a:lnTo>
                      <a:pt x="1058" y="127"/>
                    </a:lnTo>
                    <a:lnTo>
                      <a:pt x="1058" y="127"/>
                    </a:lnTo>
                    <a:lnTo>
                      <a:pt x="1143" y="169"/>
                    </a:lnTo>
                    <a:lnTo>
                      <a:pt x="1185" y="169"/>
                    </a:lnTo>
                    <a:lnTo>
                      <a:pt x="1185" y="169"/>
                    </a:lnTo>
                    <a:lnTo>
                      <a:pt x="1185" y="169"/>
                    </a:lnTo>
                    <a:lnTo>
                      <a:pt x="1185" y="169"/>
                    </a:lnTo>
                    <a:lnTo>
                      <a:pt x="1227" y="211"/>
                    </a:lnTo>
                    <a:lnTo>
                      <a:pt x="1227" y="211"/>
                    </a:lnTo>
                    <a:lnTo>
                      <a:pt x="1227" y="254"/>
                    </a:lnTo>
                    <a:lnTo>
                      <a:pt x="1227" y="211"/>
                    </a:lnTo>
                    <a:lnTo>
                      <a:pt x="1227" y="211"/>
                    </a:lnTo>
                    <a:lnTo>
                      <a:pt x="1185" y="169"/>
                    </a:lnTo>
                    <a:lnTo>
                      <a:pt x="1227" y="169"/>
                    </a:lnTo>
                    <a:lnTo>
                      <a:pt x="1312" y="169"/>
                    </a:lnTo>
                    <a:lnTo>
                      <a:pt x="1312" y="169"/>
                    </a:lnTo>
                    <a:lnTo>
                      <a:pt x="1397" y="211"/>
                    </a:lnTo>
                    <a:lnTo>
                      <a:pt x="1439" y="211"/>
                    </a:lnTo>
                    <a:lnTo>
                      <a:pt x="1439" y="211"/>
                    </a:lnTo>
                    <a:lnTo>
                      <a:pt x="1312" y="254"/>
                    </a:lnTo>
                    <a:lnTo>
                      <a:pt x="1270" y="296"/>
                    </a:lnTo>
                    <a:lnTo>
                      <a:pt x="1227" y="338"/>
                    </a:lnTo>
                    <a:lnTo>
                      <a:pt x="1185" y="423"/>
                    </a:lnTo>
                    <a:lnTo>
                      <a:pt x="1185" y="465"/>
                    </a:lnTo>
                    <a:lnTo>
                      <a:pt x="1185" y="550"/>
                    </a:lnTo>
                    <a:lnTo>
                      <a:pt x="1185" y="592"/>
                    </a:lnTo>
                    <a:lnTo>
                      <a:pt x="1227" y="635"/>
                    </a:lnTo>
                    <a:lnTo>
                      <a:pt x="1397" y="846"/>
                    </a:lnTo>
                    <a:lnTo>
                      <a:pt x="1397" y="931"/>
                    </a:lnTo>
                    <a:lnTo>
                      <a:pt x="1439" y="973"/>
                    </a:lnTo>
                    <a:lnTo>
                      <a:pt x="1439" y="1016"/>
                    </a:lnTo>
                    <a:lnTo>
                      <a:pt x="1397" y="1100"/>
                    </a:lnTo>
                    <a:lnTo>
                      <a:pt x="1354" y="1227"/>
                    </a:lnTo>
                    <a:lnTo>
                      <a:pt x="1312" y="1312"/>
                    </a:lnTo>
                    <a:lnTo>
                      <a:pt x="1312" y="1354"/>
                    </a:lnTo>
                    <a:lnTo>
                      <a:pt x="1397" y="1524"/>
                    </a:lnTo>
                    <a:lnTo>
                      <a:pt x="1312" y="1524"/>
                    </a:lnTo>
                    <a:lnTo>
                      <a:pt x="1312" y="1524"/>
                    </a:lnTo>
                    <a:lnTo>
                      <a:pt x="1270" y="1481"/>
                    </a:lnTo>
                    <a:lnTo>
                      <a:pt x="1100" y="1397"/>
                    </a:lnTo>
                    <a:lnTo>
                      <a:pt x="1058" y="1397"/>
                    </a:lnTo>
                    <a:lnTo>
                      <a:pt x="1058" y="1354"/>
                    </a:lnTo>
                    <a:lnTo>
                      <a:pt x="1058" y="1312"/>
                    </a:lnTo>
                    <a:lnTo>
                      <a:pt x="1100" y="1270"/>
                    </a:lnTo>
                    <a:lnTo>
                      <a:pt x="1016" y="1227"/>
                    </a:lnTo>
                    <a:lnTo>
                      <a:pt x="1016" y="1227"/>
                    </a:lnTo>
                    <a:lnTo>
                      <a:pt x="931" y="1185"/>
                    </a:lnTo>
                    <a:lnTo>
                      <a:pt x="931" y="1227"/>
                    </a:lnTo>
                    <a:lnTo>
                      <a:pt x="889" y="1227"/>
                    </a:lnTo>
                    <a:lnTo>
                      <a:pt x="846" y="1185"/>
                    </a:lnTo>
                    <a:lnTo>
                      <a:pt x="804" y="1185"/>
                    </a:lnTo>
                    <a:lnTo>
                      <a:pt x="762" y="1185"/>
                    </a:lnTo>
                    <a:lnTo>
                      <a:pt x="592" y="1185"/>
                    </a:lnTo>
                    <a:lnTo>
                      <a:pt x="592" y="1185"/>
                    </a:lnTo>
                    <a:lnTo>
                      <a:pt x="550" y="1185"/>
                    </a:lnTo>
                    <a:lnTo>
                      <a:pt x="550" y="1185"/>
                    </a:lnTo>
                    <a:lnTo>
                      <a:pt x="508" y="1185"/>
                    </a:lnTo>
                    <a:lnTo>
                      <a:pt x="508" y="1143"/>
                    </a:lnTo>
                    <a:lnTo>
                      <a:pt x="465" y="1143"/>
                    </a:lnTo>
                    <a:lnTo>
                      <a:pt x="423" y="1100"/>
                    </a:lnTo>
                    <a:lnTo>
                      <a:pt x="423" y="1016"/>
                    </a:lnTo>
                    <a:lnTo>
                      <a:pt x="423" y="1016"/>
                    </a:lnTo>
                    <a:lnTo>
                      <a:pt x="381" y="973"/>
                    </a:lnTo>
                    <a:lnTo>
                      <a:pt x="381" y="973"/>
                    </a:lnTo>
                    <a:lnTo>
                      <a:pt x="338" y="931"/>
                    </a:lnTo>
                    <a:lnTo>
                      <a:pt x="296" y="931"/>
                    </a:lnTo>
                    <a:lnTo>
                      <a:pt x="254" y="889"/>
                    </a:lnTo>
                    <a:lnTo>
                      <a:pt x="254" y="846"/>
                    </a:lnTo>
                    <a:lnTo>
                      <a:pt x="254" y="804"/>
                    </a:lnTo>
                    <a:lnTo>
                      <a:pt x="254" y="804"/>
                    </a:lnTo>
                    <a:lnTo>
                      <a:pt x="211" y="804"/>
                    </a:lnTo>
                    <a:lnTo>
                      <a:pt x="169" y="762"/>
                    </a:lnTo>
                    <a:lnTo>
                      <a:pt x="127" y="719"/>
                    </a:lnTo>
                    <a:lnTo>
                      <a:pt x="84" y="719"/>
                    </a:lnTo>
                    <a:lnTo>
                      <a:pt x="42" y="719"/>
                    </a:lnTo>
                    <a:lnTo>
                      <a:pt x="42" y="677"/>
                    </a:lnTo>
                    <a:lnTo>
                      <a:pt x="0" y="677"/>
                    </a:lnTo>
                    <a:lnTo>
                      <a:pt x="0" y="592"/>
                    </a:lnTo>
                    <a:lnTo>
                      <a:pt x="42" y="550"/>
                    </a:lnTo>
                    <a:lnTo>
                      <a:pt x="42" y="550"/>
                    </a:lnTo>
                    <a:lnTo>
                      <a:pt x="127" y="508"/>
                    </a:lnTo>
                    <a:lnTo>
                      <a:pt x="169" y="550"/>
                    </a:lnTo>
                    <a:lnTo>
                      <a:pt x="211" y="508"/>
                    </a:lnTo>
                    <a:lnTo>
                      <a:pt x="211" y="508"/>
                    </a:lnTo>
                    <a:lnTo>
                      <a:pt x="296" y="465"/>
                    </a:lnTo>
                    <a:lnTo>
                      <a:pt x="338" y="465"/>
                    </a:lnTo>
                    <a:lnTo>
                      <a:pt x="338" y="465"/>
                    </a:lnTo>
                    <a:lnTo>
                      <a:pt x="338" y="465"/>
                    </a:lnTo>
                    <a:lnTo>
                      <a:pt x="381" y="423"/>
                    </a:lnTo>
                    <a:lnTo>
                      <a:pt x="465" y="381"/>
                    </a:lnTo>
                    <a:lnTo>
                      <a:pt x="508" y="381"/>
                    </a:lnTo>
                    <a:lnTo>
                      <a:pt x="677" y="423"/>
                    </a:lnTo>
                    <a:lnTo>
                      <a:pt x="677" y="423"/>
                    </a:lnTo>
                    <a:lnTo>
                      <a:pt x="677" y="423"/>
                    </a:lnTo>
                    <a:lnTo>
                      <a:pt x="762" y="508"/>
                    </a:lnTo>
                    <a:lnTo>
                      <a:pt x="762" y="508"/>
                    </a:lnTo>
                    <a:lnTo>
                      <a:pt x="804" y="508"/>
                    </a:lnTo>
                    <a:lnTo>
                      <a:pt x="846" y="508"/>
                    </a:lnTo>
                    <a:lnTo>
                      <a:pt x="804" y="508"/>
                    </a:lnTo>
                    <a:lnTo>
                      <a:pt x="762" y="508"/>
                    </a:lnTo>
                    <a:lnTo>
                      <a:pt x="762" y="508"/>
                    </a:lnTo>
                    <a:lnTo>
                      <a:pt x="762" y="465"/>
                    </a:lnTo>
                    <a:lnTo>
                      <a:pt x="762" y="508"/>
                    </a:lnTo>
                    <a:lnTo>
                      <a:pt x="804" y="508"/>
                    </a:lnTo>
                    <a:lnTo>
                      <a:pt x="846" y="465"/>
                    </a:lnTo>
                    <a:lnTo>
                      <a:pt x="846" y="465"/>
                    </a:lnTo>
                    <a:lnTo>
                      <a:pt x="846" y="465"/>
                    </a:lnTo>
                    <a:close/>
                  </a:path>
                </a:pathLst>
              </a:custGeom>
              <a:grpFill/>
              <a:ln w="12700" cap="flat" cmpd="sng">
                <a:solidFill>
                  <a:schemeClr val="tx1"/>
                </a:solidFill>
                <a:prstDash val="solid"/>
                <a:bevel/>
                <a:headEnd/>
                <a:tailEnd/>
              </a:ln>
            </p:spPr>
            <p:txBody>
              <a:bodyPr/>
              <a:lstStyle/>
              <a:p>
                <a:endParaRPr lang="nl-NL"/>
              </a:p>
            </p:txBody>
          </p:sp>
          <p:sp>
            <p:nvSpPr>
              <p:cNvPr id="64" name="Freeform 555">
                <a:extLst>
                  <a:ext uri="{FF2B5EF4-FFF2-40B4-BE49-F238E27FC236}">
                    <a16:creationId xmlns:a16="http://schemas.microsoft.com/office/drawing/2014/main" id="{AF49DD42-68B2-ABB0-3200-16198ADBB72A}"/>
                  </a:ext>
                </a:extLst>
              </p:cNvPr>
              <p:cNvSpPr>
                <a:spLocks/>
              </p:cNvSpPr>
              <p:nvPr/>
            </p:nvSpPr>
            <p:spPr bwMode="auto">
              <a:xfrm>
                <a:off x="337" y="2925"/>
                <a:ext cx="646" cy="308"/>
              </a:xfrm>
              <a:custGeom>
                <a:avLst/>
                <a:gdLst/>
                <a:ahLst/>
                <a:cxnLst>
                  <a:cxn ang="0">
                    <a:pos x="1355" y="1185"/>
                  </a:cxn>
                  <a:cxn ang="0">
                    <a:pos x="1186" y="1143"/>
                  </a:cxn>
                  <a:cxn ang="0">
                    <a:pos x="1270" y="1101"/>
                  </a:cxn>
                  <a:cxn ang="0">
                    <a:pos x="1143" y="1016"/>
                  </a:cxn>
                  <a:cxn ang="0">
                    <a:pos x="1101" y="847"/>
                  </a:cxn>
                  <a:cxn ang="0">
                    <a:pos x="932" y="720"/>
                  </a:cxn>
                  <a:cxn ang="0">
                    <a:pos x="805" y="635"/>
                  </a:cxn>
                  <a:cxn ang="0">
                    <a:pos x="678" y="550"/>
                  </a:cxn>
                  <a:cxn ang="0">
                    <a:pos x="635" y="635"/>
                  </a:cxn>
                  <a:cxn ang="0">
                    <a:pos x="635" y="635"/>
                  </a:cxn>
                  <a:cxn ang="0">
                    <a:pos x="424" y="762"/>
                  </a:cxn>
                  <a:cxn ang="0">
                    <a:pos x="339" y="762"/>
                  </a:cxn>
                  <a:cxn ang="0">
                    <a:pos x="212" y="931"/>
                  </a:cxn>
                  <a:cxn ang="0">
                    <a:pos x="212" y="974"/>
                  </a:cxn>
                  <a:cxn ang="0">
                    <a:pos x="170" y="931"/>
                  </a:cxn>
                  <a:cxn ang="0">
                    <a:pos x="212" y="847"/>
                  </a:cxn>
                  <a:cxn ang="0">
                    <a:pos x="85" y="762"/>
                  </a:cxn>
                  <a:cxn ang="0">
                    <a:pos x="0" y="466"/>
                  </a:cxn>
                  <a:cxn ang="0">
                    <a:pos x="212" y="212"/>
                  </a:cxn>
                  <a:cxn ang="0">
                    <a:pos x="508" y="127"/>
                  </a:cxn>
                  <a:cxn ang="0">
                    <a:pos x="805" y="127"/>
                  </a:cxn>
                  <a:cxn ang="0">
                    <a:pos x="847" y="0"/>
                  </a:cxn>
                  <a:cxn ang="0">
                    <a:pos x="932" y="42"/>
                  </a:cxn>
                  <a:cxn ang="0">
                    <a:pos x="889" y="85"/>
                  </a:cxn>
                  <a:cxn ang="0">
                    <a:pos x="847" y="85"/>
                  </a:cxn>
                  <a:cxn ang="0">
                    <a:pos x="932" y="169"/>
                  </a:cxn>
                  <a:cxn ang="0">
                    <a:pos x="1101" y="169"/>
                  </a:cxn>
                  <a:cxn ang="0">
                    <a:pos x="1228" y="169"/>
                  </a:cxn>
                  <a:cxn ang="0">
                    <a:pos x="1313" y="254"/>
                  </a:cxn>
                  <a:cxn ang="0">
                    <a:pos x="1524" y="254"/>
                  </a:cxn>
                  <a:cxn ang="0">
                    <a:pos x="1651" y="296"/>
                  </a:cxn>
                  <a:cxn ang="0">
                    <a:pos x="1694" y="381"/>
                  </a:cxn>
                  <a:cxn ang="0">
                    <a:pos x="1863" y="677"/>
                  </a:cxn>
                  <a:cxn ang="0">
                    <a:pos x="2117" y="720"/>
                  </a:cxn>
                  <a:cxn ang="0">
                    <a:pos x="2286" y="804"/>
                  </a:cxn>
                  <a:cxn ang="0">
                    <a:pos x="2456" y="762"/>
                  </a:cxn>
                  <a:cxn ang="0">
                    <a:pos x="2625" y="762"/>
                  </a:cxn>
                  <a:cxn ang="0">
                    <a:pos x="2710" y="847"/>
                  </a:cxn>
                  <a:cxn ang="0">
                    <a:pos x="2710" y="889"/>
                  </a:cxn>
                  <a:cxn ang="0">
                    <a:pos x="2667" y="804"/>
                  </a:cxn>
                  <a:cxn ang="0">
                    <a:pos x="2583" y="762"/>
                  </a:cxn>
                  <a:cxn ang="0">
                    <a:pos x="2329" y="847"/>
                  </a:cxn>
                  <a:cxn ang="0">
                    <a:pos x="2371" y="974"/>
                  </a:cxn>
                  <a:cxn ang="0">
                    <a:pos x="2329" y="1016"/>
                  </a:cxn>
                  <a:cxn ang="0">
                    <a:pos x="2329" y="1058"/>
                  </a:cxn>
                  <a:cxn ang="0">
                    <a:pos x="2159" y="1185"/>
                  </a:cxn>
                  <a:cxn ang="0">
                    <a:pos x="1948" y="1270"/>
                  </a:cxn>
                  <a:cxn ang="0">
                    <a:pos x="1694" y="1312"/>
                  </a:cxn>
                  <a:cxn ang="0">
                    <a:pos x="1482" y="1228"/>
                  </a:cxn>
                  <a:cxn ang="0">
                    <a:pos x="1440" y="1143"/>
                  </a:cxn>
                </a:cxnLst>
                <a:rect l="0" t="0" r="r" b="b"/>
                <a:pathLst>
                  <a:path w="2752" h="1312">
                    <a:moveTo>
                      <a:pt x="1440" y="1143"/>
                    </a:moveTo>
                    <a:lnTo>
                      <a:pt x="1397" y="1185"/>
                    </a:lnTo>
                    <a:lnTo>
                      <a:pt x="1355" y="1185"/>
                    </a:lnTo>
                    <a:lnTo>
                      <a:pt x="1355" y="1185"/>
                    </a:lnTo>
                    <a:lnTo>
                      <a:pt x="1313" y="1185"/>
                    </a:lnTo>
                    <a:lnTo>
                      <a:pt x="1313" y="1185"/>
                    </a:lnTo>
                    <a:lnTo>
                      <a:pt x="1228" y="1143"/>
                    </a:lnTo>
                    <a:lnTo>
                      <a:pt x="1186" y="1143"/>
                    </a:lnTo>
                    <a:lnTo>
                      <a:pt x="1186" y="1143"/>
                    </a:lnTo>
                    <a:lnTo>
                      <a:pt x="1270" y="1101"/>
                    </a:lnTo>
                    <a:lnTo>
                      <a:pt x="1270" y="1058"/>
                    </a:lnTo>
                    <a:lnTo>
                      <a:pt x="1270" y="1101"/>
                    </a:lnTo>
                    <a:lnTo>
                      <a:pt x="1186" y="1143"/>
                    </a:lnTo>
                    <a:lnTo>
                      <a:pt x="1143" y="1143"/>
                    </a:lnTo>
                    <a:lnTo>
                      <a:pt x="1186" y="1058"/>
                    </a:lnTo>
                    <a:lnTo>
                      <a:pt x="1143" y="1016"/>
                    </a:lnTo>
                    <a:lnTo>
                      <a:pt x="1143" y="931"/>
                    </a:lnTo>
                    <a:lnTo>
                      <a:pt x="1101" y="931"/>
                    </a:lnTo>
                    <a:lnTo>
                      <a:pt x="1101" y="889"/>
                    </a:lnTo>
                    <a:lnTo>
                      <a:pt x="1101" y="847"/>
                    </a:lnTo>
                    <a:lnTo>
                      <a:pt x="1059" y="762"/>
                    </a:lnTo>
                    <a:lnTo>
                      <a:pt x="974" y="720"/>
                    </a:lnTo>
                    <a:lnTo>
                      <a:pt x="932" y="762"/>
                    </a:lnTo>
                    <a:lnTo>
                      <a:pt x="932" y="720"/>
                    </a:lnTo>
                    <a:lnTo>
                      <a:pt x="805" y="677"/>
                    </a:lnTo>
                    <a:lnTo>
                      <a:pt x="805" y="677"/>
                    </a:lnTo>
                    <a:lnTo>
                      <a:pt x="805" y="677"/>
                    </a:lnTo>
                    <a:lnTo>
                      <a:pt x="805" y="635"/>
                    </a:lnTo>
                    <a:lnTo>
                      <a:pt x="805" y="635"/>
                    </a:lnTo>
                    <a:lnTo>
                      <a:pt x="805" y="593"/>
                    </a:lnTo>
                    <a:lnTo>
                      <a:pt x="762" y="550"/>
                    </a:lnTo>
                    <a:lnTo>
                      <a:pt x="678" y="550"/>
                    </a:lnTo>
                    <a:lnTo>
                      <a:pt x="635" y="550"/>
                    </a:lnTo>
                    <a:lnTo>
                      <a:pt x="593" y="593"/>
                    </a:lnTo>
                    <a:lnTo>
                      <a:pt x="593" y="635"/>
                    </a:lnTo>
                    <a:lnTo>
                      <a:pt x="635" y="635"/>
                    </a:lnTo>
                    <a:lnTo>
                      <a:pt x="678" y="593"/>
                    </a:lnTo>
                    <a:lnTo>
                      <a:pt x="720" y="635"/>
                    </a:lnTo>
                    <a:lnTo>
                      <a:pt x="678" y="593"/>
                    </a:lnTo>
                    <a:lnTo>
                      <a:pt x="635" y="635"/>
                    </a:lnTo>
                    <a:lnTo>
                      <a:pt x="551" y="635"/>
                    </a:lnTo>
                    <a:lnTo>
                      <a:pt x="508" y="720"/>
                    </a:lnTo>
                    <a:lnTo>
                      <a:pt x="424" y="762"/>
                    </a:lnTo>
                    <a:lnTo>
                      <a:pt x="424" y="762"/>
                    </a:lnTo>
                    <a:lnTo>
                      <a:pt x="424" y="762"/>
                    </a:lnTo>
                    <a:lnTo>
                      <a:pt x="424" y="762"/>
                    </a:lnTo>
                    <a:lnTo>
                      <a:pt x="381" y="762"/>
                    </a:lnTo>
                    <a:lnTo>
                      <a:pt x="339" y="762"/>
                    </a:lnTo>
                    <a:lnTo>
                      <a:pt x="254" y="804"/>
                    </a:lnTo>
                    <a:lnTo>
                      <a:pt x="212" y="847"/>
                    </a:lnTo>
                    <a:lnTo>
                      <a:pt x="212" y="931"/>
                    </a:lnTo>
                    <a:lnTo>
                      <a:pt x="212" y="931"/>
                    </a:lnTo>
                    <a:lnTo>
                      <a:pt x="254" y="931"/>
                    </a:lnTo>
                    <a:lnTo>
                      <a:pt x="254" y="974"/>
                    </a:lnTo>
                    <a:lnTo>
                      <a:pt x="212" y="974"/>
                    </a:lnTo>
                    <a:lnTo>
                      <a:pt x="212" y="974"/>
                    </a:lnTo>
                    <a:lnTo>
                      <a:pt x="212" y="974"/>
                    </a:lnTo>
                    <a:lnTo>
                      <a:pt x="170" y="931"/>
                    </a:lnTo>
                    <a:lnTo>
                      <a:pt x="170" y="931"/>
                    </a:lnTo>
                    <a:lnTo>
                      <a:pt x="170" y="931"/>
                    </a:lnTo>
                    <a:lnTo>
                      <a:pt x="212" y="931"/>
                    </a:lnTo>
                    <a:lnTo>
                      <a:pt x="212" y="931"/>
                    </a:lnTo>
                    <a:lnTo>
                      <a:pt x="212" y="847"/>
                    </a:lnTo>
                    <a:lnTo>
                      <a:pt x="212" y="847"/>
                    </a:lnTo>
                    <a:lnTo>
                      <a:pt x="170" y="804"/>
                    </a:lnTo>
                    <a:lnTo>
                      <a:pt x="127" y="804"/>
                    </a:lnTo>
                    <a:lnTo>
                      <a:pt x="85" y="804"/>
                    </a:lnTo>
                    <a:lnTo>
                      <a:pt x="85" y="762"/>
                    </a:lnTo>
                    <a:lnTo>
                      <a:pt x="43" y="720"/>
                    </a:lnTo>
                    <a:lnTo>
                      <a:pt x="0" y="635"/>
                    </a:lnTo>
                    <a:lnTo>
                      <a:pt x="0" y="550"/>
                    </a:lnTo>
                    <a:lnTo>
                      <a:pt x="0" y="466"/>
                    </a:lnTo>
                    <a:lnTo>
                      <a:pt x="0" y="423"/>
                    </a:lnTo>
                    <a:lnTo>
                      <a:pt x="43" y="339"/>
                    </a:lnTo>
                    <a:lnTo>
                      <a:pt x="127" y="254"/>
                    </a:lnTo>
                    <a:lnTo>
                      <a:pt x="212" y="212"/>
                    </a:lnTo>
                    <a:lnTo>
                      <a:pt x="254" y="212"/>
                    </a:lnTo>
                    <a:lnTo>
                      <a:pt x="297" y="212"/>
                    </a:lnTo>
                    <a:lnTo>
                      <a:pt x="466" y="169"/>
                    </a:lnTo>
                    <a:lnTo>
                      <a:pt x="508" y="127"/>
                    </a:lnTo>
                    <a:lnTo>
                      <a:pt x="593" y="127"/>
                    </a:lnTo>
                    <a:lnTo>
                      <a:pt x="678" y="127"/>
                    </a:lnTo>
                    <a:lnTo>
                      <a:pt x="805" y="169"/>
                    </a:lnTo>
                    <a:lnTo>
                      <a:pt x="805" y="127"/>
                    </a:lnTo>
                    <a:lnTo>
                      <a:pt x="805" y="127"/>
                    </a:lnTo>
                    <a:lnTo>
                      <a:pt x="805" y="85"/>
                    </a:lnTo>
                    <a:lnTo>
                      <a:pt x="847" y="42"/>
                    </a:lnTo>
                    <a:lnTo>
                      <a:pt x="847" y="0"/>
                    </a:lnTo>
                    <a:lnTo>
                      <a:pt x="889" y="0"/>
                    </a:lnTo>
                    <a:lnTo>
                      <a:pt x="932" y="0"/>
                    </a:lnTo>
                    <a:lnTo>
                      <a:pt x="889" y="42"/>
                    </a:lnTo>
                    <a:lnTo>
                      <a:pt x="932" y="42"/>
                    </a:lnTo>
                    <a:lnTo>
                      <a:pt x="889" y="85"/>
                    </a:lnTo>
                    <a:lnTo>
                      <a:pt x="889" y="85"/>
                    </a:lnTo>
                    <a:lnTo>
                      <a:pt x="889" y="85"/>
                    </a:lnTo>
                    <a:lnTo>
                      <a:pt x="889" y="85"/>
                    </a:lnTo>
                    <a:lnTo>
                      <a:pt x="889" y="42"/>
                    </a:lnTo>
                    <a:lnTo>
                      <a:pt x="889" y="42"/>
                    </a:lnTo>
                    <a:lnTo>
                      <a:pt x="847" y="42"/>
                    </a:lnTo>
                    <a:lnTo>
                      <a:pt x="847" y="85"/>
                    </a:lnTo>
                    <a:lnTo>
                      <a:pt x="805" y="169"/>
                    </a:lnTo>
                    <a:lnTo>
                      <a:pt x="847" y="169"/>
                    </a:lnTo>
                    <a:lnTo>
                      <a:pt x="889" y="169"/>
                    </a:lnTo>
                    <a:lnTo>
                      <a:pt x="932" y="169"/>
                    </a:lnTo>
                    <a:lnTo>
                      <a:pt x="974" y="169"/>
                    </a:lnTo>
                    <a:lnTo>
                      <a:pt x="974" y="169"/>
                    </a:lnTo>
                    <a:lnTo>
                      <a:pt x="974" y="169"/>
                    </a:lnTo>
                    <a:lnTo>
                      <a:pt x="1101" y="169"/>
                    </a:lnTo>
                    <a:lnTo>
                      <a:pt x="1186" y="127"/>
                    </a:lnTo>
                    <a:lnTo>
                      <a:pt x="1186" y="127"/>
                    </a:lnTo>
                    <a:lnTo>
                      <a:pt x="1228" y="169"/>
                    </a:lnTo>
                    <a:lnTo>
                      <a:pt x="1228" y="169"/>
                    </a:lnTo>
                    <a:lnTo>
                      <a:pt x="1270" y="212"/>
                    </a:lnTo>
                    <a:lnTo>
                      <a:pt x="1270" y="254"/>
                    </a:lnTo>
                    <a:lnTo>
                      <a:pt x="1313" y="254"/>
                    </a:lnTo>
                    <a:lnTo>
                      <a:pt x="1313" y="254"/>
                    </a:lnTo>
                    <a:lnTo>
                      <a:pt x="1355" y="254"/>
                    </a:lnTo>
                    <a:lnTo>
                      <a:pt x="1397" y="254"/>
                    </a:lnTo>
                    <a:lnTo>
                      <a:pt x="1482" y="212"/>
                    </a:lnTo>
                    <a:lnTo>
                      <a:pt x="1524" y="254"/>
                    </a:lnTo>
                    <a:lnTo>
                      <a:pt x="1651" y="254"/>
                    </a:lnTo>
                    <a:lnTo>
                      <a:pt x="1651" y="254"/>
                    </a:lnTo>
                    <a:lnTo>
                      <a:pt x="1651" y="296"/>
                    </a:lnTo>
                    <a:lnTo>
                      <a:pt x="1651" y="296"/>
                    </a:lnTo>
                    <a:lnTo>
                      <a:pt x="1651" y="254"/>
                    </a:lnTo>
                    <a:lnTo>
                      <a:pt x="1694" y="296"/>
                    </a:lnTo>
                    <a:lnTo>
                      <a:pt x="1694" y="381"/>
                    </a:lnTo>
                    <a:lnTo>
                      <a:pt x="1694" y="381"/>
                    </a:lnTo>
                    <a:lnTo>
                      <a:pt x="1736" y="423"/>
                    </a:lnTo>
                    <a:lnTo>
                      <a:pt x="1821" y="508"/>
                    </a:lnTo>
                    <a:lnTo>
                      <a:pt x="1863" y="593"/>
                    </a:lnTo>
                    <a:lnTo>
                      <a:pt x="1863" y="677"/>
                    </a:lnTo>
                    <a:lnTo>
                      <a:pt x="1905" y="677"/>
                    </a:lnTo>
                    <a:lnTo>
                      <a:pt x="1990" y="677"/>
                    </a:lnTo>
                    <a:lnTo>
                      <a:pt x="2032" y="677"/>
                    </a:lnTo>
                    <a:lnTo>
                      <a:pt x="2117" y="720"/>
                    </a:lnTo>
                    <a:lnTo>
                      <a:pt x="2117" y="720"/>
                    </a:lnTo>
                    <a:lnTo>
                      <a:pt x="2244" y="804"/>
                    </a:lnTo>
                    <a:lnTo>
                      <a:pt x="2286" y="804"/>
                    </a:lnTo>
                    <a:lnTo>
                      <a:pt x="2286" y="804"/>
                    </a:lnTo>
                    <a:lnTo>
                      <a:pt x="2286" y="847"/>
                    </a:lnTo>
                    <a:lnTo>
                      <a:pt x="2329" y="847"/>
                    </a:lnTo>
                    <a:lnTo>
                      <a:pt x="2413" y="762"/>
                    </a:lnTo>
                    <a:lnTo>
                      <a:pt x="2456" y="762"/>
                    </a:lnTo>
                    <a:lnTo>
                      <a:pt x="2498" y="762"/>
                    </a:lnTo>
                    <a:lnTo>
                      <a:pt x="2498" y="762"/>
                    </a:lnTo>
                    <a:lnTo>
                      <a:pt x="2625" y="762"/>
                    </a:lnTo>
                    <a:lnTo>
                      <a:pt x="2625" y="762"/>
                    </a:lnTo>
                    <a:lnTo>
                      <a:pt x="2667" y="720"/>
                    </a:lnTo>
                    <a:lnTo>
                      <a:pt x="2710" y="720"/>
                    </a:lnTo>
                    <a:lnTo>
                      <a:pt x="2710" y="804"/>
                    </a:lnTo>
                    <a:lnTo>
                      <a:pt x="2710" y="847"/>
                    </a:lnTo>
                    <a:lnTo>
                      <a:pt x="2752" y="847"/>
                    </a:lnTo>
                    <a:lnTo>
                      <a:pt x="2752" y="847"/>
                    </a:lnTo>
                    <a:lnTo>
                      <a:pt x="2710" y="889"/>
                    </a:lnTo>
                    <a:lnTo>
                      <a:pt x="2710" y="889"/>
                    </a:lnTo>
                    <a:lnTo>
                      <a:pt x="2667" y="889"/>
                    </a:lnTo>
                    <a:lnTo>
                      <a:pt x="2710" y="847"/>
                    </a:lnTo>
                    <a:lnTo>
                      <a:pt x="2710" y="847"/>
                    </a:lnTo>
                    <a:lnTo>
                      <a:pt x="2667" y="804"/>
                    </a:lnTo>
                    <a:lnTo>
                      <a:pt x="2667" y="762"/>
                    </a:lnTo>
                    <a:lnTo>
                      <a:pt x="2625" y="762"/>
                    </a:lnTo>
                    <a:lnTo>
                      <a:pt x="2625" y="804"/>
                    </a:lnTo>
                    <a:lnTo>
                      <a:pt x="2583" y="762"/>
                    </a:lnTo>
                    <a:lnTo>
                      <a:pt x="2456" y="804"/>
                    </a:lnTo>
                    <a:lnTo>
                      <a:pt x="2413" y="804"/>
                    </a:lnTo>
                    <a:lnTo>
                      <a:pt x="2371" y="847"/>
                    </a:lnTo>
                    <a:lnTo>
                      <a:pt x="2329" y="847"/>
                    </a:lnTo>
                    <a:lnTo>
                      <a:pt x="2329" y="889"/>
                    </a:lnTo>
                    <a:lnTo>
                      <a:pt x="2371" y="931"/>
                    </a:lnTo>
                    <a:lnTo>
                      <a:pt x="2371" y="931"/>
                    </a:lnTo>
                    <a:lnTo>
                      <a:pt x="2371" y="974"/>
                    </a:lnTo>
                    <a:lnTo>
                      <a:pt x="2371" y="974"/>
                    </a:lnTo>
                    <a:lnTo>
                      <a:pt x="2371" y="974"/>
                    </a:lnTo>
                    <a:lnTo>
                      <a:pt x="2371" y="974"/>
                    </a:lnTo>
                    <a:lnTo>
                      <a:pt x="2329" y="1016"/>
                    </a:lnTo>
                    <a:lnTo>
                      <a:pt x="2371" y="1016"/>
                    </a:lnTo>
                    <a:lnTo>
                      <a:pt x="2371" y="974"/>
                    </a:lnTo>
                    <a:lnTo>
                      <a:pt x="2329" y="1016"/>
                    </a:lnTo>
                    <a:lnTo>
                      <a:pt x="2329" y="1058"/>
                    </a:lnTo>
                    <a:lnTo>
                      <a:pt x="2286" y="1058"/>
                    </a:lnTo>
                    <a:lnTo>
                      <a:pt x="2244" y="1101"/>
                    </a:lnTo>
                    <a:lnTo>
                      <a:pt x="2202" y="1185"/>
                    </a:lnTo>
                    <a:lnTo>
                      <a:pt x="2159" y="1185"/>
                    </a:lnTo>
                    <a:lnTo>
                      <a:pt x="2117" y="1228"/>
                    </a:lnTo>
                    <a:lnTo>
                      <a:pt x="2075" y="1185"/>
                    </a:lnTo>
                    <a:lnTo>
                      <a:pt x="1990" y="1228"/>
                    </a:lnTo>
                    <a:lnTo>
                      <a:pt x="1948" y="1270"/>
                    </a:lnTo>
                    <a:lnTo>
                      <a:pt x="1863" y="1270"/>
                    </a:lnTo>
                    <a:lnTo>
                      <a:pt x="1863" y="1312"/>
                    </a:lnTo>
                    <a:lnTo>
                      <a:pt x="1736" y="1312"/>
                    </a:lnTo>
                    <a:lnTo>
                      <a:pt x="1694" y="1312"/>
                    </a:lnTo>
                    <a:lnTo>
                      <a:pt x="1609" y="1312"/>
                    </a:lnTo>
                    <a:lnTo>
                      <a:pt x="1567" y="1312"/>
                    </a:lnTo>
                    <a:lnTo>
                      <a:pt x="1567" y="1312"/>
                    </a:lnTo>
                    <a:lnTo>
                      <a:pt x="1482" y="1228"/>
                    </a:lnTo>
                    <a:lnTo>
                      <a:pt x="1482" y="1228"/>
                    </a:lnTo>
                    <a:lnTo>
                      <a:pt x="1482" y="1228"/>
                    </a:lnTo>
                    <a:lnTo>
                      <a:pt x="1440" y="1143"/>
                    </a:lnTo>
                    <a:lnTo>
                      <a:pt x="1440" y="1143"/>
                    </a:lnTo>
                    <a:close/>
                  </a:path>
                </a:pathLst>
              </a:custGeom>
              <a:grpFill/>
              <a:ln w="12700" cap="flat" cmpd="sng">
                <a:solidFill>
                  <a:schemeClr val="tx1"/>
                </a:solidFill>
                <a:prstDash val="solid"/>
                <a:bevel/>
                <a:headEnd/>
                <a:tailEnd/>
              </a:ln>
            </p:spPr>
            <p:txBody>
              <a:bodyPr/>
              <a:lstStyle/>
              <a:p>
                <a:endParaRPr lang="nl-NL"/>
              </a:p>
            </p:txBody>
          </p:sp>
          <p:sp>
            <p:nvSpPr>
              <p:cNvPr id="65" name="Freeform 556">
                <a:extLst>
                  <a:ext uri="{FF2B5EF4-FFF2-40B4-BE49-F238E27FC236}">
                    <a16:creationId xmlns:a16="http://schemas.microsoft.com/office/drawing/2014/main" id="{AE8F0EAF-89C4-F1BF-6586-AE99B8612071}"/>
                  </a:ext>
                </a:extLst>
              </p:cNvPr>
              <p:cNvSpPr>
                <a:spLocks/>
              </p:cNvSpPr>
              <p:nvPr/>
            </p:nvSpPr>
            <p:spPr bwMode="auto">
              <a:xfrm>
                <a:off x="268" y="3253"/>
                <a:ext cx="348" cy="169"/>
              </a:xfrm>
              <a:custGeom>
                <a:avLst/>
                <a:gdLst/>
                <a:ahLst/>
                <a:cxnLst>
                  <a:cxn ang="0">
                    <a:pos x="1185" y="0"/>
                  </a:cxn>
                  <a:cxn ang="0">
                    <a:pos x="1228" y="0"/>
                  </a:cxn>
                  <a:cxn ang="0">
                    <a:pos x="1270" y="42"/>
                  </a:cxn>
                  <a:cxn ang="0">
                    <a:pos x="1355" y="85"/>
                  </a:cxn>
                  <a:cxn ang="0">
                    <a:pos x="1397" y="212"/>
                  </a:cxn>
                  <a:cxn ang="0">
                    <a:pos x="1439" y="296"/>
                  </a:cxn>
                  <a:cxn ang="0">
                    <a:pos x="1482" y="296"/>
                  </a:cxn>
                  <a:cxn ang="0">
                    <a:pos x="1482" y="381"/>
                  </a:cxn>
                  <a:cxn ang="0">
                    <a:pos x="1482" y="423"/>
                  </a:cxn>
                  <a:cxn ang="0">
                    <a:pos x="1439" y="466"/>
                  </a:cxn>
                  <a:cxn ang="0">
                    <a:pos x="1355" y="466"/>
                  </a:cxn>
                  <a:cxn ang="0">
                    <a:pos x="1312" y="550"/>
                  </a:cxn>
                  <a:cxn ang="0">
                    <a:pos x="1228" y="550"/>
                  </a:cxn>
                  <a:cxn ang="0">
                    <a:pos x="1143" y="466"/>
                  </a:cxn>
                  <a:cxn ang="0">
                    <a:pos x="1058" y="466"/>
                  </a:cxn>
                  <a:cxn ang="0">
                    <a:pos x="1016" y="508"/>
                  </a:cxn>
                  <a:cxn ang="0">
                    <a:pos x="974" y="508"/>
                  </a:cxn>
                  <a:cxn ang="0">
                    <a:pos x="847" y="508"/>
                  </a:cxn>
                  <a:cxn ang="0">
                    <a:pos x="720" y="466"/>
                  </a:cxn>
                  <a:cxn ang="0">
                    <a:pos x="508" y="550"/>
                  </a:cxn>
                  <a:cxn ang="0">
                    <a:pos x="423" y="635"/>
                  </a:cxn>
                  <a:cxn ang="0">
                    <a:pos x="381" y="720"/>
                  </a:cxn>
                  <a:cxn ang="0">
                    <a:pos x="339" y="635"/>
                  </a:cxn>
                  <a:cxn ang="0">
                    <a:pos x="381" y="550"/>
                  </a:cxn>
                  <a:cxn ang="0">
                    <a:pos x="296" y="423"/>
                  </a:cxn>
                  <a:cxn ang="0">
                    <a:pos x="339" y="381"/>
                  </a:cxn>
                  <a:cxn ang="0">
                    <a:pos x="381" y="339"/>
                  </a:cxn>
                  <a:cxn ang="0">
                    <a:pos x="339" y="381"/>
                  </a:cxn>
                  <a:cxn ang="0">
                    <a:pos x="296" y="423"/>
                  </a:cxn>
                  <a:cxn ang="0">
                    <a:pos x="212" y="339"/>
                  </a:cxn>
                  <a:cxn ang="0">
                    <a:pos x="127" y="296"/>
                  </a:cxn>
                  <a:cxn ang="0">
                    <a:pos x="85" y="212"/>
                  </a:cxn>
                  <a:cxn ang="0">
                    <a:pos x="42" y="169"/>
                  </a:cxn>
                  <a:cxn ang="0">
                    <a:pos x="85" y="127"/>
                  </a:cxn>
                  <a:cxn ang="0">
                    <a:pos x="42" y="127"/>
                  </a:cxn>
                  <a:cxn ang="0">
                    <a:pos x="0" y="127"/>
                  </a:cxn>
                  <a:cxn ang="0">
                    <a:pos x="127" y="85"/>
                  </a:cxn>
                  <a:cxn ang="0">
                    <a:pos x="254" y="0"/>
                  </a:cxn>
                  <a:cxn ang="0">
                    <a:pos x="296" y="0"/>
                  </a:cxn>
                  <a:cxn ang="0">
                    <a:pos x="296" y="42"/>
                  </a:cxn>
                  <a:cxn ang="0">
                    <a:pos x="381" y="42"/>
                  </a:cxn>
                  <a:cxn ang="0">
                    <a:pos x="466" y="85"/>
                  </a:cxn>
                  <a:cxn ang="0">
                    <a:pos x="508" y="127"/>
                  </a:cxn>
                  <a:cxn ang="0">
                    <a:pos x="593" y="85"/>
                  </a:cxn>
                  <a:cxn ang="0">
                    <a:pos x="720" y="42"/>
                  </a:cxn>
                  <a:cxn ang="0">
                    <a:pos x="804" y="85"/>
                  </a:cxn>
                  <a:cxn ang="0">
                    <a:pos x="847" y="42"/>
                  </a:cxn>
                  <a:cxn ang="0">
                    <a:pos x="931" y="0"/>
                  </a:cxn>
                  <a:cxn ang="0">
                    <a:pos x="1058" y="42"/>
                  </a:cxn>
                  <a:cxn ang="0">
                    <a:pos x="1185" y="0"/>
                  </a:cxn>
                </a:cxnLst>
                <a:rect l="0" t="0" r="r" b="b"/>
                <a:pathLst>
                  <a:path w="1482" h="720">
                    <a:moveTo>
                      <a:pt x="1185" y="0"/>
                    </a:moveTo>
                    <a:lnTo>
                      <a:pt x="1185" y="0"/>
                    </a:lnTo>
                    <a:lnTo>
                      <a:pt x="1228" y="0"/>
                    </a:lnTo>
                    <a:lnTo>
                      <a:pt x="1228" y="0"/>
                    </a:lnTo>
                    <a:lnTo>
                      <a:pt x="1228" y="42"/>
                    </a:lnTo>
                    <a:lnTo>
                      <a:pt x="1270" y="42"/>
                    </a:lnTo>
                    <a:lnTo>
                      <a:pt x="1312" y="42"/>
                    </a:lnTo>
                    <a:lnTo>
                      <a:pt x="1355" y="85"/>
                    </a:lnTo>
                    <a:lnTo>
                      <a:pt x="1355" y="127"/>
                    </a:lnTo>
                    <a:lnTo>
                      <a:pt x="1397" y="212"/>
                    </a:lnTo>
                    <a:lnTo>
                      <a:pt x="1439" y="254"/>
                    </a:lnTo>
                    <a:lnTo>
                      <a:pt x="1439" y="296"/>
                    </a:lnTo>
                    <a:lnTo>
                      <a:pt x="1439" y="296"/>
                    </a:lnTo>
                    <a:lnTo>
                      <a:pt x="1482" y="296"/>
                    </a:lnTo>
                    <a:lnTo>
                      <a:pt x="1482" y="339"/>
                    </a:lnTo>
                    <a:lnTo>
                      <a:pt x="1482" y="381"/>
                    </a:lnTo>
                    <a:lnTo>
                      <a:pt x="1482" y="381"/>
                    </a:lnTo>
                    <a:lnTo>
                      <a:pt x="1482" y="423"/>
                    </a:lnTo>
                    <a:lnTo>
                      <a:pt x="1482" y="423"/>
                    </a:lnTo>
                    <a:lnTo>
                      <a:pt x="1439" y="466"/>
                    </a:lnTo>
                    <a:lnTo>
                      <a:pt x="1355" y="466"/>
                    </a:lnTo>
                    <a:lnTo>
                      <a:pt x="1355" y="466"/>
                    </a:lnTo>
                    <a:lnTo>
                      <a:pt x="1355" y="466"/>
                    </a:lnTo>
                    <a:lnTo>
                      <a:pt x="1312" y="550"/>
                    </a:lnTo>
                    <a:lnTo>
                      <a:pt x="1312" y="550"/>
                    </a:lnTo>
                    <a:lnTo>
                      <a:pt x="1228" y="550"/>
                    </a:lnTo>
                    <a:lnTo>
                      <a:pt x="1185" y="508"/>
                    </a:lnTo>
                    <a:lnTo>
                      <a:pt x="1143" y="466"/>
                    </a:lnTo>
                    <a:lnTo>
                      <a:pt x="1143" y="466"/>
                    </a:lnTo>
                    <a:lnTo>
                      <a:pt x="1058" y="466"/>
                    </a:lnTo>
                    <a:lnTo>
                      <a:pt x="1016" y="466"/>
                    </a:lnTo>
                    <a:lnTo>
                      <a:pt x="1016" y="508"/>
                    </a:lnTo>
                    <a:lnTo>
                      <a:pt x="974" y="508"/>
                    </a:lnTo>
                    <a:lnTo>
                      <a:pt x="974" y="508"/>
                    </a:lnTo>
                    <a:lnTo>
                      <a:pt x="931" y="508"/>
                    </a:lnTo>
                    <a:lnTo>
                      <a:pt x="847" y="508"/>
                    </a:lnTo>
                    <a:lnTo>
                      <a:pt x="804" y="466"/>
                    </a:lnTo>
                    <a:lnTo>
                      <a:pt x="720" y="466"/>
                    </a:lnTo>
                    <a:lnTo>
                      <a:pt x="550" y="508"/>
                    </a:lnTo>
                    <a:lnTo>
                      <a:pt x="508" y="550"/>
                    </a:lnTo>
                    <a:lnTo>
                      <a:pt x="466" y="635"/>
                    </a:lnTo>
                    <a:lnTo>
                      <a:pt x="423" y="635"/>
                    </a:lnTo>
                    <a:lnTo>
                      <a:pt x="381" y="720"/>
                    </a:lnTo>
                    <a:lnTo>
                      <a:pt x="381" y="720"/>
                    </a:lnTo>
                    <a:lnTo>
                      <a:pt x="381" y="677"/>
                    </a:lnTo>
                    <a:lnTo>
                      <a:pt x="339" y="635"/>
                    </a:lnTo>
                    <a:lnTo>
                      <a:pt x="381" y="593"/>
                    </a:lnTo>
                    <a:lnTo>
                      <a:pt x="381" y="550"/>
                    </a:lnTo>
                    <a:lnTo>
                      <a:pt x="381" y="508"/>
                    </a:lnTo>
                    <a:lnTo>
                      <a:pt x="296" y="423"/>
                    </a:lnTo>
                    <a:lnTo>
                      <a:pt x="339" y="423"/>
                    </a:lnTo>
                    <a:lnTo>
                      <a:pt x="339" y="381"/>
                    </a:lnTo>
                    <a:lnTo>
                      <a:pt x="381" y="339"/>
                    </a:lnTo>
                    <a:lnTo>
                      <a:pt x="381" y="339"/>
                    </a:lnTo>
                    <a:lnTo>
                      <a:pt x="339" y="381"/>
                    </a:lnTo>
                    <a:lnTo>
                      <a:pt x="339" y="381"/>
                    </a:lnTo>
                    <a:lnTo>
                      <a:pt x="296" y="423"/>
                    </a:lnTo>
                    <a:lnTo>
                      <a:pt x="296" y="423"/>
                    </a:lnTo>
                    <a:lnTo>
                      <a:pt x="254" y="381"/>
                    </a:lnTo>
                    <a:lnTo>
                      <a:pt x="212" y="339"/>
                    </a:lnTo>
                    <a:lnTo>
                      <a:pt x="169" y="339"/>
                    </a:lnTo>
                    <a:lnTo>
                      <a:pt x="127" y="296"/>
                    </a:lnTo>
                    <a:lnTo>
                      <a:pt x="85" y="296"/>
                    </a:lnTo>
                    <a:lnTo>
                      <a:pt x="85" y="212"/>
                    </a:lnTo>
                    <a:lnTo>
                      <a:pt x="42" y="212"/>
                    </a:lnTo>
                    <a:lnTo>
                      <a:pt x="42" y="169"/>
                    </a:lnTo>
                    <a:lnTo>
                      <a:pt x="42" y="127"/>
                    </a:lnTo>
                    <a:lnTo>
                      <a:pt x="85" y="127"/>
                    </a:lnTo>
                    <a:lnTo>
                      <a:pt x="85" y="127"/>
                    </a:lnTo>
                    <a:lnTo>
                      <a:pt x="42" y="127"/>
                    </a:lnTo>
                    <a:lnTo>
                      <a:pt x="0" y="127"/>
                    </a:lnTo>
                    <a:lnTo>
                      <a:pt x="0" y="127"/>
                    </a:lnTo>
                    <a:lnTo>
                      <a:pt x="0" y="127"/>
                    </a:lnTo>
                    <a:lnTo>
                      <a:pt x="127" y="85"/>
                    </a:lnTo>
                    <a:lnTo>
                      <a:pt x="254" y="42"/>
                    </a:lnTo>
                    <a:lnTo>
                      <a:pt x="254" y="0"/>
                    </a:lnTo>
                    <a:lnTo>
                      <a:pt x="254" y="0"/>
                    </a:lnTo>
                    <a:lnTo>
                      <a:pt x="296" y="0"/>
                    </a:lnTo>
                    <a:lnTo>
                      <a:pt x="296" y="0"/>
                    </a:lnTo>
                    <a:lnTo>
                      <a:pt x="296" y="42"/>
                    </a:lnTo>
                    <a:lnTo>
                      <a:pt x="339" y="42"/>
                    </a:lnTo>
                    <a:lnTo>
                      <a:pt x="381" y="42"/>
                    </a:lnTo>
                    <a:lnTo>
                      <a:pt x="423" y="85"/>
                    </a:lnTo>
                    <a:lnTo>
                      <a:pt x="466" y="85"/>
                    </a:lnTo>
                    <a:lnTo>
                      <a:pt x="508" y="127"/>
                    </a:lnTo>
                    <a:lnTo>
                      <a:pt x="508" y="127"/>
                    </a:lnTo>
                    <a:lnTo>
                      <a:pt x="550" y="127"/>
                    </a:lnTo>
                    <a:lnTo>
                      <a:pt x="593" y="85"/>
                    </a:lnTo>
                    <a:lnTo>
                      <a:pt x="635" y="85"/>
                    </a:lnTo>
                    <a:lnTo>
                      <a:pt x="720" y="42"/>
                    </a:lnTo>
                    <a:lnTo>
                      <a:pt x="720" y="42"/>
                    </a:lnTo>
                    <a:lnTo>
                      <a:pt x="804" y="85"/>
                    </a:lnTo>
                    <a:lnTo>
                      <a:pt x="847" y="42"/>
                    </a:lnTo>
                    <a:lnTo>
                      <a:pt x="847" y="42"/>
                    </a:lnTo>
                    <a:lnTo>
                      <a:pt x="931" y="0"/>
                    </a:lnTo>
                    <a:lnTo>
                      <a:pt x="931" y="0"/>
                    </a:lnTo>
                    <a:lnTo>
                      <a:pt x="1016" y="0"/>
                    </a:lnTo>
                    <a:lnTo>
                      <a:pt x="1058" y="42"/>
                    </a:lnTo>
                    <a:lnTo>
                      <a:pt x="1143" y="0"/>
                    </a:lnTo>
                    <a:lnTo>
                      <a:pt x="1185" y="0"/>
                    </a:lnTo>
                    <a:lnTo>
                      <a:pt x="1185" y="0"/>
                    </a:lnTo>
                    <a:close/>
                  </a:path>
                </a:pathLst>
              </a:custGeom>
              <a:grpFill/>
              <a:ln w="12700" cap="flat" cmpd="sng">
                <a:solidFill>
                  <a:schemeClr val="tx1"/>
                </a:solidFill>
                <a:prstDash val="solid"/>
                <a:bevel/>
                <a:headEnd/>
                <a:tailEnd/>
              </a:ln>
            </p:spPr>
            <p:txBody>
              <a:bodyPr/>
              <a:lstStyle/>
              <a:p>
                <a:endParaRPr lang="nl-NL"/>
              </a:p>
            </p:txBody>
          </p:sp>
          <p:sp>
            <p:nvSpPr>
              <p:cNvPr id="66" name="Freeform 557">
                <a:extLst>
                  <a:ext uri="{FF2B5EF4-FFF2-40B4-BE49-F238E27FC236}">
                    <a16:creationId xmlns:a16="http://schemas.microsoft.com/office/drawing/2014/main" id="{EB61A5A2-5A0A-F77A-13FD-AFE504961AFD}"/>
                  </a:ext>
                </a:extLst>
              </p:cNvPr>
              <p:cNvSpPr>
                <a:spLocks/>
              </p:cNvSpPr>
              <p:nvPr/>
            </p:nvSpPr>
            <p:spPr bwMode="auto">
              <a:xfrm>
                <a:off x="1073" y="2794"/>
                <a:ext cx="238" cy="199"/>
              </a:xfrm>
              <a:custGeom>
                <a:avLst/>
                <a:gdLst/>
                <a:ahLst/>
                <a:cxnLst>
                  <a:cxn ang="0">
                    <a:pos x="550" y="84"/>
                  </a:cxn>
                  <a:cxn ang="0">
                    <a:pos x="592" y="84"/>
                  </a:cxn>
                  <a:cxn ang="0">
                    <a:pos x="635" y="42"/>
                  </a:cxn>
                  <a:cxn ang="0">
                    <a:pos x="719" y="42"/>
                  </a:cxn>
                  <a:cxn ang="0">
                    <a:pos x="762" y="84"/>
                  </a:cxn>
                  <a:cxn ang="0">
                    <a:pos x="846" y="0"/>
                  </a:cxn>
                  <a:cxn ang="0">
                    <a:pos x="846" y="42"/>
                  </a:cxn>
                  <a:cxn ang="0">
                    <a:pos x="846" y="42"/>
                  </a:cxn>
                  <a:cxn ang="0">
                    <a:pos x="889" y="84"/>
                  </a:cxn>
                  <a:cxn ang="0">
                    <a:pos x="889" y="84"/>
                  </a:cxn>
                  <a:cxn ang="0">
                    <a:pos x="889" y="211"/>
                  </a:cxn>
                  <a:cxn ang="0">
                    <a:pos x="846" y="211"/>
                  </a:cxn>
                  <a:cxn ang="0">
                    <a:pos x="846" y="338"/>
                  </a:cxn>
                  <a:cxn ang="0">
                    <a:pos x="846" y="338"/>
                  </a:cxn>
                  <a:cxn ang="0">
                    <a:pos x="931" y="338"/>
                  </a:cxn>
                  <a:cxn ang="0">
                    <a:pos x="889" y="338"/>
                  </a:cxn>
                  <a:cxn ang="0">
                    <a:pos x="931" y="381"/>
                  </a:cxn>
                  <a:cxn ang="0">
                    <a:pos x="973" y="381"/>
                  </a:cxn>
                  <a:cxn ang="0">
                    <a:pos x="1016" y="423"/>
                  </a:cxn>
                  <a:cxn ang="0">
                    <a:pos x="1016" y="423"/>
                  </a:cxn>
                  <a:cxn ang="0">
                    <a:pos x="1016" y="465"/>
                  </a:cxn>
                  <a:cxn ang="0">
                    <a:pos x="973" y="550"/>
                  </a:cxn>
                  <a:cxn ang="0">
                    <a:pos x="889" y="762"/>
                  </a:cxn>
                  <a:cxn ang="0">
                    <a:pos x="889" y="762"/>
                  </a:cxn>
                  <a:cxn ang="0">
                    <a:pos x="846" y="846"/>
                  </a:cxn>
                  <a:cxn ang="0">
                    <a:pos x="762" y="804"/>
                  </a:cxn>
                  <a:cxn ang="0">
                    <a:pos x="719" y="804"/>
                  </a:cxn>
                  <a:cxn ang="0">
                    <a:pos x="635" y="719"/>
                  </a:cxn>
                  <a:cxn ang="0">
                    <a:pos x="465" y="677"/>
                  </a:cxn>
                  <a:cxn ang="0">
                    <a:pos x="465" y="677"/>
                  </a:cxn>
                  <a:cxn ang="0">
                    <a:pos x="465" y="635"/>
                  </a:cxn>
                  <a:cxn ang="0">
                    <a:pos x="381" y="635"/>
                  </a:cxn>
                  <a:cxn ang="0">
                    <a:pos x="296" y="592"/>
                  </a:cxn>
                  <a:cxn ang="0">
                    <a:pos x="211" y="592"/>
                  </a:cxn>
                  <a:cxn ang="0">
                    <a:pos x="211" y="550"/>
                  </a:cxn>
                  <a:cxn ang="0">
                    <a:pos x="84" y="508"/>
                  </a:cxn>
                  <a:cxn ang="0">
                    <a:pos x="42" y="465"/>
                  </a:cxn>
                  <a:cxn ang="0">
                    <a:pos x="0" y="381"/>
                  </a:cxn>
                  <a:cxn ang="0">
                    <a:pos x="0" y="381"/>
                  </a:cxn>
                  <a:cxn ang="0">
                    <a:pos x="42" y="381"/>
                  </a:cxn>
                  <a:cxn ang="0">
                    <a:pos x="42" y="381"/>
                  </a:cxn>
                  <a:cxn ang="0">
                    <a:pos x="84" y="338"/>
                  </a:cxn>
                  <a:cxn ang="0">
                    <a:pos x="84" y="338"/>
                  </a:cxn>
                  <a:cxn ang="0">
                    <a:pos x="169" y="211"/>
                  </a:cxn>
                  <a:cxn ang="0">
                    <a:pos x="169" y="169"/>
                  </a:cxn>
                  <a:cxn ang="0">
                    <a:pos x="211" y="169"/>
                  </a:cxn>
                  <a:cxn ang="0">
                    <a:pos x="338" y="169"/>
                  </a:cxn>
                  <a:cxn ang="0">
                    <a:pos x="338" y="211"/>
                  </a:cxn>
                  <a:cxn ang="0">
                    <a:pos x="381" y="169"/>
                  </a:cxn>
                  <a:cxn ang="0">
                    <a:pos x="423" y="127"/>
                  </a:cxn>
                  <a:cxn ang="0">
                    <a:pos x="465" y="127"/>
                  </a:cxn>
                  <a:cxn ang="0">
                    <a:pos x="550" y="84"/>
                  </a:cxn>
                  <a:cxn ang="0">
                    <a:pos x="550" y="84"/>
                  </a:cxn>
                </a:cxnLst>
                <a:rect l="0" t="0" r="r" b="b"/>
                <a:pathLst>
                  <a:path w="1016" h="846">
                    <a:moveTo>
                      <a:pt x="550" y="84"/>
                    </a:moveTo>
                    <a:lnTo>
                      <a:pt x="592" y="84"/>
                    </a:lnTo>
                    <a:lnTo>
                      <a:pt x="635" y="42"/>
                    </a:lnTo>
                    <a:lnTo>
                      <a:pt x="719" y="42"/>
                    </a:lnTo>
                    <a:lnTo>
                      <a:pt x="762" y="84"/>
                    </a:lnTo>
                    <a:lnTo>
                      <a:pt x="846" y="0"/>
                    </a:lnTo>
                    <a:lnTo>
                      <a:pt x="846" y="42"/>
                    </a:lnTo>
                    <a:lnTo>
                      <a:pt x="846" y="42"/>
                    </a:lnTo>
                    <a:lnTo>
                      <a:pt x="889" y="84"/>
                    </a:lnTo>
                    <a:lnTo>
                      <a:pt x="889" y="84"/>
                    </a:lnTo>
                    <a:lnTo>
                      <a:pt x="889" y="211"/>
                    </a:lnTo>
                    <a:lnTo>
                      <a:pt x="846" y="211"/>
                    </a:lnTo>
                    <a:lnTo>
                      <a:pt x="846" y="338"/>
                    </a:lnTo>
                    <a:lnTo>
                      <a:pt x="846" y="338"/>
                    </a:lnTo>
                    <a:lnTo>
                      <a:pt x="931" y="338"/>
                    </a:lnTo>
                    <a:lnTo>
                      <a:pt x="889" y="338"/>
                    </a:lnTo>
                    <a:lnTo>
                      <a:pt x="931" y="381"/>
                    </a:lnTo>
                    <a:lnTo>
                      <a:pt x="973" y="381"/>
                    </a:lnTo>
                    <a:lnTo>
                      <a:pt x="1016" y="423"/>
                    </a:lnTo>
                    <a:lnTo>
                      <a:pt x="1016" y="423"/>
                    </a:lnTo>
                    <a:lnTo>
                      <a:pt x="1016" y="465"/>
                    </a:lnTo>
                    <a:lnTo>
                      <a:pt x="973" y="550"/>
                    </a:lnTo>
                    <a:lnTo>
                      <a:pt x="889" y="762"/>
                    </a:lnTo>
                    <a:lnTo>
                      <a:pt x="889" y="762"/>
                    </a:lnTo>
                    <a:lnTo>
                      <a:pt x="846" y="846"/>
                    </a:lnTo>
                    <a:lnTo>
                      <a:pt x="762" y="804"/>
                    </a:lnTo>
                    <a:lnTo>
                      <a:pt x="719" y="804"/>
                    </a:lnTo>
                    <a:lnTo>
                      <a:pt x="635" y="719"/>
                    </a:lnTo>
                    <a:lnTo>
                      <a:pt x="465" y="677"/>
                    </a:lnTo>
                    <a:lnTo>
                      <a:pt x="465" y="677"/>
                    </a:lnTo>
                    <a:lnTo>
                      <a:pt x="465" y="635"/>
                    </a:lnTo>
                    <a:lnTo>
                      <a:pt x="381" y="635"/>
                    </a:lnTo>
                    <a:lnTo>
                      <a:pt x="296" y="592"/>
                    </a:lnTo>
                    <a:lnTo>
                      <a:pt x="211" y="592"/>
                    </a:lnTo>
                    <a:lnTo>
                      <a:pt x="211" y="550"/>
                    </a:lnTo>
                    <a:lnTo>
                      <a:pt x="84" y="508"/>
                    </a:lnTo>
                    <a:lnTo>
                      <a:pt x="42" y="465"/>
                    </a:lnTo>
                    <a:lnTo>
                      <a:pt x="0" y="381"/>
                    </a:lnTo>
                    <a:lnTo>
                      <a:pt x="0" y="381"/>
                    </a:lnTo>
                    <a:lnTo>
                      <a:pt x="42" y="381"/>
                    </a:lnTo>
                    <a:lnTo>
                      <a:pt x="42" y="381"/>
                    </a:lnTo>
                    <a:lnTo>
                      <a:pt x="84" y="338"/>
                    </a:lnTo>
                    <a:lnTo>
                      <a:pt x="84" y="338"/>
                    </a:lnTo>
                    <a:lnTo>
                      <a:pt x="169" y="211"/>
                    </a:lnTo>
                    <a:lnTo>
                      <a:pt x="169" y="169"/>
                    </a:lnTo>
                    <a:lnTo>
                      <a:pt x="211" y="169"/>
                    </a:lnTo>
                    <a:lnTo>
                      <a:pt x="338" y="169"/>
                    </a:lnTo>
                    <a:lnTo>
                      <a:pt x="338" y="211"/>
                    </a:lnTo>
                    <a:lnTo>
                      <a:pt x="381" y="169"/>
                    </a:lnTo>
                    <a:lnTo>
                      <a:pt x="423" y="127"/>
                    </a:lnTo>
                    <a:lnTo>
                      <a:pt x="465" y="127"/>
                    </a:lnTo>
                    <a:lnTo>
                      <a:pt x="550" y="84"/>
                    </a:lnTo>
                    <a:lnTo>
                      <a:pt x="550" y="84"/>
                    </a:lnTo>
                    <a:close/>
                  </a:path>
                </a:pathLst>
              </a:custGeom>
              <a:grpFill/>
              <a:ln w="12700" cap="flat" cmpd="sng">
                <a:solidFill>
                  <a:schemeClr val="tx1"/>
                </a:solidFill>
                <a:prstDash val="solid"/>
                <a:bevel/>
                <a:headEnd/>
                <a:tailEnd/>
              </a:ln>
            </p:spPr>
            <p:txBody>
              <a:bodyPr/>
              <a:lstStyle/>
              <a:p>
                <a:endParaRPr lang="nl-NL"/>
              </a:p>
            </p:txBody>
          </p:sp>
        </p:grpSp>
        <p:grpSp>
          <p:nvGrpSpPr>
            <p:cNvPr id="56" name="Group 558">
              <a:extLst>
                <a:ext uri="{FF2B5EF4-FFF2-40B4-BE49-F238E27FC236}">
                  <a16:creationId xmlns:a16="http://schemas.microsoft.com/office/drawing/2014/main" id="{8A3CA97B-C223-2F2D-8F48-35742816BECA}"/>
                </a:ext>
              </a:extLst>
            </p:cNvPr>
            <p:cNvGrpSpPr>
              <a:grpSpLocks/>
            </p:cNvGrpSpPr>
            <p:nvPr/>
          </p:nvGrpSpPr>
          <p:grpSpPr bwMode="auto">
            <a:xfrm>
              <a:off x="4038692" y="4915328"/>
              <a:ext cx="1541359" cy="1673099"/>
              <a:chOff x="1761" y="1609"/>
              <a:chExt cx="585" cy="635"/>
            </a:xfrm>
            <a:noFill/>
          </p:grpSpPr>
          <p:sp>
            <p:nvSpPr>
              <p:cNvPr id="58" name="Freeform 559">
                <a:extLst>
                  <a:ext uri="{FF2B5EF4-FFF2-40B4-BE49-F238E27FC236}">
                    <a16:creationId xmlns:a16="http://schemas.microsoft.com/office/drawing/2014/main" id="{E3B65CEF-37CA-BCBF-8D1D-EBC6FAD4BA8D}"/>
                  </a:ext>
                </a:extLst>
              </p:cNvPr>
              <p:cNvSpPr>
                <a:spLocks noEditPoints="1"/>
              </p:cNvSpPr>
              <p:nvPr/>
            </p:nvSpPr>
            <p:spPr bwMode="auto">
              <a:xfrm>
                <a:off x="1761" y="1862"/>
                <a:ext cx="481" cy="382"/>
              </a:xfrm>
              <a:custGeom>
                <a:avLst/>
                <a:gdLst/>
                <a:ahLst/>
                <a:cxnLst>
                  <a:cxn ang="0">
                    <a:pos x="2837" y="42"/>
                  </a:cxn>
                  <a:cxn ang="0">
                    <a:pos x="2498" y="127"/>
                  </a:cxn>
                  <a:cxn ang="0">
                    <a:pos x="2117" y="465"/>
                  </a:cxn>
                  <a:cxn ang="0">
                    <a:pos x="2075" y="508"/>
                  </a:cxn>
                  <a:cxn ang="0">
                    <a:pos x="1863" y="508"/>
                  </a:cxn>
                  <a:cxn ang="0">
                    <a:pos x="1821" y="677"/>
                  </a:cxn>
                  <a:cxn ang="0">
                    <a:pos x="1778" y="719"/>
                  </a:cxn>
                  <a:cxn ang="0">
                    <a:pos x="1778" y="804"/>
                  </a:cxn>
                  <a:cxn ang="0">
                    <a:pos x="1778" y="889"/>
                  </a:cxn>
                  <a:cxn ang="0">
                    <a:pos x="1651" y="931"/>
                  </a:cxn>
                  <a:cxn ang="0">
                    <a:pos x="1567" y="1058"/>
                  </a:cxn>
                  <a:cxn ang="0">
                    <a:pos x="1482" y="1058"/>
                  </a:cxn>
                  <a:cxn ang="0">
                    <a:pos x="762" y="1566"/>
                  </a:cxn>
                  <a:cxn ang="0">
                    <a:pos x="635" y="1693"/>
                  </a:cxn>
                  <a:cxn ang="0">
                    <a:pos x="593" y="1735"/>
                  </a:cxn>
                  <a:cxn ang="0">
                    <a:pos x="525" y="1735"/>
                  </a:cxn>
                  <a:cxn ang="0">
                    <a:pos x="212" y="1947"/>
                  </a:cxn>
                  <a:cxn ang="0">
                    <a:pos x="0" y="2074"/>
                  </a:cxn>
                  <a:cxn ang="0">
                    <a:pos x="85" y="2201"/>
                  </a:cxn>
                  <a:cxn ang="0">
                    <a:pos x="85" y="2413"/>
                  </a:cxn>
                  <a:cxn ang="0">
                    <a:pos x="85" y="2455"/>
                  </a:cxn>
                  <a:cxn ang="0">
                    <a:pos x="85" y="2540"/>
                  </a:cxn>
                  <a:cxn ang="0">
                    <a:pos x="170" y="2540"/>
                  </a:cxn>
                  <a:cxn ang="0">
                    <a:pos x="381" y="2497"/>
                  </a:cxn>
                  <a:cxn ang="0">
                    <a:pos x="466" y="2497"/>
                  </a:cxn>
                  <a:cxn ang="0">
                    <a:pos x="551" y="2540"/>
                  </a:cxn>
                  <a:cxn ang="0">
                    <a:pos x="678" y="2540"/>
                  </a:cxn>
                  <a:cxn ang="0">
                    <a:pos x="889" y="2667"/>
                  </a:cxn>
                  <a:cxn ang="0">
                    <a:pos x="1101" y="2794"/>
                  </a:cxn>
                  <a:cxn ang="0">
                    <a:pos x="1524" y="3217"/>
                  </a:cxn>
                  <a:cxn ang="0">
                    <a:pos x="1651" y="3259"/>
                  </a:cxn>
                  <a:cxn ang="0">
                    <a:pos x="1948" y="3132"/>
                  </a:cxn>
                  <a:cxn ang="0">
                    <a:pos x="2075" y="3132"/>
                  </a:cxn>
                  <a:cxn ang="0">
                    <a:pos x="2244" y="3048"/>
                  </a:cxn>
                  <a:cxn ang="0">
                    <a:pos x="2329" y="2878"/>
                  </a:cxn>
                  <a:cxn ang="0">
                    <a:pos x="2371" y="2709"/>
                  </a:cxn>
                  <a:cxn ang="0">
                    <a:pos x="2413" y="2624"/>
                  </a:cxn>
                  <a:cxn ang="0">
                    <a:pos x="2413" y="2540"/>
                  </a:cxn>
                  <a:cxn ang="0">
                    <a:pos x="2371" y="2497"/>
                  </a:cxn>
                  <a:cxn ang="0">
                    <a:pos x="2329" y="2370"/>
                  </a:cxn>
                  <a:cxn ang="0">
                    <a:pos x="2498" y="2201"/>
                  </a:cxn>
                  <a:cxn ang="0">
                    <a:pos x="2710" y="2201"/>
                  </a:cxn>
                  <a:cxn ang="0">
                    <a:pos x="2794" y="2159"/>
                  </a:cxn>
                  <a:cxn ang="0">
                    <a:pos x="2794" y="2116"/>
                  </a:cxn>
                  <a:cxn ang="0">
                    <a:pos x="2879" y="2032"/>
                  </a:cxn>
                  <a:cxn ang="0">
                    <a:pos x="3345" y="1735"/>
                  </a:cxn>
                  <a:cxn ang="0">
                    <a:pos x="3429" y="1735"/>
                  </a:cxn>
                  <a:cxn ang="0">
                    <a:pos x="3514" y="1778"/>
                  </a:cxn>
                  <a:cxn ang="0">
                    <a:pos x="3726" y="1566"/>
                  </a:cxn>
                  <a:cxn ang="0">
                    <a:pos x="3853" y="1397"/>
                  </a:cxn>
                  <a:cxn ang="0">
                    <a:pos x="3937" y="1270"/>
                  </a:cxn>
                  <a:cxn ang="0">
                    <a:pos x="4107" y="931"/>
                  </a:cxn>
                  <a:cxn ang="0">
                    <a:pos x="4107" y="804"/>
                  </a:cxn>
                  <a:cxn ang="0">
                    <a:pos x="4064" y="508"/>
                  </a:cxn>
                  <a:cxn ang="0">
                    <a:pos x="3853" y="254"/>
                  </a:cxn>
                  <a:cxn ang="0">
                    <a:pos x="3599" y="254"/>
                  </a:cxn>
                  <a:cxn ang="0">
                    <a:pos x="3387" y="211"/>
                  </a:cxn>
                  <a:cxn ang="0">
                    <a:pos x="2964" y="84"/>
                  </a:cxn>
                  <a:cxn ang="0">
                    <a:pos x="2879" y="0"/>
                  </a:cxn>
                  <a:cxn ang="0">
                    <a:pos x="593" y="1693"/>
                  </a:cxn>
                  <a:cxn ang="0">
                    <a:pos x="525" y="1735"/>
                  </a:cxn>
                </a:cxnLst>
                <a:rect l="0" t="0" r="r" b="b"/>
                <a:pathLst>
                  <a:path w="4107" h="3259">
                    <a:moveTo>
                      <a:pt x="2879" y="0"/>
                    </a:moveTo>
                    <a:lnTo>
                      <a:pt x="2837" y="42"/>
                    </a:lnTo>
                    <a:lnTo>
                      <a:pt x="2540" y="127"/>
                    </a:lnTo>
                    <a:lnTo>
                      <a:pt x="2498" y="127"/>
                    </a:lnTo>
                    <a:lnTo>
                      <a:pt x="2456" y="169"/>
                    </a:lnTo>
                    <a:lnTo>
                      <a:pt x="2117" y="465"/>
                    </a:lnTo>
                    <a:lnTo>
                      <a:pt x="2117" y="508"/>
                    </a:lnTo>
                    <a:lnTo>
                      <a:pt x="2075" y="508"/>
                    </a:lnTo>
                    <a:lnTo>
                      <a:pt x="1905" y="508"/>
                    </a:lnTo>
                    <a:lnTo>
                      <a:pt x="1863" y="508"/>
                    </a:lnTo>
                    <a:lnTo>
                      <a:pt x="1863" y="550"/>
                    </a:lnTo>
                    <a:lnTo>
                      <a:pt x="1821" y="677"/>
                    </a:lnTo>
                    <a:lnTo>
                      <a:pt x="1821" y="635"/>
                    </a:lnTo>
                    <a:lnTo>
                      <a:pt x="1778" y="719"/>
                    </a:lnTo>
                    <a:lnTo>
                      <a:pt x="1778" y="762"/>
                    </a:lnTo>
                    <a:lnTo>
                      <a:pt x="1778" y="804"/>
                    </a:lnTo>
                    <a:lnTo>
                      <a:pt x="1778" y="846"/>
                    </a:lnTo>
                    <a:lnTo>
                      <a:pt x="1778" y="889"/>
                    </a:lnTo>
                    <a:lnTo>
                      <a:pt x="1694" y="931"/>
                    </a:lnTo>
                    <a:lnTo>
                      <a:pt x="1651" y="931"/>
                    </a:lnTo>
                    <a:lnTo>
                      <a:pt x="1609" y="973"/>
                    </a:lnTo>
                    <a:lnTo>
                      <a:pt x="1567" y="1058"/>
                    </a:lnTo>
                    <a:lnTo>
                      <a:pt x="1524" y="1058"/>
                    </a:lnTo>
                    <a:lnTo>
                      <a:pt x="1482" y="1058"/>
                    </a:lnTo>
                    <a:lnTo>
                      <a:pt x="1482" y="1100"/>
                    </a:lnTo>
                    <a:lnTo>
                      <a:pt x="762" y="1566"/>
                    </a:lnTo>
                    <a:lnTo>
                      <a:pt x="635" y="1651"/>
                    </a:lnTo>
                    <a:lnTo>
                      <a:pt x="635" y="1693"/>
                    </a:lnTo>
                    <a:lnTo>
                      <a:pt x="593" y="1693"/>
                    </a:lnTo>
                    <a:lnTo>
                      <a:pt x="593" y="1735"/>
                    </a:lnTo>
                    <a:lnTo>
                      <a:pt x="551" y="1735"/>
                    </a:lnTo>
                    <a:lnTo>
                      <a:pt x="525" y="1735"/>
                    </a:lnTo>
                    <a:lnTo>
                      <a:pt x="254" y="1905"/>
                    </a:lnTo>
                    <a:lnTo>
                      <a:pt x="212" y="1947"/>
                    </a:lnTo>
                    <a:lnTo>
                      <a:pt x="43" y="2074"/>
                    </a:lnTo>
                    <a:lnTo>
                      <a:pt x="0" y="2074"/>
                    </a:lnTo>
                    <a:lnTo>
                      <a:pt x="0" y="2116"/>
                    </a:lnTo>
                    <a:lnTo>
                      <a:pt x="85" y="2201"/>
                    </a:lnTo>
                    <a:lnTo>
                      <a:pt x="85" y="2286"/>
                    </a:lnTo>
                    <a:lnTo>
                      <a:pt x="85" y="2413"/>
                    </a:lnTo>
                    <a:lnTo>
                      <a:pt x="43" y="2455"/>
                    </a:lnTo>
                    <a:lnTo>
                      <a:pt x="85" y="2455"/>
                    </a:lnTo>
                    <a:lnTo>
                      <a:pt x="127" y="2540"/>
                    </a:lnTo>
                    <a:lnTo>
                      <a:pt x="85" y="2540"/>
                    </a:lnTo>
                    <a:lnTo>
                      <a:pt x="127" y="2582"/>
                    </a:lnTo>
                    <a:lnTo>
                      <a:pt x="170" y="2540"/>
                    </a:lnTo>
                    <a:lnTo>
                      <a:pt x="212" y="2540"/>
                    </a:lnTo>
                    <a:lnTo>
                      <a:pt x="381" y="2497"/>
                    </a:lnTo>
                    <a:lnTo>
                      <a:pt x="424" y="2497"/>
                    </a:lnTo>
                    <a:lnTo>
                      <a:pt x="466" y="2497"/>
                    </a:lnTo>
                    <a:lnTo>
                      <a:pt x="508" y="2540"/>
                    </a:lnTo>
                    <a:lnTo>
                      <a:pt x="551" y="2540"/>
                    </a:lnTo>
                    <a:lnTo>
                      <a:pt x="593" y="2540"/>
                    </a:lnTo>
                    <a:lnTo>
                      <a:pt x="678" y="2540"/>
                    </a:lnTo>
                    <a:lnTo>
                      <a:pt x="805" y="2582"/>
                    </a:lnTo>
                    <a:lnTo>
                      <a:pt x="889" y="2667"/>
                    </a:lnTo>
                    <a:lnTo>
                      <a:pt x="1016" y="2709"/>
                    </a:lnTo>
                    <a:lnTo>
                      <a:pt x="1101" y="2794"/>
                    </a:lnTo>
                    <a:lnTo>
                      <a:pt x="1482" y="3132"/>
                    </a:lnTo>
                    <a:lnTo>
                      <a:pt x="1524" y="3217"/>
                    </a:lnTo>
                    <a:lnTo>
                      <a:pt x="1567" y="3217"/>
                    </a:lnTo>
                    <a:lnTo>
                      <a:pt x="1651" y="3259"/>
                    </a:lnTo>
                    <a:lnTo>
                      <a:pt x="1736" y="3217"/>
                    </a:lnTo>
                    <a:lnTo>
                      <a:pt x="1948" y="3132"/>
                    </a:lnTo>
                    <a:lnTo>
                      <a:pt x="1990" y="3132"/>
                    </a:lnTo>
                    <a:lnTo>
                      <a:pt x="2075" y="3132"/>
                    </a:lnTo>
                    <a:lnTo>
                      <a:pt x="2117" y="3090"/>
                    </a:lnTo>
                    <a:lnTo>
                      <a:pt x="2244" y="3048"/>
                    </a:lnTo>
                    <a:lnTo>
                      <a:pt x="2286" y="3048"/>
                    </a:lnTo>
                    <a:lnTo>
                      <a:pt x="2329" y="2878"/>
                    </a:lnTo>
                    <a:lnTo>
                      <a:pt x="2371" y="2836"/>
                    </a:lnTo>
                    <a:lnTo>
                      <a:pt x="2371" y="2709"/>
                    </a:lnTo>
                    <a:lnTo>
                      <a:pt x="2413" y="2709"/>
                    </a:lnTo>
                    <a:lnTo>
                      <a:pt x="2413" y="2624"/>
                    </a:lnTo>
                    <a:lnTo>
                      <a:pt x="2413" y="2582"/>
                    </a:lnTo>
                    <a:lnTo>
                      <a:pt x="2413" y="2540"/>
                    </a:lnTo>
                    <a:lnTo>
                      <a:pt x="2413" y="2497"/>
                    </a:lnTo>
                    <a:lnTo>
                      <a:pt x="2371" y="2497"/>
                    </a:lnTo>
                    <a:lnTo>
                      <a:pt x="2371" y="2455"/>
                    </a:lnTo>
                    <a:lnTo>
                      <a:pt x="2329" y="2370"/>
                    </a:lnTo>
                    <a:lnTo>
                      <a:pt x="2371" y="2328"/>
                    </a:lnTo>
                    <a:lnTo>
                      <a:pt x="2498" y="2201"/>
                    </a:lnTo>
                    <a:lnTo>
                      <a:pt x="2583" y="2243"/>
                    </a:lnTo>
                    <a:lnTo>
                      <a:pt x="2710" y="2201"/>
                    </a:lnTo>
                    <a:lnTo>
                      <a:pt x="2752" y="2201"/>
                    </a:lnTo>
                    <a:lnTo>
                      <a:pt x="2794" y="2159"/>
                    </a:lnTo>
                    <a:lnTo>
                      <a:pt x="2752" y="2159"/>
                    </a:lnTo>
                    <a:lnTo>
                      <a:pt x="2794" y="2116"/>
                    </a:lnTo>
                    <a:lnTo>
                      <a:pt x="2837" y="2074"/>
                    </a:lnTo>
                    <a:lnTo>
                      <a:pt x="2879" y="2032"/>
                    </a:lnTo>
                    <a:lnTo>
                      <a:pt x="3006" y="1905"/>
                    </a:lnTo>
                    <a:lnTo>
                      <a:pt x="3345" y="1735"/>
                    </a:lnTo>
                    <a:lnTo>
                      <a:pt x="3387" y="1735"/>
                    </a:lnTo>
                    <a:lnTo>
                      <a:pt x="3429" y="1735"/>
                    </a:lnTo>
                    <a:lnTo>
                      <a:pt x="3472" y="1778"/>
                    </a:lnTo>
                    <a:lnTo>
                      <a:pt x="3514" y="1778"/>
                    </a:lnTo>
                    <a:lnTo>
                      <a:pt x="3683" y="1651"/>
                    </a:lnTo>
                    <a:lnTo>
                      <a:pt x="3726" y="1566"/>
                    </a:lnTo>
                    <a:lnTo>
                      <a:pt x="3810" y="1481"/>
                    </a:lnTo>
                    <a:lnTo>
                      <a:pt x="3853" y="1397"/>
                    </a:lnTo>
                    <a:lnTo>
                      <a:pt x="3895" y="1354"/>
                    </a:lnTo>
                    <a:lnTo>
                      <a:pt x="3937" y="1270"/>
                    </a:lnTo>
                    <a:lnTo>
                      <a:pt x="4064" y="1016"/>
                    </a:lnTo>
                    <a:lnTo>
                      <a:pt x="4107" y="931"/>
                    </a:lnTo>
                    <a:lnTo>
                      <a:pt x="4107" y="889"/>
                    </a:lnTo>
                    <a:lnTo>
                      <a:pt x="4107" y="804"/>
                    </a:lnTo>
                    <a:lnTo>
                      <a:pt x="4107" y="592"/>
                    </a:lnTo>
                    <a:lnTo>
                      <a:pt x="4064" y="508"/>
                    </a:lnTo>
                    <a:lnTo>
                      <a:pt x="3853" y="296"/>
                    </a:lnTo>
                    <a:lnTo>
                      <a:pt x="3853" y="254"/>
                    </a:lnTo>
                    <a:lnTo>
                      <a:pt x="3810" y="254"/>
                    </a:lnTo>
                    <a:lnTo>
                      <a:pt x="3599" y="254"/>
                    </a:lnTo>
                    <a:lnTo>
                      <a:pt x="3556" y="254"/>
                    </a:lnTo>
                    <a:lnTo>
                      <a:pt x="3387" y="211"/>
                    </a:lnTo>
                    <a:lnTo>
                      <a:pt x="3006" y="84"/>
                    </a:lnTo>
                    <a:lnTo>
                      <a:pt x="2964" y="84"/>
                    </a:lnTo>
                    <a:lnTo>
                      <a:pt x="2921" y="0"/>
                    </a:lnTo>
                    <a:lnTo>
                      <a:pt x="2879" y="0"/>
                    </a:lnTo>
                    <a:close/>
                    <a:moveTo>
                      <a:pt x="525" y="1735"/>
                    </a:moveTo>
                    <a:lnTo>
                      <a:pt x="593" y="1693"/>
                    </a:lnTo>
                    <a:lnTo>
                      <a:pt x="508" y="1735"/>
                    </a:lnTo>
                    <a:lnTo>
                      <a:pt x="525" y="1735"/>
                    </a:lnTo>
                    <a:close/>
                  </a:path>
                </a:pathLst>
              </a:custGeom>
              <a:grpFill/>
              <a:ln w="12700" cap="flat" cmpd="sng">
                <a:solidFill>
                  <a:schemeClr val="tx1"/>
                </a:solidFill>
                <a:prstDash val="solid"/>
                <a:bevel/>
                <a:headEnd/>
                <a:tailEnd/>
              </a:ln>
            </p:spPr>
            <p:txBody>
              <a:bodyPr/>
              <a:lstStyle/>
              <a:p>
                <a:endParaRPr lang="nl-NL"/>
              </a:p>
            </p:txBody>
          </p:sp>
          <p:sp>
            <p:nvSpPr>
              <p:cNvPr id="59" name="Freeform 560">
                <a:extLst>
                  <a:ext uri="{FF2B5EF4-FFF2-40B4-BE49-F238E27FC236}">
                    <a16:creationId xmlns:a16="http://schemas.microsoft.com/office/drawing/2014/main" id="{FB0FCF91-30CE-FF99-0AB4-A14D76CF3ED4}"/>
                  </a:ext>
                </a:extLst>
              </p:cNvPr>
              <p:cNvSpPr>
                <a:spLocks/>
              </p:cNvSpPr>
              <p:nvPr/>
            </p:nvSpPr>
            <p:spPr bwMode="auto">
              <a:xfrm>
                <a:off x="2068" y="1609"/>
                <a:ext cx="278" cy="248"/>
              </a:xfrm>
              <a:custGeom>
                <a:avLst/>
                <a:gdLst/>
                <a:ahLst/>
                <a:cxnLst>
                  <a:cxn ang="0">
                    <a:pos x="762" y="84"/>
                  </a:cxn>
                  <a:cxn ang="0">
                    <a:pos x="677" y="84"/>
                  </a:cxn>
                  <a:cxn ang="0">
                    <a:pos x="423" y="127"/>
                  </a:cxn>
                  <a:cxn ang="0">
                    <a:pos x="381" y="169"/>
                  </a:cxn>
                  <a:cxn ang="0">
                    <a:pos x="42" y="719"/>
                  </a:cxn>
                  <a:cxn ang="0">
                    <a:pos x="0" y="889"/>
                  </a:cxn>
                  <a:cxn ang="0">
                    <a:pos x="0" y="1524"/>
                  </a:cxn>
                  <a:cxn ang="0">
                    <a:pos x="0" y="1651"/>
                  </a:cxn>
                  <a:cxn ang="0">
                    <a:pos x="42" y="1693"/>
                  </a:cxn>
                  <a:cxn ang="0">
                    <a:pos x="127" y="1778"/>
                  </a:cxn>
                  <a:cxn ang="0">
                    <a:pos x="339" y="2074"/>
                  </a:cxn>
                  <a:cxn ang="0">
                    <a:pos x="423" y="2116"/>
                  </a:cxn>
                  <a:cxn ang="0">
                    <a:pos x="889" y="2116"/>
                  </a:cxn>
                  <a:cxn ang="0">
                    <a:pos x="1355" y="2116"/>
                  </a:cxn>
                  <a:cxn ang="0">
                    <a:pos x="1736" y="2032"/>
                  </a:cxn>
                  <a:cxn ang="0">
                    <a:pos x="1820" y="2116"/>
                  </a:cxn>
                  <a:cxn ang="0">
                    <a:pos x="1947" y="2074"/>
                  </a:cxn>
                  <a:cxn ang="0">
                    <a:pos x="2032" y="1989"/>
                  </a:cxn>
                  <a:cxn ang="0">
                    <a:pos x="2201" y="1947"/>
                  </a:cxn>
                  <a:cxn ang="0">
                    <a:pos x="2371" y="1820"/>
                  </a:cxn>
                  <a:cxn ang="0">
                    <a:pos x="2244" y="1735"/>
                  </a:cxn>
                  <a:cxn ang="0">
                    <a:pos x="2159" y="1651"/>
                  </a:cxn>
                  <a:cxn ang="0">
                    <a:pos x="2032" y="1608"/>
                  </a:cxn>
                  <a:cxn ang="0">
                    <a:pos x="1947" y="1608"/>
                  </a:cxn>
                  <a:cxn ang="0">
                    <a:pos x="1905" y="1566"/>
                  </a:cxn>
                  <a:cxn ang="0">
                    <a:pos x="1947" y="1481"/>
                  </a:cxn>
                  <a:cxn ang="0">
                    <a:pos x="2074" y="1397"/>
                  </a:cxn>
                  <a:cxn ang="0">
                    <a:pos x="2074" y="1312"/>
                  </a:cxn>
                  <a:cxn ang="0">
                    <a:pos x="2032" y="1227"/>
                  </a:cxn>
                  <a:cxn ang="0">
                    <a:pos x="1947" y="1185"/>
                  </a:cxn>
                  <a:cxn ang="0">
                    <a:pos x="1863" y="973"/>
                  </a:cxn>
                  <a:cxn ang="0">
                    <a:pos x="1736" y="762"/>
                  </a:cxn>
                  <a:cxn ang="0">
                    <a:pos x="1651" y="719"/>
                  </a:cxn>
                  <a:cxn ang="0">
                    <a:pos x="1482" y="592"/>
                  </a:cxn>
                  <a:cxn ang="0">
                    <a:pos x="1355" y="550"/>
                  </a:cxn>
                  <a:cxn ang="0">
                    <a:pos x="1270" y="508"/>
                  </a:cxn>
                  <a:cxn ang="0">
                    <a:pos x="1185" y="423"/>
                  </a:cxn>
                  <a:cxn ang="0">
                    <a:pos x="1101" y="381"/>
                  </a:cxn>
                  <a:cxn ang="0">
                    <a:pos x="1058" y="254"/>
                  </a:cxn>
                  <a:cxn ang="0">
                    <a:pos x="847" y="42"/>
                  </a:cxn>
                </a:cxnLst>
                <a:rect l="0" t="0" r="r" b="b"/>
                <a:pathLst>
                  <a:path w="2371" h="2116">
                    <a:moveTo>
                      <a:pt x="720" y="0"/>
                    </a:moveTo>
                    <a:lnTo>
                      <a:pt x="762" y="84"/>
                    </a:lnTo>
                    <a:lnTo>
                      <a:pt x="677" y="42"/>
                    </a:lnTo>
                    <a:lnTo>
                      <a:pt x="677" y="84"/>
                    </a:lnTo>
                    <a:lnTo>
                      <a:pt x="635" y="84"/>
                    </a:lnTo>
                    <a:lnTo>
                      <a:pt x="423" y="127"/>
                    </a:lnTo>
                    <a:lnTo>
                      <a:pt x="381" y="127"/>
                    </a:lnTo>
                    <a:lnTo>
                      <a:pt x="381" y="169"/>
                    </a:lnTo>
                    <a:lnTo>
                      <a:pt x="254" y="381"/>
                    </a:lnTo>
                    <a:lnTo>
                      <a:pt x="42" y="719"/>
                    </a:lnTo>
                    <a:lnTo>
                      <a:pt x="42" y="762"/>
                    </a:lnTo>
                    <a:lnTo>
                      <a:pt x="0" y="889"/>
                    </a:lnTo>
                    <a:lnTo>
                      <a:pt x="0" y="1312"/>
                    </a:lnTo>
                    <a:lnTo>
                      <a:pt x="0" y="1524"/>
                    </a:lnTo>
                    <a:lnTo>
                      <a:pt x="0" y="1608"/>
                    </a:lnTo>
                    <a:lnTo>
                      <a:pt x="0" y="1651"/>
                    </a:lnTo>
                    <a:lnTo>
                      <a:pt x="0" y="1693"/>
                    </a:lnTo>
                    <a:lnTo>
                      <a:pt x="42" y="1693"/>
                    </a:lnTo>
                    <a:lnTo>
                      <a:pt x="85" y="1735"/>
                    </a:lnTo>
                    <a:lnTo>
                      <a:pt x="127" y="1778"/>
                    </a:lnTo>
                    <a:lnTo>
                      <a:pt x="212" y="1905"/>
                    </a:lnTo>
                    <a:lnTo>
                      <a:pt x="339" y="2074"/>
                    </a:lnTo>
                    <a:lnTo>
                      <a:pt x="381" y="2116"/>
                    </a:lnTo>
                    <a:lnTo>
                      <a:pt x="423" y="2116"/>
                    </a:lnTo>
                    <a:lnTo>
                      <a:pt x="847" y="2116"/>
                    </a:lnTo>
                    <a:lnTo>
                      <a:pt x="889" y="2116"/>
                    </a:lnTo>
                    <a:lnTo>
                      <a:pt x="1016" y="2116"/>
                    </a:lnTo>
                    <a:lnTo>
                      <a:pt x="1355" y="2116"/>
                    </a:lnTo>
                    <a:lnTo>
                      <a:pt x="1397" y="2116"/>
                    </a:lnTo>
                    <a:lnTo>
                      <a:pt x="1736" y="2032"/>
                    </a:lnTo>
                    <a:lnTo>
                      <a:pt x="1778" y="2074"/>
                    </a:lnTo>
                    <a:lnTo>
                      <a:pt x="1820" y="2116"/>
                    </a:lnTo>
                    <a:lnTo>
                      <a:pt x="1905" y="2074"/>
                    </a:lnTo>
                    <a:lnTo>
                      <a:pt x="1947" y="2074"/>
                    </a:lnTo>
                    <a:lnTo>
                      <a:pt x="2032" y="2032"/>
                    </a:lnTo>
                    <a:lnTo>
                      <a:pt x="2032" y="1989"/>
                    </a:lnTo>
                    <a:lnTo>
                      <a:pt x="2159" y="1947"/>
                    </a:lnTo>
                    <a:lnTo>
                      <a:pt x="2201" y="1947"/>
                    </a:lnTo>
                    <a:lnTo>
                      <a:pt x="2328" y="1862"/>
                    </a:lnTo>
                    <a:lnTo>
                      <a:pt x="2371" y="1820"/>
                    </a:lnTo>
                    <a:lnTo>
                      <a:pt x="2328" y="1735"/>
                    </a:lnTo>
                    <a:lnTo>
                      <a:pt x="2244" y="1735"/>
                    </a:lnTo>
                    <a:lnTo>
                      <a:pt x="2201" y="1693"/>
                    </a:lnTo>
                    <a:lnTo>
                      <a:pt x="2159" y="1651"/>
                    </a:lnTo>
                    <a:lnTo>
                      <a:pt x="2074" y="1608"/>
                    </a:lnTo>
                    <a:lnTo>
                      <a:pt x="2032" y="1608"/>
                    </a:lnTo>
                    <a:lnTo>
                      <a:pt x="1947" y="1566"/>
                    </a:lnTo>
                    <a:lnTo>
                      <a:pt x="1947" y="1608"/>
                    </a:lnTo>
                    <a:lnTo>
                      <a:pt x="1905" y="1608"/>
                    </a:lnTo>
                    <a:lnTo>
                      <a:pt x="1905" y="1566"/>
                    </a:lnTo>
                    <a:lnTo>
                      <a:pt x="1905" y="1524"/>
                    </a:lnTo>
                    <a:lnTo>
                      <a:pt x="1947" y="1481"/>
                    </a:lnTo>
                    <a:lnTo>
                      <a:pt x="1990" y="1439"/>
                    </a:lnTo>
                    <a:lnTo>
                      <a:pt x="2074" y="1397"/>
                    </a:lnTo>
                    <a:lnTo>
                      <a:pt x="2074" y="1354"/>
                    </a:lnTo>
                    <a:lnTo>
                      <a:pt x="2074" y="1312"/>
                    </a:lnTo>
                    <a:lnTo>
                      <a:pt x="2032" y="1270"/>
                    </a:lnTo>
                    <a:lnTo>
                      <a:pt x="2032" y="1227"/>
                    </a:lnTo>
                    <a:lnTo>
                      <a:pt x="1990" y="1185"/>
                    </a:lnTo>
                    <a:lnTo>
                      <a:pt x="1947" y="1185"/>
                    </a:lnTo>
                    <a:lnTo>
                      <a:pt x="1947" y="1143"/>
                    </a:lnTo>
                    <a:lnTo>
                      <a:pt x="1863" y="973"/>
                    </a:lnTo>
                    <a:lnTo>
                      <a:pt x="1820" y="846"/>
                    </a:lnTo>
                    <a:lnTo>
                      <a:pt x="1736" y="762"/>
                    </a:lnTo>
                    <a:lnTo>
                      <a:pt x="1693" y="762"/>
                    </a:lnTo>
                    <a:lnTo>
                      <a:pt x="1651" y="719"/>
                    </a:lnTo>
                    <a:lnTo>
                      <a:pt x="1609" y="635"/>
                    </a:lnTo>
                    <a:lnTo>
                      <a:pt x="1482" y="592"/>
                    </a:lnTo>
                    <a:lnTo>
                      <a:pt x="1439" y="550"/>
                    </a:lnTo>
                    <a:lnTo>
                      <a:pt x="1355" y="550"/>
                    </a:lnTo>
                    <a:lnTo>
                      <a:pt x="1270" y="550"/>
                    </a:lnTo>
                    <a:lnTo>
                      <a:pt x="1270" y="508"/>
                    </a:lnTo>
                    <a:lnTo>
                      <a:pt x="1228" y="465"/>
                    </a:lnTo>
                    <a:lnTo>
                      <a:pt x="1185" y="423"/>
                    </a:lnTo>
                    <a:lnTo>
                      <a:pt x="1143" y="338"/>
                    </a:lnTo>
                    <a:lnTo>
                      <a:pt x="1101" y="381"/>
                    </a:lnTo>
                    <a:lnTo>
                      <a:pt x="1101" y="338"/>
                    </a:lnTo>
                    <a:lnTo>
                      <a:pt x="1058" y="254"/>
                    </a:lnTo>
                    <a:lnTo>
                      <a:pt x="889" y="42"/>
                    </a:lnTo>
                    <a:lnTo>
                      <a:pt x="847" y="42"/>
                    </a:lnTo>
                    <a:lnTo>
                      <a:pt x="720" y="0"/>
                    </a:lnTo>
                    <a:close/>
                  </a:path>
                </a:pathLst>
              </a:custGeom>
              <a:grpFill/>
              <a:ln w="12700" cap="flat" cmpd="sng">
                <a:solidFill>
                  <a:schemeClr val="tx1"/>
                </a:solidFill>
                <a:prstDash val="solid"/>
                <a:bevel/>
                <a:headEnd/>
                <a:tailEnd/>
              </a:ln>
            </p:spPr>
            <p:txBody>
              <a:bodyPr/>
              <a:lstStyle/>
              <a:p>
                <a:endParaRPr lang="nl-NL"/>
              </a:p>
            </p:txBody>
          </p:sp>
        </p:grpSp>
        <p:sp>
          <p:nvSpPr>
            <p:cNvPr id="57" name="Tekstvak 56">
              <a:extLst>
                <a:ext uri="{FF2B5EF4-FFF2-40B4-BE49-F238E27FC236}">
                  <a16:creationId xmlns:a16="http://schemas.microsoft.com/office/drawing/2014/main" id="{F1FC5E48-0D3F-1DF9-6FDD-777560736686}"/>
                </a:ext>
              </a:extLst>
            </p:cNvPr>
            <p:cNvSpPr txBox="1"/>
            <p:nvPr/>
          </p:nvSpPr>
          <p:spPr>
            <a:xfrm>
              <a:off x="3743325" y="5286375"/>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t">
              <a:noAutofit/>
            </a:bodyPr>
            <a:lstStyle/>
            <a:p>
              <a:pPr marL="0" marR="0" indent="0" algn="l"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grpSp>
      <p:grpSp>
        <p:nvGrpSpPr>
          <p:cNvPr id="76" name="Groep 75">
            <a:extLst>
              <a:ext uri="{FF2B5EF4-FFF2-40B4-BE49-F238E27FC236}">
                <a16:creationId xmlns:a16="http://schemas.microsoft.com/office/drawing/2014/main" id="{21C32269-D4BC-E48F-9CFA-97312CA87B63}"/>
              </a:ext>
            </a:extLst>
          </p:cNvPr>
          <p:cNvGrpSpPr>
            <a:grpSpLocks noChangeAspect="1"/>
          </p:cNvGrpSpPr>
          <p:nvPr/>
        </p:nvGrpSpPr>
        <p:grpSpPr>
          <a:xfrm>
            <a:off x="8965875" y="4352382"/>
            <a:ext cx="2860272" cy="2171263"/>
            <a:chOff x="10993172" y="2857618"/>
            <a:chExt cx="3030167" cy="2124826"/>
          </a:xfrm>
        </p:grpSpPr>
        <p:sp>
          <p:nvSpPr>
            <p:cNvPr id="77" name="Freeform 581">
              <a:extLst>
                <a:ext uri="{FF2B5EF4-FFF2-40B4-BE49-F238E27FC236}">
                  <a16:creationId xmlns:a16="http://schemas.microsoft.com/office/drawing/2014/main" id="{C267DF40-A3D3-D48C-3871-B1AB3E9EF9BF}"/>
                </a:ext>
              </a:extLst>
            </p:cNvPr>
            <p:cNvSpPr>
              <a:spLocks/>
            </p:cNvSpPr>
            <p:nvPr/>
          </p:nvSpPr>
          <p:spPr bwMode="auto">
            <a:xfrm>
              <a:off x="12355740" y="4292105"/>
              <a:ext cx="520033" cy="455414"/>
            </a:xfrm>
            <a:custGeom>
              <a:avLst/>
              <a:gdLst/>
              <a:ahLst/>
              <a:cxnLst>
                <a:cxn ang="0">
                  <a:pos x="387" y="288"/>
                </a:cxn>
                <a:cxn ang="0">
                  <a:pos x="377" y="298"/>
                </a:cxn>
                <a:cxn ang="0">
                  <a:pos x="347" y="318"/>
                </a:cxn>
                <a:cxn ang="0">
                  <a:pos x="317" y="327"/>
                </a:cxn>
                <a:cxn ang="0">
                  <a:pos x="317" y="337"/>
                </a:cxn>
                <a:cxn ang="0">
                  <a:pos x="278" y="318"/>
                </a:cxn>
                <a:cxn ang="0">
                  <a:pos x="208" y="327"/>
                </a:cxn>
                <a:cxn ang="0">
                  <a:pos x="148" y="337"/>
                </a:cxn>
                <a:cxn ang="0">
                  <a:pos x="79" y="318"/>
                </a:cxn>
                <a:cxn ang="0">
                  <a:pos x="79" y="327"/>
                </a:cxn>
                <a:cxn ang="0">
                  <a:pos x="59" y="327"/>
                </a:cxn>
                <a:cxn ang="0">
                  <a:pos x="29" y="347"/>
                </a:cxn>
                <a:cxn ang="0">
                  <a:pos x="19" y="318"/>
                </a:cxn>
                <a:cxn ang="0">
                  <a:pos x="19" y="298"/>
                </a:cxn>
                <a:cxn ang="0">
                  <a:pos x="0" y="268"/>
                </a:cxn>
                <a:cxn ang="0">
                  <a:pos x="19" y="248"/>
                </a:cxn>
                <a:cxn ang="0">
                  <a:pos x="49" y="248"/>
                </a:cxn>
                <a:cxn ang="0">
                  <a:pos x="59" y="238"/>
                </a:cxn>
                <a:cxn ang="0">
                  <a:pos x="69" y="178"/>
                </a:cxn>
                <a:cxn ang="0">
                  <a:pos x="59" y="139"/>
                </a:cxn>
                <a:cxn ang="0">
                  <a:pos x="69" y="129"/>
                </a:cxn>
                <a:cxn ang="0">
                  <a:pos x="79" y="129"/>
                </a:cxn>
                <a:cxn ang="0">
                  <a:pos x="89" y="139"/>
                </a:cxn>
                <a:cxn ang="0">
                  <a:pos x="99" y="119"/>
                </a:cxn>
                <a:cxn ang="0">
                  <a:pos x="109" y="109"/>
                </a:cxn>
                <a:cxn ang="0">
                  <a:pos x="129" y="99"/>
                </a:cxn>
                <a:cxn ang="0">
                  <a:pos x="139" y="99"/>
                </a:cxn>
                <a:cxn ang="0">
                  <a:pos x="139" y="89"/>
                </a:cxn>
                <a:cxn ang="0">
                  <a:pos x="119" y="69"/>
                </a:cxn>
                <a:cxn ang="0">
                  <a:pos x="148" y="0"/>
                </a:cxn>
                <a:cxn ang="0">
                  <a:pos x="159" y="0"/>
                </a:cxn>
                <a:cxn ang="0">
                  <a:pos x="178" y="49"/>
                </a:cxn>
                <a:cxn ang="0">
                  <a:pos x="188" y="39"/>
                </a:cxn>
                <a:cxn ang="0">
                  <a:pos x="218" y="39"/>
                </a:cxn>
                <a:cxn ang="0">
                  <a:pos x="238" y="20"/>
                </a:cxn>
                <a:cxn ang="0">
                  <a:pos x="258" y="39"/>
                </a:cxn>
                <a:cxn ang="0">
                  <a:pos x="288" y="39"/>
                </a:cxn>
                <a:cxn ang="0">
                  <a:pos x="297" y="49"/>
                </a:cxn>
                <a:cxn ang="0">
                  <a:pos x="327" y="59"/>
                </a:cxn>
                <a:cxn ang="0">
                  <a:pos x="317" y="59"/>
                </a:cxn>
                <a:cxn ang="0">
                  <a:pos x="317" y="69"/>
                </a:cxn>
                <a:cxn ang="0">
                  <a:pos x="317" y="89"/>
                </a:cxn>
                <a:cxn ang="0">
                  <a:pos x="327" y="109"/>
                </a:cxn>
                <a:cxn ang="0">
                  <a:pos x="317" y="119"/>
                </a:cxn>
                <a:cxn ang="0">
                  <a:pos x="317" y="129"/>
                </a:cxn>
                <a:cxn ang="0">
                  <a:pos x="317" y="139"/>
                </a:cxn>
                <a:cxn ang="0">
                  <a:pos x="327" y="169"/>
                </a:cxn>
                <a:cxn ang="0">
                  <a:pos x="347" y="198"/>
                </a:cxn>
                <a:cxn ang="0">
                  <a:pos x="357" y="228"/>
                </a:cxn>
                <a:cxn ang="0">
                  <a:pos x="367" y="248"/>
                </a:cxn>
              </a:cxnLst>
              <a:rect l="0" t="0" r="r" b="b"/>
              <a:pathLst>
                <a:path w="387" h="347">
                  <a:moveTo>
                    <a:pt x="367" y="258"/>
                  </a:moveTo>
                  <a:lnTo>
                    <a:pt x="387" y="288"/>
                  </a:lnTo>
                  <a:lnTo>
                    <a:pt x="387" y="288"/>
                  </a:lnTo>
                  <a:lnTo>
                    <a:pt x="377" y="298"/>
                  </a:lnTo>
                  <a:lnTo>
                    <a:pt x="377" y="308"/>
                  </a:lnTo>
                  <a:lnTo>
                    <a:pt x="347" y="318"/>
                  </a:lnTo>
                  <a:lnTo>
                    <a:pt x="327" y="327"/>
                  </a:lnTo>
                  <a:lnTo>
                    <a:pt x="317" y="327"/>
                  </a:lnTo>
                  <a:lnTo>
                    <a:pt x="317" y="337"/>
                  </a:lnTo>
                  <a:lnTo>
                    <a:pt x="317" y="337"/>
                  </a:lnTo>
                  <a:lnTo>
                    <a:pt x="297" y="327"/>
                  </a:lnTo>
                  <a:lnTo>
                    <a:pt x="278" y="318"/>
                  </a:lnTo>
                  <a:lnTo>
                    <a:pt x="268" y="308"/>
                  </a:lnTo>
                  <a:lnTo>
                    <a:pt x="208" y="327"/>
                  </a:lnTo>
                  <a:lnTo>
                    <a:pt x="159" y="347"/>
                  </a:lnTo>
                  <a:lnTo>
                    <a:pt x="148" y="337"/>
                  </a:lnTo>
                  <a:lnTo>
                    <a:pt x="119" y="327"/>
                  </a:lnTo>
                  <a:lnTo>
                    <a:pt x="79" y="318"/>
                  </a:lnTo>
                  <a:lnTo>
                    <a:pt x="79" y="318"/>
                  </a:lnTo>
                  <a:lnTo>
                    <a:pt x="79" y="327"/>
                  </a:lnTo>
                  <a:lnTo>
                    <a:pt x="69" y="327"/>
                  </a:lnTo>
                  <a:lnTo>
                    <a:pt x="59" y="327"/>
                  </a:lnTo>
                  <a:lnTo>
                    <a:pt x="49" y="337"/>
                  </a:lnTo>
                  <a:lnTo>
                    <a:pt x="29" y="347"/>
                  </a:lnTo>
                  <a:lnTo>
                    <a:pt x="19" y="327"/>
                  </a:lnTo>
                  <a:lnTo>
                    <a:pt x="19" y="318"/>
                  </a:lnTo>
                  <a:lnTo>
                    <a:pt x="10" y="308"/>
                  </a:lnTo>
                  <a:lnTo>
                    <a:pt x="19" y="298"/>
                  </a:lnTo>
                  <a:lnTo>
                    <a:pt x="10" y="288"/>
                  </a:lnTo>
                  <a:lnTo>
                    <a:pt x="0" y="268"/>
                  </a:lnTo>
                  <a:lnTo>
                    <a:pt x="10" y="238"/>
                  </a:lnTo>
                  <a:lnTo>
                    <a:pt x="19" y="248"/>
                  </a:lnTo>
                  <a:lnTo>
                    <a:pt x="29" y="248"/>
                  </a:lnTo>
                  <a:lnTo>
                    <a:pt x="49" y="248"/>
                  </a:lnTo>
                  <a:lnTo>
                    <a:pt x="69" y="248"/>
                  </a:lnTo>
                  <a:lnTo>
                    <a:pt x="59" y="238"/>
                  </a:lnTo>
                  <a:lnTo>
                    <a:pt x="69" y="218"/>
                  </a:lnTo>
                  <a:lnTo>
                    <a:pt x="69" y="178"/>
                  </a:lnTo>
                  <a:lnTo>
                    <a:pt x="69" y="158"/>
                  </a:lnTo>
                  <a:lnTo>
                    <a:pt x="59" y="139"/>
                  </a:lnTo>
                  <a:lnTo>
                    <a:pt x="69" y="129"/>
                  </a:lnTo>
                  <a:lnTo>
                    <a:pt x="69" y="129"/>
                  </a:lnTo>
                  <a:lnTo>
                    <a:pt x="69" y="129"/>
                  </a:lnTo>
                  <a:lnTo>
                    <a:pt x="79" y="129"/>
                  </a:lnTo>
                  <a:lnTo>
                    <a:pt x="89" y="139"/>
                  </a:lnTo>
                  <a:lnTo>
                    <a:pt x="89" y="139"/>
                  </a:lnTo>
                  <a:lnTo>
                    <a:pt x="99" y="129"/>
                  </a:lnTo>
                  <a:lnTo>
                    <a:pt x="99" y="119"/>
                  </a:lnTo>
                  <a:lnTo>
                    <a:pt x="99" y="119"/>
                  </a:lnTo>
                  <a:lnTo>
                    <a:pt x="109" y="109"/>
                  </a:lnTo>
                  <a:lnTo>
                    <a:pt x="119" y="99"/>
                  </a:lnTo>
                  <a:lnTo>
                    <a:pt x="129" y="99"/>
                  </a:lnTo>
                  <a:lnTo>
                    <a:pt x="129" y="99"/>
                  </a:lnTo>
                  <a:lnTo>
                    <a:pt x="139" y="99"/>
                  </a:lnTo>
                  <a:lnTo>
                    <a:pt x="139" y="89"/>
                  </a:lnTo>
                  <a:lnTo>
                    <a:pt x="139" y="89"/>
                  </a:lnTo>
                  <a:lnTo>
                    <a:pt x="129" y="69"/>
                  </a:lnTo>
                  <a:lnTo>
                    <a:pt x="119" y="69"/>
                  </a:lnTo>
                  <a:lnTo>
                    <a:pt x="129" y="39"/>
                  </a:lnTo>
                  <a:lnTo>
                    <a:pt x="148" y="0"/>
                  </a:lnTo>
                  <a:lnTo>
                    <a:pt x="148" y="0"/>
                  </a:lnTo>
                  <a:lnTo>
                    <a:pt x="159" y="0"/>
                  </a:lnTo>
                  <a:lnTo>
                    <a:pt x="159" y="49"/>
                  </a:lnTo>
                  <a:lnTo>
                    <a:pt x="178" y="49"/>
                  </a:lnTo>
                  <a:lnTo>
                    <a:pt x="178" y="49"/>
                  </a:lnTo>
                  <a:lnTo>
                    <a:pt x="188" y="39"/>
                  </a:lnTo>
                  <a:lnTo>
                    <a:pt x="188" y="39"/>
                  </a:lnTo>
                  <a:lnTo>
                    <a:pt x="218" y="39"/>
                  </a:lnTo>
                  <a:lnTo>
                    <a:pt x="218" y="49"/>
                  </a:lnTo>
                  <a:lnTo>
                    <a:pt x="238" y="20"/>
                  </a:lnTo>
                  <a:lnTo>
                    <a:pt x="248" y="29"/>
                  </a:lnTo>
                  <a:lnTo>
                    <a:pt x="258" y="39"/>
                  </a:lnTo>
                  <a:lnTo>
                    <a:pt x="278" y="20"/>
                  </a:lnTo>
                  <a:lnTo>
                    <a:pt x="288" y="39"/>
                  </a:lnTo>
                  <a:lnTo>
                    <a:pt x="288" y="39"/>
                  </a:lnTo>
                  <a:lnTo>
                    <a:pt x="297" y="49"/>
                  </a:lnTo>
                  <a:lnTo>
                    <a:pt x="327" y="59"/>
                  </a:lnTo>
                  <a:lnTo>
                    <a:pt x="327" y="59"/>
                  </a:lnTo>
                  <a:lnTo>
                    <a:pt x="337" y="69"/>
                  </a:lnTo>
                  <a:lnTo>
                    <a:pt x="317" y="59"/>
                  </a:lnTo>
                  <a:lnTo>
                    <a:pt x="317" y="69"/>
                  </a:lnTo>
                  <a:lnTo>
                    <a:pt x="317" y="69"/>
                  </a:lnTo>
                  <a:lnTo>
                    <a:pt x="327" y="79"/>
                  </a:lnTo>
                  <a:lnTo>
                    <a:pt x="317" y="89"/>
                  </a:lnTo>
                  <a:lnTo>
                    <a:pt x="327" y="109"/>
                  </a:lnTo>
                  <a:lnTo>
                    <a:pt x="327" y="109"/>
                  </a:lnTo>
                  <a:lnTo>
                    <a:pt x="317" y="109"/>
                  </a:lnTo>
                  <a:lnTo>
                    <a:pt x="317" y="119"/>
                  </a:lnTo>
                  <a:lnTo>
                    <a:pt x="327" y="129"/>
                  </a:lnTo>
                  <a:lnTo>
                    <a:pt x="317" y="129"/>
                  </a:lnTo>
                  <a:lnTo>
                    <a:pt x="317" y="139"/>
                  </a:lnTo>
                  <a:lnTo>
                    <a:pt x="317" y="139"/>
                  </a:lnTo>
                  <a:lnTo>
                    <a:pt x="317" y="158"/>
                  </a:lnTo>
                  <a:lnTo>
                    <a:pt x="327" y="169"/>
                  </a:lnTo>
                  <a:lnTo>
                    <a:pt x="337" y="178"/>
                  </a:lnTo>
                  <a:lnTo>
                    <a:pt x="347" y="198"/>
                  </a:lnTo>
                  <a:lnTo>
                    <a:pt x="347" y="198"/>
                  </a:lnTo>
                  <a:lnTo>
                    <a:pt x="357" y="228"/>
                  </a:lnTo>
                  <a:lnTo>
                    <a:pt x="357" y="228"/>
                  </a:lnTo>
                  <a:lnTo>
                    <a:pt x="367" y="248"/>
                  </a:lnTo>
                  <a:lnTo>
                    <a:pt x="367" y="258"/>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78" name="Freeform 584">
              <a:extLst>
                <a:ext uri="{FF2B5EF4-FFF2-40B4-BE49-F238E27FC236}">
                  <a16:creationId xmlns:a16="http://schemas.microsoft.com/office/drawing/2014/main" id="{DBE559AF-13C2-C427-088A-0F09D778CB87}"/>
                </a:ext>
              </a:extLst>
            </p:cNvPr>
            <p:cNvSpPr>
              <a:spLocks/>
            </p:cNvSpPr>
            <p:nvPr/>
          </p:nvSpPr>
          <p:spPr bwMode="auto">
            <a:xfrm>
              <a:off x="12461896" y="3939061"/>
              <a:ext cx="440752" cy="430477"/>
            </a:xfrm>
            <a:custGeom>
              <a:avLst/>
              <a:gdLst/>
              <a:ahLst/>
              <a:cxnLst>
                <a:cxn ang="0">
                  <a:pos x="20" y="239"/>
                </a:cxn>
                <a:cxn ang="0">
                  <a:pos x="0" y="229"/>
                </a:cxn>
                <a:cxn ang="0">
                  <a:pos x="0" y="219"/>
                </a:cxn>
                <a:cxn ang="0">
                  <a:pos x="10" y="179"/>
                </a:cxn>
                <a:cxn ang="0">
                  <a:pos x="30" y="159"/>
                </a:cxn>
                <a:cxn ang="0">
                  <a:pos x="69" y="110"/>
                </a:cxn>
                <a:cxn ang="0">
                  <a:pos x="89" y="100"/>
                </a:cxn>
                <a:cxn ang="0">
                  <a:pos x="109" y="110"/>
                </a:cxn>
                <a:cxn ang="0">
                  <a:pos x="119" y="110"/>
                </a:cxn>
                <a:cxn ang="0">
                  <a:pos x="149" y="100"/>
                </a:cxn>
                <a:cxn ang="0">
                  <a:pos x="159" y="80"/>
                </a:cxn>
                <a:cxn ang="0">
                  <a:pos x="169" y="50"/>
                </a:cxn>
                <a:cxn ang="0">
                  <a:pos x="159" y="30"/>
                </a:cxn>
                <a:cxn ang="0">
                  <a:pos x="159" y="20"/>
                </a:cxn>
                <a:cxn ang="0">
                  <a:pos x="179" y="10"/>
                </a:cxn>
                <a:cxn ang="0">
                  <a:pos x="189" y="10"/>
                </a:cxn>
                <a:cxn ang="0">
                  <a:pos x="278" y="10"/>
                </a:cxn>
                <a:cxn ang="0">
                  <a:pos x="298" y="10"/>
                </a:cxn>
                <a:cxn ang="0">
                  <a:pos x="278" y="50"/>
                </a:cxn>
                <a:cxn ang="0">
                  <a:pos x="298" y="100"/>
                </a:cxn>
                <a:cxn ang="0">
                  <a:pos x="308" y="110"/>
                </a:cxn>
                <a:cxn ang="0">
                  <a:pos x="318" y="149"/>
                </a:cxn>
                <a:cxn ang="0">
                  <a:pos x="238" y="140"/>
                </a:cxn>
                <a:cxn ang="0">
                  <a:pos x="229" y="169"/>
                </a:cxn>
                <a:cxn ang="0">
                  <a:pos x="238" y="179"/>
                </a:cxn>
                <a:cxn ang="0">
                  <a:pos x="218" y="189"/>
                </a:cxn>
                <a:cxn ang="0">
                  <a:pos x="218" y="209"/>
                </a:cxn>
                <a:cxn ang="0">
                  <a:pos x="248" y="199"/>
                </a:cxn>
                <a:cxn ang="0">
                  <a:pos x="268" y="199"/>
                </a:cxn>
                <a:cxn ang="0">
                  <a:pos x="298" y="199"/>
                </a:cxn>
                <a:cxn ang="0">
                  <a:pos x="298" y="219"/>
                </a:cxn>
                <a:cxn ang="0">
                  <a:pos x="318" y="229"/>
                </a:cxn>
                <a:cxn ang="0">
                  <a:pos x="328" y="259"/>
                </a:cxn>
                <a:cxn ang="0">
                  <a:pos x="318" y="269"/>
                </a:cxn>
                <a:cxn ang="0">
                  <a:pos x="318" y="278"/>
                </a:cxn>
                <a:cxn ang="0">
                  <a:pos x="288" y="289"/>
                </a:cxn>
                <a:cxn ang="0">
                  <a:pos x="268" y="308"/>
                </a:cxn>
                <a:cxn ang="0">
                  <a:pos x="248" y="298"/>
                </a:cxn>
                <a:cxn ang="0">
                  <a:pos x="248" y="328"/>
                </a:cxn>
                <a:cxn ang="0">
                  <a:pos x="209" y="308"/>
                </a:cxn>
                <a:cxn ang="0">
                  <a:pos x="169" y="298"/>
                </a:cxn>
                <a:cxn ang="0">
                  <a:pos x="139" y="308"/>
                </a:cxn>
                <a:cxn ang="0">
                  <a:pos x="99" y="318"/>
                </a:cxn>
                <a:cxn ang="0">
                  <a:pos x="80" y="269"/>
                </a:cxn>
                <a:cxn ang="0">
                  <a:pos x="50" y="259"/>
                </a:cxn>
              </a:cxnLst>
              <a:rect l="0" t="0" r="r" b="b"/>
              <a:pathLst>
                <a:path w="328" h="328">
                  <a:moveTo>
                    <a:pt x="20" y="239"/>
                  </a:moveTo>
                  <a:lnTo>
                    <a:pt x="20" y="239"/>
                  </a:lnTo>
                  <a:lnTo>
                    <a:pt x="20" y="239"/>
                  </a:lnTo>
                  <a:lnTo>
                    <a:pt x="10" y="239"/>
                  </a:lnTo>
                  <a:lnTo>
                    <a:pt x="10" y="229"/>
                  </a:lnTo>
                  <a:lnTo>
                    <a:pt x="0" y="229"/>
                  </a:lnTo>
                  <a:lnTo>
                    <a:pt x="0" y="229"/>
                  </a:lnTo>
                  <a:lnTo>
                    <a:pt x="0" y="219"/>
                  </a:lnTo>
                  <a:lnTo>
                    <a:pt x="0" y="219"/>
                  </a:lnTo>
                  <a:lnTo>
                    <a:pt x="10" y="209"/>
                  </a:lnTo>
                  <a:lnTo>
                    <a:pt x="0" y="209"/>
                  </a:lnTo>
                  <a:lnTo>
                    <a:pt x="10" y="179"/>
                  </a:lnTo>
                  <a:lnTo>
                    <a:pt x="20" y="179"/>
                  </a:lnTo>
                  <a:lnTo>
                    <a:pt x="30" y="169"/>
                  </a:lnTo>
                  <a:lnTo>
                    <a:pt x="30" y="159"/>
                  </a:lnTo>
                  <a:lnTo>
                    <a:pt x="40" y="149"/>
                  </a:lnTo>
                  <a:lnTo>
                    <a:pt x="69" y="120"/>
                  </a:lnTo>
                  <a:lnTo>
                    <a:pt x="69" y="110"/>
                  </a:lnTo>
                  <a:lnTo>
                    <a:pt x="69" y="110"/>
                  </a:lnTo>
                  <a:lnTo>
                    <a:pt x="89" y="110"/>
                  </a:lnTo>
                  <a:lnTo>
                    <a:pt x="89" y="100"/>
                  </a:lnTo>
                  <a:lnTo>
                    <a:pt x="99" y="100"/>
                  </a:lnTo>
                  <a:lnTo>
                    <a:pt x="109" y="110"/>
                  </a:lnTo>
                  <a:lnTo>
                    <a:pt x="109" y="110"/>
                  </a:lnTo>
                  <a:lnTo>
                    <a:pt x="119" y="110"/>
                  </a:lnTo>
                  <a:lnTo>
                    <a:pt x="119" y="110"/>
                  </a:lnTo>
                  <a:lnTo>
                    <a:pt x="119" y="110"/>
                  </a:lnTo>
                  <a:lnTo>
                    <a:pt x="119" y="110"/>
                  </a:lnTo>
                  <a:lnTo>
                    <a:pt x="139" y="110"/>
                  </a:lnTo>
                  <a:lnTo>
                    <a:pt x="149" y="100"/>
                  </a:lnTo>
                  <a:lnTo>
                    <a:pt x="149" y="80"/>
                  </a:lnTo>
                  <a:lnTo>
                    <a:pt x="159" y="80"/>
                  </a:lnTo>
                  <a:lnTo>
                    <a:pt x="159" y="80"/>
                  </a:lnTo>
                  <a:lnTo>
                    <a:pt x="159" y="70"/>
                  </a:lnTo>
                  <a:lnTo>
                    <a:pt x="159" y="60"/>
                  </a:lnTo>
                  <a:lnTo>
                    <a:pt x="169" y="50"/>
                  </a:lnTo>
                  <a:lnTo>
                    <a:pt x="169" y="40"/>
                  </a:lnTo>
                  <a:lnTo>
                    <a:pt x="159" y="40"/>
                  </a:lnTo>
                  <a:lnTo>
                    <a:pt x="159" y="30"/>
                  </a:lnTo>
                  <a:lnTo>
                    <a:pt x="149" y="20"/>
                  </a:lnTo>
                  <a:lnTo>
                    <a:pt x="159" y="20"/>
                  </a:lnTo>
                  <a:lnTo>
                    <a:pt x="159" y="20"/>
                  </a:lnTo>
                  <a:lnTo>
                    <a:pt x="169" y="20"/>
                  </a:lnTo>
                  <a:lnTo>
                    <a:pt x="169" y="20"/>
                  </a:lnTo>
                  <a:lnTo>
                    <a:pt x="179" y="10"/>
                  </a:lnTo>
                  <a:lnTo>
                    <a:pt x="179" y="10"/>
                  </a:lnTo>
                  <a:lnTo>
                    <a:pt x="179" y="10"/>
                  </a:lnTo>
                  <a:lnTo>
                    <a:pt x="189" y="10"/>
                  </a:lnTo>
                  <a:lnTo>
                    <a:pt x="209" y="0"/>
                  </a:lnTo>
                  <a:lnTo>
                    <a:pt x="229" y="10"/>
                  </a:lnTo>
                  <a:lnTo>
                    <a:pt x="278" y="10"/>
                  </a:lnTo>
                  <a:lnTo>
                    <a:pt x="288" y="10"/>
                  </a:lnTo>
                  <a:lnTo>
                    <a:pt x="298" y="10"/>
                  </a:lnTo>
                  <a:lnTo>
                    <a:pt x="298" y="10"/>
                  </a:lnTo>
                  <a:lnTo>
                    <a:pt x="298" y="30"/>
                  </a:lnTo>
                  <a:lnTo>
                    <a:pt x="288" y="40"/>
                  </a:lnTo>
                  <a:lnTo>
                    <a:pt x="278" y="50"/>
                  </a:lnTo>
                  <a:lnTo>
                    <a:pt x="268" y="60"/>
                  </a:lnTo>
                  <a:lnTo>
                    <a:pt x="288" y="90"/>
                  </a:lnTo>
                  <a:lnTo>
                    <a:pt x="298" y="100"/>
                  </a:lnTo>
                  <a:lnTo>
                    <a:pt x="308" y="100"/>
                  </a:lnTo>
                  <a:lnTo>
                    <a:pt x="308" y="110"/>
                  </a:lnTo>
                  <a:lnTo>
                    <a:pt x="308" y="110"/>
                  </a:lnTo>
                  <a:lnTo>
                    <a:pt x="318" y="149"/>
                  </a:lnTo>
                  <a:lnTo>
                    <a:pt x="318" y="149"/>
                  </a:lnTo>
                  <a:lnTo>
                    <a:pt x="318" y="149"/>
                  </a:lnTo>
                  <a:lnTo>
                    <a:pt x="298" y="140"/>
                  </a:lnTo>
                  <a:lnTo>
                    <a:pt x="278" y="140"/>
                  </a:lnTo>
                  <a:lnTo>
                    <a:pt x="238" y="140"/>
                  </a:lnTo>
                  <a:lnTo>
                    <a:pt x="238" y="159"/>
                  </a:lnTo>
                  <a:lnTo>
                    <a:pt x="238" y="169"/>
                  </a:lnTo>
                  <a:lnTo>
                    <a:pt x="229" y="169"/>
                  </a:lnTo>
                  <a:lnTo>
                    <a:pt x="229" y="179"/>
                  </a:lnTo>
                  <a:lnTo>
                    <a:pt x="229" y="179"/>
                  </a:lnTo>
                  <a:lnTo>
                    <a:pt x="238" y="179"/>
                  </a:lnTo>
                  <a:lnTo>
                    <a:pt x="238" y="179"/>
                  </a:lnTo>
                  <a:lnTo>
                    <a:pt x="229" y="189"/>
                  </a:lnTo>
                  <a:lnTo>
                    <a:pt x="218" y="189"/>
                  </a:lnTo>
                  <a:lnTo>
                    <a:pt x="218" y="189"/>
                  </a:lnTo>
                  <a:lnTo>
                    <a:pt x="218" y="199"/>
                  </a:lnTo>
                  <a:lnTo>
                    <a:pt x="218" y="209"/>
                  </a:lnTo>
                  <a:lnTo>
                    <a:pt x="218" y="209"/>
                  </a:lnTo>
                  <a:lnTo>
                    <a:pt x="248" y="209"/>
                  </a:lnTo>
                  <a:lnTo>
                    <a:pt x="248" y="199"/>
                  </a:lnTo>
                  <a:lnTo>
                    <a:pt x="258" y="199"/>
                  </a:lnTo>
                  <a:lnTo>
                    <a:pt x="258" y="199"/>
                  </a:lnTo>
                  <a:lnTo>
                    <a:pt x="268" y="199"/>
                  </a:lnTo>
                  <a:lnTo>
                    <a:pt x="288" y="199"/>
                  </a:lnTo>
                  <a:lnTo>
                    <a:pt x="298" y="199"/>
                  </a:lnTo>
                  <a:lnTo>
                    <a:pt x="298" y="199"/>
                  </a:lnTo>
                  <a:lnTo>
                    <a:pt x="308" y="209"/>
                  </a:lnTo>
                  <a:lnTo>
                    <a:pt x="298" y="219"/>
                  </a:lnTo>
                  <a:lnTo>
                    <a:pt x="298" y="219"/>
                  </a:lnTo>
                  <a:lnTo>
                    <a:pt x="308" y="229"/>
                  </a:lnTo>
                  <a:lnTo>
                    <a:pt x="308" y="239"/>
                  </a:lnTo>
                  <a:lnTo>
                    <a:pt x="318" y="229"/>
                  </a:lnTo>
                  <a:lnTo>
                    <a:pt x="318" y="239"/>
                  </a:lnTo>
                  <a:lnTo>
                    <a:pt x="318" y="259"/>
                  </a:lnTo>
                  <a:lnTo>
                    <a:pt x="328" y="259"/>
                  </a:lnTo>
                  <a:lnTo>
                    <a:pt x="328" y="259"/>
                  </a:lnTo>
                  <a:lnTo>
                    <a:pt x="328" y="259"/>
                  </a:lnTo>
                  <a:lnTo>
                    <a:pt x="318" y="269"/>
                  </a:lnTo>
                  <a:lnTo>
                    <a:pt x="308" y="278"/>
                  </a:lnTo>
                  <a:lnTo>
                    <a:pt x="308" y="278"/>
                  </a:lnTo>
                  <a:lnTo>
                    <a:pt x="318" y="278"/>
                  </a:lnTo>
                  <a:lnTo>
                    <a:pt x="298" y="298"/>
                  </a:lnTo>
                  <a:lnTo>
                    <a:pt x="288" y="289"/>
                  </a:lnTo>
                  <a:lnTo>
                    <a:pt x="288" y="289"/>
                  </a:lnTo>
                  <a:lnTo>
                    <a:pt x="288" y="298"/>
                  </a:lnTo>
                  <a:lnTo>
                    <a:pt x="278" y="308"/>
                  </a:lnTo>
                  <a:lnTo>
                    <a:pt x="268" y="308"/>
                  </a:lnTo>
                  <a:lnTo>
                    <a:pt x="258" y="318"/>
                  </a:lnTo>
                  <a:lnTo>
                    <a:pt x="258" y="298"/>
                  </a:lnTo>
                  <a:lnTo>
                    <a:pt x="248" y="298"/>
                  </a:lnTo>
                  <a:lnTo>
                    <a:pt x="258" y="328"/>
                  </a:lnTo>
                  <a:lnTo>
                    <a:pt x="248" y="328"/>
                  </a:lnTo>
                  <a:lnTo>
                    <a:pt x="248" y="328"/>
                  </a:lnTo>
                  <a:lnTo>
                    <a:pt x="218" y="318"/>
                  </a:lnTo>
                  <a:lnTo>
                    <a:pt x="209" y="308"/>
                  </a:lnTo>
                  <a:lnTo>
                    <a:pt x="209" y="308"/>
                  </a:lnTo>
                  <a:lnTo>
                    <a:pt x="199" y="289"/>
                  </a:lnTo>
                  <a:lnTo>
                    <a:pt x="179" y="308"/>
                  </a:lnTo>
                  <a:lnTo>
                    <a:pt x="169" y="298"/>
                  </a:lnTo>
                  <a:lnTo>
                    <a:pt x="159" y="289"/>
                  </a:lnTo>
                  <a:lnTo>
                    <a:pt x="139" y="318"/>
                  </a:lnTo>
                  <a:lnTo>
                    <a:pt x="139" y="308"/>
                  </a:lnTo>
                  <a:lnTo>
                    <a:pt x="109" y="308"/>
                  </a:lnTo>
                  <a:lnTo>
                    <a:pt x="109" y="308"/>
                  </a:lnTo>
                  <a:lnTo>
                    <a:pt x="99" y="318"/>
                  </a:lnTo>
                  <a:lnTo>
                    <a:pt x="99" y="318"/>
                  </a:lnTo>
                  <a:lnTo>
                    <a:pt x="80" y="318"/>
                  </a:lnTo>
                  <a:lnTo>
                    <a:pt x="80" y="269"/>
                  </a:lnTo>
                  <a:lnTo>
                    <a:pt x="69" y="269"/>
                  </a:lnTo>
                  <a:lnTo>
                    <a:pt x="50" y="259"/>
                  </a:lnTo>
                  <a:lnTo>
                    <a:pt x="50" y="259"/>
                  </a:lnTo>
                  <a:lnTo>
                    <a:pt x="40" y="259"/>
                  </a:lnTo>
                  <a:lnTo>
                    <a:pt x="20" y="23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79" name="Freeform 586">
              <a:extLst>
                <a:ext uri="{FF2B5EF4-FFF2-40B4-BE49-F238E27FC236}">
                  <a16:creationId xmlns:a16="http://schemas.microsoft.com/office/drawing/2014/main" id="{00C138BF-845F-775A-1A76-99E1FF491039}"/>
                </a:ext>
              </a:extLst>
            </p:cNvPr>
            <p:cNvSpPr>
              <a:spLocks/>
            </p:cNvSpPr>
            <p:nvPr/>
          </p:nvSpPr>
          <p:spPr bwMode="auto">
            <a:xfrm>
              <a:off x="13049117" y="3130604"/>
              <a:ext cx="26875" cy="39373"/>
            </a:xfrm>
            <a:custGeom>
              <a:avLst/>
              <a:gdLst/>
              <a:ahLst/>
              <a:cxnLst>
                <a:cxn ang="0">
                  <a:pos x="20" y="10"/>
                </a:cxn>
                <a:cxn ang="0">
                  <a:pos x="20" y="20"/>
                </a:cxn>
                <a:cxn ang="0">
                  <a:pos x="10" y="30"/>
                </a:cxn>
                <a:cxn ang="0">
                  <a:pos x="0" y="30"/>
                </a:cxn>
                <a:cxn ang="0">
                  <a:pos x="0" y="30"/>
                </a:cxn>
                <a:cxn ang="0">
                  <a:pos x="0" y="20"/>
                </a:cxn>
                <a:cxn ang="0">
                  <a:pos x="0" y="10"/>
                </a:cxn>
                <a:cxn ang="0">
                  <a:pos x="0" y="10"/>
                </a:cxn>
                <a:cxn ang="0">
                  <a:pos x="10" y="0"/>
                </a:cxn>
                <a:cxn ang="0">
                  <a:pos x="10" y="0"/>
                </a:cxn>
                <a:cxn ang="0">
                  <a:pos x="20" y="0"/>
                </a:cxn>
                <a:cxn ang="0">
                  <a:pos x="20" y="10"/>
                </a:cxn>
              </a:cxnLst>
              <a:rect l="0" t="0" r="r" b="b"/>
              <a:pathLst>
                <a:path w="20" h="30">
                  <a:moveTo>
                    <a:pt x="20" y="10"/>
                  </a:moveTo>
                  <a:lnTo>
                    <a:pt x="20" y="20"/>
                  </a:lnTo>
                  <a:lnTo>
                    <a:pt x="10" y="30"/>
                  </a:lnTo>
                  <a:lnTo>
                    <a:pt x="0" y="30"/>
                  </a:lnTo>
                  <a:lnTo>
                    <a:pt x="0" y="30"/>
                  </a:lnTo>
                  <a:lnTo>
                    <a:pt x="0" y="20"/>
                  </a:lnTo>
                  <a:lnTo>
                    <a:pt x="0" y="10"/>
                  </a:lnTo>
                  <a:lnTo>
                    <a:pt x="0" y="10"/>
                  </a:lnTo>
                  <a:lnTo>
                    <a:pt x="10" y="0"/>
                  </a:lnTo>
                  <a:lnTo>
                    <a:pt x="10" y="0"/>
                  </a:lnTo>
                  <a:lnTo>
                    <a:pt x="20" y="0"/>
                  </a:lnTo>
                  <a:lnTo>
                    <a:pt x="2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0" name="Freeform 587">
              <a:extLst>
                <a:ext uri="{FF2B5EF4-FFF2-40B4-BE49-F238E27FC236}">
                  <a16:creationId xmlns:a16="http://schemas.microsoft.com/office/drawing/2014/main" id="{D8C8D61B-706B-48B3-361F-F40F35476B78}"/>
                </a:ext>
              </a:extLst>
            </p:cNvPr>
            <p:cNvSpPr>
              <a:spLocks/>
            </p:cNvSpPr>
            <p:nvPr/>
          </p:nvSpPr>
          <p:spPr bwMode="auto">
            <a:xfrm>
              <a:off x="12715866" y="3261847"/>
              <a:ext cx="587221" cy="312359"/>
            </a:xfrm>
            <a:custGeom>
              <a:avLst/>
              <a:gdLst/>
              <a:ahLst/>
              <a:cxnLst>
                <a:cxn ang="0">
                  <a:pos x="327" y="198"/>
                </a:cxn>
                <a:cxn ang="0">
                  <a:pos x="308" y="198"/>
                </a:cxn>
                <a:cxn ang="0">
                  <a:pos x="308" y="188"/>
                </a:cxn>
                <a:cxn ang="0">
                  <a:pos x="288" y="198"/>
                </a:cxn>
                <a:cxn ang="0">
                  <a:pos x="278" y="188"/>
                </a:cxn>
                <a:cxn ang="0">
                  <a:pos x="238" y="188"/>
                </a:cxn>
                <a:cxn ang="0">
                  <a:pos x="228" y="188"/>
                </a:cxn>
                <a:cxn ang="0">
                  <a:pos x="218" y="208"/>
                </a:cxn>
                <a:cxn ang="0">
                  <a:pos x="218" y="228"/>
                </a:cxn>
                <a:cxn ang="0">
                  <a:pos x="189" y="218"/>
                </a:cxn>
                <a:cxn ang="0">
                  <a:pos x="159" y="228"/>
                </a:cxn>
                <a:cxn ang="0">
                  <a:pos x="159" y="208"/>
                </a:cxn>
                <a:cxn ang="0">
                  <a:pos x="149" y="198"/>
                </a:cxn>
                <a:cxn ang="0">
                  <a:pos x="129" y="198"/>
                </a:cxn>
                <a:cxn ang="0">
                  <a:pos x="109" y="208"/>
                </a:cxn>
                <a:cxn ang="0">
                  <a:pos x="109" y="198"/>
                </a:cxn>
                <a:cxn ang="0">
                  <a:pos x="99" y="198"/>
                </a:cxn>
                <a:cxn ang="0">
                  <a:pos x="99" y="179"/>
                </a:cxn>
                <a:cxn ang="0">
                  <a:pos x="79" y="169"/>
                </a:cxn>
                <a:cxn ang="0">
                  <a:pos x="69" y="149"/>
                </a:cxn>
                <a:cxn ang="0">
                  <a:pos x="40" y="139"/>
                </a:cxn>
                <a:cxn ang="0">
                  <a:pos x="40" y="119"/>
                </a:cxn>
                <a:cxn ang="0">
                  <a:pos x="20" y="109"/>
                </a:cxn>
                <a:cxn ang="0">
                  <a:pos x="40" y="59"/>
                </a:cxn>
                <a:cxn ang="0">
                  <a:pos x="40" y="39"/>
                </a:cxn>
                <a:cxn ang="0">
                  <a:pos x="49" y="59"/>
                </a:cxn>
                <a:cxn ang="0">
                  <a:pos x="79" y="59"/>
                </a:cxn>
                <a:cxn ang="0">
                  <a:pos x="149" y="39"/>
                </a:cxn>
                <a:cxn ang="0">
                  <a:pos x="208" y="19"/>
                </a:cxn>
                <a:cxn ang="0">
                  <a:pos x="238" y="19"/>
                </a:cxn>
                <a:cxn ang="0">
                  <a:pos x="288" y="19"/>
                </a:cxn>
                <a:cxn ang="0">
                  <a:pos x="308" y="19"/>
                </a:cxn>
                <a:cxn ang="0">
                  <a:pos x="357" y="19"/>
                </a:cxn>
                <a:cxn ang="0">
                  <a:pos x="427" y="0"/>
                </a:cxn>
                <a:cxn ang="0">
                  <a:pos x="427" y="0"/>
                </a:cxn>
                <a:cxn ang="0">
                  <a:pos x="417" y="0"/>
                </a:cxn>
                <a:cxn ang="0">
                  <a:pos x="397" y="19"/>
                </a:cxn>
                <a:cxn ang="0">
                  <a:pos x="397" y="59"/>
                </a:cxn>
                <a:cxn ang="0">
                  <a:pos x="397" y="69"/>
                </a:cxn>
                <a:cxn ang="0">
                  <a:pos x="407" y="79"/>
                </a:cxn>
                <a:cxn ang="0">
                  <a:pos x="407" y="109"/>
                </a:cxn>
                <a:cxn ang="0">
                  <a:pos x="407" y="149"/>
                </a:cxn>
                <a:cxn ang="0">
                  <a:pos x="417" y="188"/>
                </a:cxn>
                <a:cxn ang="0">
                  <a:pos x="417" y="198"/>
                </a:cxn>
                <a:cxn ang="0">
                  <a:pos x="397" y="198"/>
                </a:cxn>
                <a:cxn ang="0">
                  <a:pos x="397" y="208"/>
                </a:cxn>
                <a:cxn ang="0">
                  <a:pos x="387" y="218"/>
                </a:cxn>
                <a:cxn ang="0">
                  <a:pos x="367" y="238"/>
                </a:cxn>
                <a:cxn ang="0">
                  <a:pos x="357" y="238"/>
                </a:cxn>
                <a:cxn ang="0">
                  <a:pos x="367" y="208"/>
                </a:cxn>
                <a:cxn ang="0">
                  <a:pos x="347" y="208"/>
                </a:cxn>
                <a:cxn ang="0">
                  <a:pos x="338" y="198"/>
                </a:cxn>
              </a:cxnLst>
              <a:rect l="0" t="0" r="r" b="b"/>
              <a:pathLst>
                <a:path w="437" h="238">
                  <a:moveTo>
                    <a:pt x="338" y="198"/>
                  </a:moveTo>
                  <a:lnTo>
                    <a:pt x="338" y="198"/>
                  </a:lnTo>
                  <a:lnTo>
                    <a:pt x="327" y="198"/>
                  </a:lnTo>
                  <a:lnTo>
                    <a:pt x="327" y="198"/>
                  </a:lnTo>
                  <a:lnTo>
                    <a:pt x="318" y="188"/>
                  </a:lnTo>
                  <a:lnTo>
                    <a:pt x="308" y="198"/>
                  </a:lnTo>
                  <a:lnTo>
                    <a:pt x="308" y="198"/>
                  </a:lnTo>
                  <a:lnTo>
                    <a:pt x="308" y="188"/>
                  </a:lnTo>
                  <a:lnTo>
                    <a:pt x="308" y="188"/>
                  </a:lnTo>
                  <a:lnTo>
                    <a:pt x="298" y="188"/>
                  </a:lnTo>
                  <a:lnTo>
                    <a:pt x="298" y="198"/>
                  </a:lnTo>
                  <a:lnTo>
                    <a:pt x="288" y="198"/>
                  </a:lnTo>
                  <a:lnTo>
                    <a:pt x="288" y="188"/>
                  </a:lnTo>
                  <a:lnTo>
                    <a:pt x="288" y="188"/>
                  </a:lnTo>
                  <a:lnTo>
                    <a:pt x="278" y="188"/>
                  </a:lnTo>
                  <a:lnTo>
                    <a:pt x="258" y="188"/>
                  </a:lnTo>
                  <a:lnTo>
                    <a:pt x="248" y="188"/>
                  </a:lnTo>
                  <a:lnTo>
                    <a:pt x="238" y="188"/>
                  </a:lnTo>
                  <a:lnTo>
                    <a:pt x="238" y="188"/>
                  </a:lnTo>
                  <a:lnTo>
                    <a:pt x="238" y="188"/>
                  </a:lnTo>
                  <a:lnTo>
                    <a:pt x="228" y="188"/>
                  </a:lnTo>
                  <a:lnTo>
                    <a:pt x="218" y="188"/>
                  </a:lnTo>
                  <a:lnTo>
                    <a:pt x="218" y="198"/>
                  </a:lnTo>
                  <a:lnTo>
                    <a:pt x="218" y="208"/>
                  </a:lnTo>
                  <a:lnTo>
                    <a:pt x="218" y="228"/>
                  </a:lnTo>
                  <a:lnTo>
                    <a:pt x="218" y="228"/>
                  </a:lnTo>
                  <a:lnTo>
                    <a:pt x="218" y="228"/>
                  </a:lnTo>
                  <a:lnTo>
                    <a:pt x="208" y="228"/>
                  </a:lnTo>
                  <a:lnTo>
                    <a:pt x="208" y="218"/>
                  </a:lnTo>
                  <a:lnTo>
                    <a:pt x="189" y="218"/>
                  </a:lnTo>
                  <a:lnTo>
                    <a:pt x="189" y="218"/>
                  </a:lnTo>
                  <a:lnTo>
                    <a:pt x="178" y="218"/>
                  </a:lnTo>
                  <a:lnTo>
                    <a:pt x="159" y="228"/>
                  </a:lnTo>
                  <a:lnTo>
                    <a:pt x="159" y="218"/>
                  </a:lnTo>
                  <a:lnTo>
                    <a:pt x="159" y="208"/>
                  </a:lnTo>
                  <a:lnTo>
                    <a:pt x="159" y="208"/>
                  </a:lnTo>
                  <a:lnTo>
                    <a:pt x="159" y="198"/>
                  </a:lnTo>
                  <a:lnTo>
                    <a:pt x="159" y="198"/>
                  </a:lnTo>
                  <a:lnTo>
                    <a:pt x="149" y="198"/>
                  </a:lnTo>
                  <a:lnTo>
                    <a:pt x="149" y="198"/>
                  </a:lnTo>
                  <a:lnTo>
                    <a:pt x="139" y="198"/>
                  </a:lnTo>
                  <a:lnTo>
                    <a:pt x="129" y="198"/>
                  </a:lnTo>
                  <a:lnTo>
                    <a:pt x="119" y="208"/>
                  </a:lnTo>
                  <a:lnTo>
                    <a:pt x="109" y="208"/>
                  </a:lnTo>
                  <a:lnTo>
                    <a:pt x="109" y="208"/>
                  </a:lnTo>
                  <a:lnTo>
                    <a:pt x="109" y="208"/>
                  </a:lnTo>
                  <a:lnTo>
                    <a:pt x="109" y="208"/>
                  </a:lnTo>
                  <a:lnTo>
                    <a:pt x="109" y="198"/>
                  </a:lnTo>
                  <a:lnTo>
                    <a:pt x="109" y="188"/>
                  </a:lnTo>
                  <a:lnTo>
                    <a:pt x="109" y="188"/>
                  </a:lnTo>
                  <a:lnTo>
                    <a:pt x="99" y="198"/>
                  </a:lnTo>
                  <a:lnTo>
                    <a:pt x="99" y="188"/>
                  </a:lnTo>
                  <a:lnTo>
                    <a:pt x="99" y="188"/>
                  </a:lnTo>
                  <a:lnTo>
                    <a:pt x="99" y="179"/>
                  </a:lnTo>
                  <a:lnTo>
                    <a:pt x="89" y="179"/>
                  </a:lnTo>
                  <a:lnTo>
                    <a:pt x="89" y="179"/>
                  </a:lnTo>
                  <a:lnTo>
                    <a:pt x="79" y="169"/>
                  </a:lnTo>
                  <a:lnTo>
                    <a:pt x="79" y="169"/>
                  </a:lnTo>
                  <a:lnTo>
                    <a:pt x="89" y="169"/>
                  </a:lnTo>
                  <a:lnTo>
                    <a:pt x="69" y="149"/>
                  </a:lnTo>
                  <a:lnTo>
                    <a:pt x="49" y="139"/>
                  </a:lnTo>
                  <a:lnTo>
                    <a:pt x="49" y="139"/>
                  </a:lnTo>
                  <a:lnTo>
                    <a:pt x="40" y="139"/>
                  </a:lnTo>
                  <a:lnTo>
                    <a:pt x="40" y="129"/>
                  </a:lnTo>
                  <a:lnTo>
                    <a:pt x="40" y="129"/>
                  </a:lnTo>
                  <a:lnTo>
                    <a:pt x="40" y="119"/>
                  </a:lnTo>
                  <a:lnTo>
                    <a:pt x="29" y="109"/>
                  </a:lnTo>
                  <a:lnTo>
                    <a:pt x="29" y="109"/>
                  </a:lnTo>
                  <a:lnTo>
                    <a:pt x="20" y="109"/>
                  </a:lnTo>
                  <a:lnTo>
                    <a:pt x="0" y="79"/>
                  </a:lnTo>
                  <a:lnTo>
                    <a:pt x="20" y="69"/>
                  </a:lnTo>
                  <a:lnTo>
                    <a:pt x="40" y="59"/>
                  </a:lnTo>
                  <a:lnTo>
                    <a:pt x="40" y="59"/>
                  </a:lnTo>
                  <a:lnTo>
                    <a:pt x="40" y="59"/>
                  </a:lnTo>
                  <a:lnTo>
                    <a:pt x="40" y="39"/>
                  </a:lnTo>
                  <a:lnTo>
                    <a:pt x="40" y="39"/>
                  </a:lnTo>
                  <a:lnTo>
                    <a:pt x="49" y="49"/>
                  </a:lnTo>
                  <a:lnTo>
                    <a:pt x="49" y="59"/>
                  </a:lnTo>
                  <a:lnTo>
                    <a:pt x="59" y="59"/>
                  </a:lnTo>
                  <a:lnTo>
                    <a:pt x="69" y="59"/>
                  </a:lnTo>
                  <a:lnTo>
                    <a:pt x="79" y="59"/>
                  </a:lnTo>
                  <a:lnTo>
                    <a:pt x="99" y="59"/>
                  </a:lnTo>
                  <a:lnTo>
                    <a:pt x="139" y="39"/>
                  </a:lnTo>
                  <a:lnTo>
                    <a:pt x="149" y="39"/>
                  </a:lnTo>
                  <a:lnTo>
                    <a:pt x="159" y="39"/>
                  </a:lnTo>
                  <a:lnTo>
                    <a:pt x="198" y="30"/>
                  </a:lnTo>
                  <a:lnTo>
                    <a:pt x="208" y="19"/>
                  </a:lnTo>
                  <a:lnTo>
                    <a:pt x="218" y="19"/>
                  </a:lnTo>
                  <a:lnTo>
                    <a:pt x="218" y="19"/>
                  </a:lnTo>
                  <a:lnTo>
                    <a:pt x="238" y="19"/>
                  </a:lnTo>
                  <a:lnTo>
                    <a:pt x="278" y="10"/>
                  </a:lnTo>
                  <a:lnTo>
                    <a:pt x="278" y="10"/>
                  </a:lnTo>
                  <a:lnTo>
                    <a:pt x="288" y="19"/>
                  </a:lnTo>
                  <a:lnTo>
                    <a:pt x="288" y="19"/>
                  </a:lnTo>
                  <a:lnTo>
                    <a:pt x="298" y="19"/>
                  </a:lnTo>
                  <a:lnTo>
                    <a:pt x="308" y="19"/>
                  </a:lnTo>
                  <a:lnTo>
                    <a:pt x="308" y="10"/>
                  </a:lnTo>
                  <a:lnTo>
                    <a:pt x="338" y="10"/>
                  </a:lnTo>
                  <a:lnTo>
                    <a:pt x="357" y="19"/>
                  </a:lnTo>
                  <a:lnTo>
                    <a:pt x="367" y="19"/>
                  </a:lnTo>
                  <a:lnTo>
                    <a:pt x="417" y="0"/>
                  </a:lnTo>
                  <a:lnTo>
                    <a:pt x="427" y="0"/>
                  </a:lnTo>
                  <a:lnTo>
                    <a:pt x="437" y="0"/>
                  </a:lnTo>
                  <a:lnTo>
                    <a:pt x="437" y="0"/>
                  </a:lnTo>
                  <a:lnTo>
                    <a:pt x="427" y="0"/>
                  </a:lnTo>
                  <a:lnTo>
                    <a:pt x="427" y="0"/>
                  </a:lnTo>
                  <a:lnTo>
                    <a:pt x="427" y="0"/>
                  </a:lnTo>
                  <a:lnTo>
                    <a:pt x="417" y="0"/>
                  </a:lnTo>
                  <a:lnTo>
                    <a:pt x="397" y="10"/>
                  </a:lnTo>
                  <a:lnTo>
                    <a:pt x="397" y="10"/>
                  </a:lnTo>
                  <a:lnTo>
                    <a:pt x="397" y="19"/>
                  </a:lnTo>
                  <a:lnTo>
                    <a:pt x="397" y="30"/>
                  </a:lnTo>
                  <a:lnTo>
                    <a:pt x="387" y="49"/>
                  </a:lnTo>
                  <a:lnTo>
                    <a:pt x="397" y="59"/>
                  </a:lnTo>
                  <a:lnTo>
                    <a:pt x="397" y="59"/>
                  </a:lnTo>
                  <a:lnTo>
                    <a:pt x="397" y="59"/>
                  </a:lnTo>
                  <a:lnTo>
                    <a:pt x="397" y="69"/>
                  </a:lnTo>
                  <a:lnTo>
                    <a:pt x="397" y="79"/>
                  </a:lnTo>
                  <a:lnTo>
                    <a:pt x="397" y="79"/>
                  </a:lnTo>
                  <a:lnTo>
                    <a:pt x="407" y="79"/>
                  </a:lnTo>
                  <a:lnTo>
                    <a:pt x="397" y="89"/>
                  </a:lnTo>
                  <a:lnTo>
                    <a:pt x="397" y="99"/>
                  </a:lnTo>
                  <a:lnTo>
                    <a:pt x="407" y="109"/>
                  </a:lnTo>
                  <a:lnTo>
                    <a:pt x="407" y="129"/>
                  </a:lnTo>
                  <a:lnTo>
                    <a:pt x="407" y="139"/>
                  </a:lnTo>
                  <a:lnTo>
                    <a:pt x="407" y="149"/>
                  </a:lnTo>
                  <a:lnTo>
                    <a:pt x="417" y="159"/>
                  </a:lnTo>
                  <a:lnTo>
                    <a:pt x="417" y="169"/>
                  </a:lnTo>
                  <a:lnTo>
                    <a:pt x="417" y="188"/>
                  </a:lnTo>
                  <a:lnTo>
                    <a:pt x="427" y="198"/>
                  </a:lnTo>
                  <a:lnTo>
                    <a:pt x="417" y="198"/>
                  </a:lnTo>
                  <a:lnTo>
                    <a:pt x="417" y="198"/>
                  </a:lnTo>
                  <a:lnTo>
                    <a:pt x="407" y="198"/>
                  </a:lnTo>
                  <a:lnTo>
                    <a:pt x="397" y="198"/>
                  </a:lnTo>
                  <a:lnTo>
                    <a:pt x="397" y="198"/>
                  </a:lnTo>
                  <a:lnTo>
                    <a:pt x="397" y="198"/>
                  </a:lnTo>
                  <a:lnTo>
                    <a:pt x="397" y="198"/>
                  </a:lnTo>
                  <a:lnTo>
                    <a:pt x="397" y="208"/>
                  </a:lnTo>
                  <a:lnTo>
                    <a:pt x="397" y="208"/>
                  </a:lnTo>
                  <a:lnTo>
                    <a:pt x="387" y="208"/>
                  </a:lnTo>
                  <a:lnTo>
                    <a:pt x="387" y="218"/>
                  </a:lnTo>
                  <a:lnTo>
                    <a:pt x="387" y="228"/>
                  </a:lnTo>
                  <a:lnTo>
                    <a:pt x="377" y="228"/>
                  </a:lnTo>
                  <a:lnTo>
                    <a:pt x="367" y="238"/>
                  </a:lnTo>
                  <a:lnTo>
                    <a:pt x="367" y="238"/>
                  </a:lnTo>
                  <a:lnTo>
                    <a:pt x="357" y="238"/>
                  </a:lnTo>
                  <a:lnTo>
                    <a:pt x="357" y="238"/>
                  </a:lnTo>
                  <a:lnTo>
                    <a:pt x="367" y="218"/>
                  </a:lnTo>
                  <a:lnTo>
                    <a:pt x="367" y="218"/>
                  </a:lnTo>
                  <a:lnTo>
                    <a:pt x="367" y="208"/>
                  </a:lnTo>
                  <a:lnTo>
                    <a:pt x="357" y="218"/>
                  </a:lnTo>
                  <a:lnTo>
                    <a:pt x="357" y="218"/>
                  </a:lnTo>
                  <a:lnTo>
                    <a:pt x="347" y="208"/>
                  </a:lnTo>
                  <a:lnTo>
                    <a:pt x="347" y="198"/>
                  </a:lnTo>
                  <a:lnTo>
                    <a:pt x="347" y="198"/>
                  </a:lnTo>
                  <a:lnTo>
                    <a:pt x="338" y="198"/>
                  </a:lnTo>
                  <a:lnTo>
                    <a:pt x="338" y="19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1" name="Freeform 588">
              <a:extLst>
                <a:ext uri="{FF2B5EF4-FFF2-40B4-BE49-F238E27FC236}">
                  <a16:creationId xmlns:a16="http://schemas.microsoft.com/office/drawing/2014/main" id="{F36CFCDC-58F6-E44D-8860-61F0A1EC30E8}"/>
                </a:ext>
              </a:extLst>
            </p:cNvPr>
            <p:cNvSpPr>
              <a:spLocks/>
            </p:cNvSpPr>
            <p:nvPr/>
          </p:nvSpPr>
          <p:spPr bwMode="auto">
            <a:xfrm>
              <a:off x="13008804" y="3666075"/>
              <a:ext cx="373564" cy="351731"/>
            </a:xfrm>
            <a:custGeom>
              <a:avLst/>
              <a:gdLst/>
              <a:ahLst/>
              <a:cxnLst>
                <a:cxn ang="0">
                  <a:pos x="249" y="79"/>
                </a:cxn>
                <a:cxn ang="0">
                  <a:pos x="268" y="79"/>
                </a:cxn>
                <a:cxn ang="0">
                  <a:pos x="268" y="109"/>
                </a:cxn>
                <a:cxn ang="0">
                  <a:pos x="268" y="119"/>
                </a:cxn>
                <a:cxn ang="0">
                  <a:pos x="249" y="149"/>
                </a:cxn>
                <a:cxn ang="0">
                  <a:pos x="239" y="149"/>
                </a:cxn>
                <a:cxn ang="0">
                  <a:pos x="229" y="169"/>
                </a:cxn>
                <a:cxn ang="0">
                  <a:pos x="219" y="188"/>
                </a:cxn>
                <a:cxn ang="0">
                  <a:pos x="209" y="218"/>
                </a:cxn>
                <a:cxn ang="0">
                  <a:pos x="189" y="238"/>
                </a:cxn>
                <a:cxn ang="0">
                  <a:pos x="169" y="238"/>
                </a:cxn>
                <a:cxn ang="0">
                  <a:pos x="159" y="248"/>
                </a:cxn>
                <a:cxn ang="0">
                  <a:pos x="129" y="268"/>
                </a:cxn>
                <a:cxn ang="0">
                  <a:pos x="109" y="248"/>
                </a:cxn>
                <a:cxn ang="0">
                  <a:pos x="129" y="198"/>
                </a:cxn>
                <a:cxn ang="0">
                  <a:pos x="120" y="198"/>
                </a:cxn>
                <a:cxn ang="0">
                  <a:pos x="100" y="179"/>
                </a:cxn>
                <a:cxn ang="0">
                  <a:pos x="80" y="149"/>
                </a:cxn>
                <a:cxn ang="0">
                  <a:pos x="80" y="139"/>
                </a:cxn>
                <a:cxn ang="0">
                  <a:pos x="80" y="129"/>
                </a:cxn>
                <a:cxn ang="0">
                  <a:pos x="30" y="89"/>
                </a:cxn>
                <a:cxn ang="0">
                  <a:pos x="10" y="79"/>
                </a:cxn>
                <a:cxn ang="0">
                  <a:pos x="0" y="59"/>
                </a:cxn>
                <a:cxn ang="0">
                  <a:pos x="10" y="59"/>
                </a:cxn>
                <a:cxn ang="0">
                  <a:pos x="20" y="59"/>
                </a:cxn>
                <a:cxn ang="0">
                  <a:pos x="40" y="49"/>
                </a:cxn>
                <a:cxn ang="0">
                  <a:pos x="70" y="49"/>
                </a:cxn>
                <a:cxn ang="0">
                  <a:pos x="109" y="30"/>
                </a:cxn>
                <a:cxn ang="0">
                  <a:pos x="129" y="20"/>
                </a:cxn>
                <a:cxn ang="0">
                  <a:pos x="159" y="10"/>
                </a:cxn>
                <a:cxn ang="0">
                  <a:pos x="169" y="20"/>
                </a:cxn>
                <a:cxn ang="0">
                  <a:pos x="179" y="10"/>
                </a:cxn>
                <a:cxn ang="0">
                  <a:pos x="189" y="10"/>
                </a:cxn>
                <a:cxn ang="0">
                  <a:pos x="209" y="20"/>
                </a:cxn>
                <a:cxn ang="0">
                  <a:pos x="219" y="0"/>
                </a:cxn>
                <a:cxn ang="0">
                  <a:pos x="229" y="0"/>
                </a:cxn>
                <a:cxn ang="0">
                  <a:pos x="258" y="10"/>
                </a:cxn>
                <a:cxn ang="0">
                  <a:pos x="258" y="20"/>
                </a:cxn>
                <a:cxn ang="0">
                  <a:pos x="278" y="30"/>
                </a:cxn>
                <a:cxn ang="0">
                  <a:pos x="278" y="30"/>
                </a:cxn>
                <a:cxn ang="0">
                  <a:pos x="268" y="49"/>
                </a:cxn>
                <a:cxn ang="0">
                  <a:pos x="258" y="59"/>
                </a:cxn>
                <a:cxn ang="0">
                  <a:pos x="258" y="59"/>
                </a:cxn>
                <a:cxn ang="0">
                  <a:pos x="249" y="69"/>
                </a:cxn>
              </a:cxnLst>
              <a:rect l="0" t="0" r="r" b="b"/>
              <a:pathLst>
                <a:path w="278" h="268">
                  <a:moveTo>
                    <a:pt x="249" y="69"/>
                  </a:moveTo>
                  <a:lnTo>
                    <a:pt x="249" y="79"/>
                  </a:lnTo>
                  <a:lnTo>
                    <a:pt x="258" y="79"/>
                  </a:lnTo>
                  <a:lnTo>
                    <a:pt x="268" y="79"/>
                  </a:lnTo>
                  <a:lnTo>
                    <a:pt x="268" y="99"/>
                  </a:lnTo>
                  <a:lnTo>
                    <a:pt x="268" y="109"/>
                  </a:lnTo>
                  <a:lnTo>
                    <a:pt x="268" y="109"/>
                  </a:lnTo>
                  <a:lnTo>
                    <a:pt x="268" y="119"/>
                  </a:lnTo>
                  <a:lnTo>
                    <a:pt x="258" y="139"/>
                  </a:lnTo>
                  <a:lnTo>
                    <a:pt x="249" y="149"/>
                  </a:lnTo>
                  <a:lnTo>
                    <a:pt x="239" y="149"/>
                  </a:lnTo>
                  <a:lnTo>
                    <a:pt x="239" y="149"/>
                  </a:lnTo>
                  <a:lnTo>
                    <a:pt x="229" y="159"/>
                  </a:lnTo>
                  <a:lnTo>
                    <a:pt x="229" y="169"/>
                  </a:lnTo>
                  <a:lnTo>
                    <a:pt x="219" y="188"/>
                  </a:lnTo>
                  <a:lnTo>
                    <a:pt x="219" y="188"/>
                  </a:lnTo>
                  <a:lnTo>
                    <a:pt x="209" y="198"/>
                  </a:lnTo>
                  <a:lnTo>
                    <a:pt x="209" y="218"/>
                  </a:lnTo>
                  <a:lnTo>
                    <a:pt x="209" y="238"/>
                  </a:lnTo>
                  <a:lnTo>
                    <a:pt x="189" y="238"/>
                  </a:lnTo>
                  <a:lnTo>
                    <a:pt x="169" y="258"/>
                  </a:lnTo>
                  <a:lnTo>
                    <a:pt x="169" y="238"/>
                  </a:lnTo>
                  <a:lnTo>
                    <a:pt x="169" y="238"/>
                  </a:lnTo>
                  <a:lnTo>
                    <a:pt x="159" y="248"/>
                  </a:lnTo>
                  <a:lnTo>
                    <a:pt x="139" y="268"/>
                  </a:lnTo>
                  <a:lnTo>
                    <a:pt x="129" y="268"/>
                  </a:lnTo>
                  <a:lnTo>
                    <a:pt x="129" y="258"/>
                  </a:lnTo>
                  <a:lnTo>
                    <a:pt x="109" y="248"/>
                  </a:lnTo>
                  <a:lnTo>
                    <a:pt x="120" y="208"/>
                  </a:lnTo>
                  <a:lnTo>
                    <a:pt x="129" y="198"/>
                  </a:lnTo>
                  <a:lnTo>
                    <a:pt x="120" y="198"/>
                  </a:lnTo>
                  <a:lnTo>
                    <a:pt x="120" y="198"/>
                  </a:lnTo>
                  <a:lnTo>
                    <a:pt x="109" y="188"/>
                  </a:lnTo>
                  <a:lnTo>
                    <a:pt x="100" y="179"/>
                  </a:lnTo>
                  <a:lnTo>
                    <a:pt x="90" y="159"/>
                  </a:lnTo>
                  <a:lnTo>
                    <a:pt x="80" y="149"/>
                  </a:lnTo>
                  <a:lnTo>
                    <a:pt x="80" y="149"/>
                  </a:lnTo>
                  <a:lnTo>
                    <a:pt x="80" y="139"/>
                  </a:lnTo>
                  <a:lnTo>
                    <a:pt x="80" y="139"/>
                  </a:lnTo>
                  <a:lnTo>
                    <a:pt x="80" y="129"/>
                  </a:lnTo>
                  <a:lnTo>
                    <a:pt x="90" y="119"/>
                  </a:lnTo>
                  <a:lnTo>
                    <a:pt x="30" y="89"/>
                  </a:lnTo>
                  <a:lnTo>
                    <a:pt x="10" y="89"/>
                  </a:lnTo>
                  <a:lnTo>
                    <a:pt x="10" y="79"/>
                  </a:lnTo>
                  <a:lnTo>
                    <a:pt x="0" y="59"/>
                  </a:lnTo>
                  <a:lnTo>
                    <a:pt x="0" y="59"/>
                  </a:lnTo>
                  <a:lnTo>
                    <a:pt x="10" y="59"/>
                  </a:lnTo>
                  <a:lnTo>
                    <a:pt x="10" y="59"/>
                  </a:lnTo>
                  <a:lnTo>
                    <a:pt x="10" y="59"/>
                  </a:lnTo>
                  <a:lnTo>
                    <a:pt x="20" y="59"/>
                  </a:lnTo>
                  <a:lnTo>
                    <a:pt x="30" y="59"/>
                  </a:lnTo>
                  <a:lnTo>
                    <a:pt x="40" y="49"/>
                  </a:lnTo>
                  <a:lnTo>
                    <a:pt x="50" y="49"/>
                  </a:lnTo>
                  <a:lnTo>
                    <a:pt x="70" y="49"/>
                  </a:lnTo>
                  <a:lnTo>
                    <a:pt x="100" y="30"/>
                  </a:lnTo>
                  <a:lnTo>
                    <a:pt x="109" y="30"/>
                  </a:lnTo>
                  <a:lnTo>
                    <a:pt x="120" y="20"/>
                  </a:lnTo>
                  <a:lnTo>
                    <a:pt x="129" y="20"/>
                  </a:lnTo>
                  <a:lnTo>
                    <a:pt x="139" y="20"/>
                  </a:lnTo>
                  <a:lnTo>
                    <a:pt x="159" y="10"/>
                  </a:lnTo>
                  <a:lnTo>
                    <a:pt x="159" y="20"/>
                  </a:lnTo>
                  <a:lnTo>
                    <a:pt x="169" y="20"/>
                  </a:lnTo>
                  <a:lnTo>
                    <a:pt x="169" y="10"/>
                  </a:lnTo>
                  <a:lnTo>
                    <a:pt x="179" y="10"/>
                  </a:lnTo>
                  <a:lnTo>
                    <a:pt x="189" y="10"/>
                  </a:lnTo>
                  <a:lnTo>
                    <a:pt x="189" y="10"/>
                  </a:lnTo>
                  <a:lnTo>
                    <a:pt x="199" y="20"/>
                  </a:lnTo>
                  <a:lnTo>
                    <a:pt x="209" y="20"/>
                  </a:lnTo>
                  <a:lnTo>
                    <a:pt x="219" y="10"/>
                  </a:lnTo>
                  <a:lnTo>
                    <a:pt x="219" y="0"/>
                  </a:lnTo>
                  <a:lnTo>
                    <a:pt x="219" y="0"/>
                  </a:lnTo>
                  <a:lnTo>
                    <a:pt x="229" y="0"/>
                  </a:lnTo>
                  <a:lnTo>
                    <a:pt x="229" y="0"/>
                  </a:lnTo>
                  <a:lnTo>
                    <a:pt x="258" y="10"/>
                  </a:lnTo>
                  <a:lnTo>
                    <a:pt x="258" y="20"/>
                  </a:lnTo>
                  <a:lnTo>
                    <a:pt x="258" y="20"/>
                  </a:lnTo>
                  <a:lnTo>
                    <a:pt x="258" y="20"/>
                  </a:lnTo>
                  <a:lnTo>
                    <a:pt x="278" y="30"/>
                  </a:lnTo>
                  <a:lnTo>
                    <a:pt x="278" y="30"/>
                  </a:lnTo>
                  <a:lnTo>
                    <a:pt x="278" y="30"/>
                  </a:lnTo>
                  <a:lnTo>
                    <a:pt x="278" y="39"/>
                  </a:lnTo>
                  <a:lnTo>
                    <a:pt x="268" y="49"/>
                  </a:lnTo>
                  <a:lnTo>
                    <a:pt x="268" y="49"/>
                  </a:lnTo>
                  <a:lnTo>
                    <a:pt x="258" y="59"/>
                  </a:lnTo>
                  <a:lnTo>
                    <a:pt x="258" y="59"/>
                  </a:lnTo>
                  <a:lnTo>
                    <a:pt x="258" y="59"/>
                  </a:lnTo>
                  <a:lnTo>
                    <a:pt x="249" y="69"/>
                  </a:lnTo>
                  <a:lnTo>
                    <a:pt x="249" y="6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82" name="Freeform 589">
              <a:extLst>
                <a:ext uri="{FF2B5EF4-FFF2-40B4-BE49-F238E27FC236}">
                  <a16:creationId xmlns:a16="http://schemas.microsoft.com/office/drawing/2014/main" id="{163DC21F-66EB-DF4B-0DF0-77507ADD7604}"/>
                </a:ext>
              </a:extLst>
            </p:cNvPr>
            <p:cNvSpPr>
              <a:spLocks/>
            </p:cNvSpPr>
            <p:nvPr/>
          </p:nvSpPr>
          <p:spPr bwMode="auto">
            <a:xfrm>
              <a:off x="12301989" y="3091231"/>
              <a:ext cx="627534" cy="157492"/>
            </a:xfrm>
            <a:custGeom>
              <a:avLst/>
              <a:gdLst/>
              <a:ahLst/>
              <a:cxnLst>
                <a:cxn ang="0">
                  <a:pos x="188" y="30"/>
                </a:cxn>
                <a:cxn ang="0">
                  <a:pos x="348" y="20"/>
                </a:cxn>
                <a:cxn ang="0">
                  <a:pos x="437" y="11"/>
                </a:cxn>
                <a:cxn ang="0">
                  <a:pos x="467" y="20"/>
                </a:cxn>
                <a:cxn ang="0">
                  <a:pos x="467" y="30"/>
                </a:cxn>
                <a:cxn ang="0">
                  <a:pos x="457" y="40"/>
                </a:cxn>
                <a:cxn ang="0">
                  <a:pos x="407" y="40"/>
                </a:cxn>
                <a:cxn ang="0">
                  <a:pos x="357" y="50"/>
                </a:cxn>
                <a:cxn ang="0">
                  <a:pos x="337" y="60"/>
                </a:cxn>
                <a:cxn ang="0">
                  <a:pos x="328" y="60"/>
                </a:cxn>
                <a:cxn ang="0">
                  <a:pos x="288" y="70"/>
                </a:cxn>
                <a:cxn ang="0">
                  <a:pos x="228" y="80"/>
                </a:cxn>
                <a:cxn ang="0">
                  <a:pos x="208" y="80"/>
                </a:cxn>
                <a:cxn ang="0">
                  <a:pos x="169" y="70"/>
                </a:cxn>
                <a:cxn ang="0">
                  <a:pos x="139" y="70"/>
                </a:cxn>
                <a:cxn ang="0">
                  <a:pos x="129" y="90"/>
                </a:cxn>
                <a:cxn ang="0">
                  <a:pos x="99" y="100"/>
                </a:cxn>
                <a:cxn ang="0">
                  <a:pos x="79" y="110"/>
                </a:cxn>
                <a:cxn ang="0">
                  <a:pos x="79" y="110"/>
                </a:cxn>
                <a:cxn ang="0">
                  <a:pos x="59" y="110"/>
                </a:cxn>
                <a:cxn ang="0">
                  <a:pos x="30" y="100"/>
                </a:cxn>
                <a:cxn ang="0">
                  <a:pos x="0" y="70"/>
                </a:cxn>
                <a:cxn ang="0">
                  <a:pos x="10" y="50"/>
                </a:cxn>
                <a:cxn ang="0">
                  <a:pos x="30" y="20"/>
                </a:cxn>
                <a:cxn ang="0">
                  <a:pos x="59" y="0"/>
                </a:cxn>
                <a:cxn ang="0">
                  <a:pos x="79" y="11"/>
                </a:cxn>
                <a:cxn ang="0">
                  <a:pos x="99" y="20"/>
                </a:cxn>
                <a:cxn ang="0">
                  <a:pos x="89" y="20"/>
                </a:cxn>
                <a:cxn ang="0">
                  <a:pos x="79" y="11"/>
                </a:cxn>
                <a:cxn ang="0">
                  <a:pos x="50" y="11"/>
                </a:cxn>
                <a:cxn ang="0">
                  <a:pos x="59" y="20"/>
                </a:cxn>
                <a:cxn ang="0">
                  <a:pos x="69" y="20"/>
                </a:cxn>
                <a:cxn ang="0">
                  <a:pos x="159" y="30"/>
                </a:cxn>
              </a:cxnLst>
              <a:rect l="0" t="0" r="r" b="b"/>
              <a:pathLst>
                <a:path w="467" h="120">
                  <a:moveTo>
                    <a:pt x="159" y="30"/>
                  </a:moveTo>
                  <a:lnTo>
                    <a:pt x="188" y="30"/>
                  </a:lnTo>
                  <a:lnTo>
                    <a:pt x="218" y="30"/>
                  </a:lnTo>
                  <a:lnTo>
                    <a:pt x="348" y="20"/>
                  </a:lnTo>
                  <a:lnTo>
                    <a:pt x="407" y="11"/>
                  </a:lnTo>
                  <a:lnTo>
                    <a:pt x="437" y="11"/>
                  </a:lnTo>
                  <a:lnTo>
                    <a:pt x="457" y="20"/>
                  </a:lnTo>
                  <a:lnTo>
                    <a:pt x="467" y="20"/>
                  </a:lnTo>
                  <a:lnTo>
                    <a:pt x="467" y="30"/>
                  </a:lnTo>
                  <a:lnTo>
                    <a:pt x="467" y="30"/>
                  </a:lnTo>
                  <a:lnTo>
                    <a:pt x="467" y="40"/>
                  </a:lnTo>
                  <a:lnTo>
                    <a:pt x="457" y="40"/>
                  </a:lnTo>
                  <a:lnTo>
                    <a:pt x="427" y="40"/>
                  </a:lnTo>
                  <a:lnTo>
                    <a:pt x="407" y="40"/>
                  </a:lnTo>
                  <a:lnTo>
                    <a:pt x="377" y="40"/>
                  </a:lnTo>
                  <a:lnTo>
                    <a:pt x="357" y="50"/>
                  </a:lnTo>
                  <a:lnTo>
                    <a:pt x="357" y="50"/>
                  </a:lnTo>
                  <a:lnTo>
                    <a:pt x="337" y="60"/>
                  </a:lnTo>
                  <a:lnTo>
                    <a:pt x="328" y="60"/>
                  </a:lnTo>
                  <a:lnTo>
                    <a:pt x="328" y="60"/>
                  </a:lnTo>
                  <a:lnTo>
                    <a:pt x="328" y="60"/>
                  </a:lnTo>
                  <a:lnTo>
                    <a:pt x="288" y="70"/>
                  </a:lnTo>
                  <a:lnTo>
                    <a:pt x="248" y="80"/>
                  </a:lnTo>
                  <a:lnTo>
                    <a:pt x="228" y="80"/>
                  </a:lnTo>
                  <a:lnTo>
                    <a:pt x="218" y="80"/>
                  </a:lnTo>
                  <a:lnTo>
                    <a:pt x="208" y="80"/>
                  </a:lnTo>
                  <a:lnTo>
                    <a:pt x="179" y="70"/>
                  </a:lnTo>
                  <a:lnTo>
                    <a:pt x="169" y="70"/>
                  </a:lnTo>
                  <a:lnTo>
                    <a:pt x="149" y="70"/>
                  </a:lnTo>
                  <a:lnTo>
                    <a:pt x="139" y="70"/>
                  </a:lnTo>
                  <a:lnTo>
                    <a:pt x="139" y="80"/>
                  </a:lnTo>
                  <a:lnTo>
                    <a:pt x="129" y="90"/>
                  </a:lnTo>
                  <a:lnTo>
                    <a:pt x="119" y="100"/>
                  </a:lnTo>
                  <a:lnTo>
                    <a:pt x="99" y="100"/>
                  </a:lnTo>
                  <a:lnTo>
                    <a:pt x="89" y="110"/>
                  </a:lnTo>
                  <a:lnTo>
                    <a:pt x="79" y="110"/>
                  </a:lnTo>
                  <a:lnTo>
                    <a:pt x="69" y="110"/>
                  </a:lnTo>
                  <a:lnTo>
                    <a:pt x="79" y="110"/>
                  </a:lnTo>
                  <a:lnTo>
                    <a:pt x="69" y="120"/>
                  </a:lnTo>
                  <a:lnTo>
                    <a:pt x="59" y="110"/>
                  </a:lnTo>
                  <a:lnTo>
                    <a:pt x="40" y="110"/>
                  </a:lnTo>
                  <a:lnTo>
                    <a:pt x="30" y="100"/>
                  </a:lnTo>
                  <a:lnTo>
                    <a:pt x="10" y="90"/>
                  </a:lnTo>
                  <a:lnTo>
                    <a:pt x="0" y="70"/>
                  </a:lnTo>
                  <a:lnTo>
                    <a:pt x="0" y="60"/>
                  </a:lnTo>
                  <a:lnTo>
                    <a:pt x="10" y="50"/>
                  </a:lnTo>
                  <a:lnTo>
                    <a:pt x="20" y="30"/>
                  </a:lnTo>
                  <a:lnTo>
                    <a:pt x="30" y="20"/>
                  </a:lnTo>
                  <a:lnTo>
                    <a:pt x="50" y="0"/>
                  </a:lnTo>
                  <a:lnTo>
                    <a:pt x="59" y="0"/>
                  </a:lnTo>
                  <a:lnTo>
                    <a:pt x="69" y="0"/>
                  </a:lnTo>
                  <a:lnTo>
                    <a:pt x="79" y="11"/>
                  </a:lnTo>
                  <a:lnTo>
                    <a:pt x="89" y="11"/>
                  </a:lnTo>
                  <a:lnTo>
                    <a:pt x="99" y="20"/>
                  </a:lnTo>
                  <a:lnTo>
                    <a:pt x="89" y="20"/>
                  </a:lnTo>
                  <a:lnTo>
                    <a:pt x="89" y="20"/>
                  </a:lnTo>
                  <a:lnTo>
                    <a:pt x="79" y="11"/>
                  </a:lnTo>
                  <a:lnTo>
                    <a:pt x="79" y="11"/>
                  </a:lnTo>
                  <a:lnTo>
                    <a:pt x="69" y="11"/>
                  </a:lnTo>
                  <a:lnTo>
                    <a:pt x="50" y="11"/>
                  </a:lnTo>
                  <a:lnTo>
                    <a:pt x="40" y="20"/>
                  </a:lnTo>
                  <a:lnTo>
                    <a:pt x="59" y="20"/>
                  </a:lnTo>
                  <a:lnTo>
                    <a:pt x="69" y="20"/>
                  </a:lnTo>
                  <a:lnTo>
                    <a:pt x="69" y="20"/>
                  </a:lnTo>
                  <a:lnTo>
                    <a:pt x="109" y="30"/>
                  </a:lnTo>
                  <a:lnTo>
                    <a:pt x="15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3" name="Freeform 590">
              <a:extLst>
                <a:ext uri="{FF2B5EF4-FFF2-40B4-BE49-F238E27FC236}">
                  <a16:creationId xmlns:a16="http://schemas.microsoft.com/office/drawing/2014/main" id="{B2B7F599-A997-8BF6-CA18-C16455F90FD7}"/>
                </a:ext>
              </a:extLst>
            </p:cNvPr>
            <p:cNvSpPr>
              <a:spLocks/>
            </p:cNvSpPr>
            <p:nvPr/>
          </p:nvSpPr>
          <p:spPr bwMode="auto">
            <a:xfrm>
              <a:off x="12181051" y="3483648"/>
              <a:ext cx="361470" cy="312359"/>
            </a:xfrm>
            <a:custGeom>
              <a:avLst/>
              <a:gdLst/>
              <a:ahLst/>
              <a:cxnLst>
                <a:cxn ang="0">
                  <a:pos x="239" y="119"/>
                </a:cxn>
                <a:cxn ang="0">
                  <a:pos x="239" y="139"/>
                </a:cxn>
                <a:cxn ang="0">
                  <a:pos x="249" y="159"/>
                </a:cxn>
                <a:cxn ang="0">
                  <a:pos x="249" y="188"/>
                </a:cxn>
                <a:cxn ang="0">
                  <a:pos x="239" y="188"/>
                </a:cxn>
                <a:cxn ang="0">
                  <a:pos x="219" y="198"/>
                </a:cxn>
                <a:cxn ang="0">
                  <a:pos x="189" y="188"/>
                </a:cxn>
                <a:cxn ang="0">
                  <a:pos x="179" y="198"/>
                </a:cxn>
                <a:cxn ang="0">
                  <a:pos x="159" y="198"/>
                </a:cxn>
                <a:cxn ang="0">
                  <a:pos x="149" y="188"/>
                </a:cxn>
                <a:cxn ang="0">
                  <a:pos x="130" y="178"/>
                </a:cxn>
                <a:cxn ang="0">
                  <a:pos x="120" y="178"/>
                </a:cxn>
                <a:cxn ang="0">
                  <a:pos x="100" y="178"/>
                </a:cxn>
                <a:cxn ang="0">
                  <a:pos x="110" y="208"/>
                </a:cxn>
                <a:cxn ang="0">
                  <a:pos x="100" y="218"/>
                </a:cxn>
                <a:cxn ang="0">
                  <a:pos x="80" y="228"/>
                </a:cxn>
                <a:cxn ang="0">
                  <a:pos x="70" y="238"/>
                </a:cxn>
                <a:cxn ang="0">
                  <a:pos x="20" y="159"/>
                </a:cxn>
                <a:cxn ang="0">
                  <a:pos x="10" y="159"/>
                </a:cxn>
                <a:cxn ang="0">
                  <a:pos x="0" y="149"/>
                </a:cxn>
                <a:cxn ang="0">
                  <a:pos x="10" y="139"/>
                </a:cxn>
                <a:cxn ang="0">
                  <a:pos x="30" y="109"/>
                </a:cxn>
                <a:cxn ang="0">
                  <a:pos x="60" y="79"/>
                </a:cxn>
                <a:cxn ang="0">
                  <a:pos x="100" y="59"/>
                </a:cxn>
                <a:cxn ang="0">
                  <a:pos x="120" y="49"/>
                </a:cxn>
                <a:cxn ang="0">
                  <a:pos x="149" y="29"/>
                </a:cxn>
                <a:cxn ang="0">
                  <a:pos x="229" y="0"/>
                </a:cxn>
                <a:cxn ang="0">
                  <a:pos x="239" y="39"/>
                </a:cxn>
                <a:cxn ang="0">
                  <a:pos x="249" y="39"/>
                </a:cxn>
                <a:cxn ang="0">
                  <a:pos x="269" y="59"/>
                </a:cxn>
                <a:cxn ang="0">
                  <a:pos x="249" y="89"/>
                </a:cxn>
                <a:cxn ang="0">
                  <a:pos x="239" y="99"/>
                </a:cxn>
              </a:cxnLst>
              <a:rect l="0" t="0" r="r" b="b"/>
              <a:pathLst>
                <a:path w="269" h="238">
                  <a:moveTo>
                    <a:pt x="239" y="99"/>
                  </a:moveTo>
                  <a:lnTo>
                    <a:pt x="239" y="119"/>
                  </a:lnTo>
                  <a:lnTo>
                    <a:pt x="229" y="129"/>
                  </a:lnTo>
                  <a:lnTo>
                    <a:pt x="239" y="139"/>
                  </a:lnTo>
                  <a:lnTo>
                    <a:pt x="249" y="149"/>
                  </a:lnTo>
                  <a:lnTo>
                    <a:pt x="249" y="159"/>
                  </a:lnTo>
                  <a:lnTo>
                    <a:pt x="249" y="178"/>
                  </a:lnTo>
                  <a:lnTo>
                    <a:pt x="249" y="188"/>
                  </a:lnTo>
                  <a:lnTo>
                    <a:pt x="249" y="188"/>
                  </a:lnTo>
                  <a:lnTo>
                    <a:pt x="239" y="188"/>
                  </a:lnTo>
                  <a:lnTo>
                    <a:pt x="219" y="198"/>
                  </a:lnTo>
                  <a:lnTo>
                    <a:pt x="219" y="198"/>
                  </a:lnTo>
                  <a:lnTo>
                    <a:pt x="199" y="198"/>
                  </a:lnTo>
                  <a:lnTo>
                    <a:pt x="189" y="188"/>
                  </a:lnTo>
                  <a:lnTo>
                    <a:pt x="189" y="208"/>
                  </a:lnTo>
                  <a:lnTo>
                    <a:pt x="179" y="198"/>
                  </a:lnTo>
                  <a:lnTo>
                    <a:pt x="169" y="198"/>
                  </a:lnTo>
                  <a:lnTo>
                    <a:pt x="159" y="198"/>
                  </a:lnTo>
                  <a:lnTo>
                    <a:pt x="159" y="188"/>
                  </a:lnTo>
                  <a:lnTo>
                    <a:pt x="149" y="188"/>
                  </a:lnTo>
                  <a:lnTo>
                    <a:pt x="149" y="188"/>
                  </a:lnTo>
                  <a:lnTo>
                    <a:pt x="130" y="178"/>
                  </a:lnTo>
                  <a:lnTo>
                    <a:pt x="120" y="178"/>
                  </a:lnTo>
                  <a:lnTo>
                    <a:pt x="120" y="178"/>
                  </a:lnTo>
                  <a:lnTo>
                    <a:pt x="100" y="169"/>
                  </a:lnTo>
                  <a:lnTo>
                    <a:pt x="100" y="178"/>
                  </a:lnTo>
                  <a:lnTo>
                    <a:pt x="100" y="188"/>
                  </a:lnTo>
                  <a:lnTo>
                    <a:pt x="110" y="208"/>
                  </a:lnTo>
                  <a:lnTo>
                    <a:pt x="120" y="208"/>
                  </a:lnTo>
                  <a:lnTo>
                    <a:pt x="100" y="218"/>
                  </a:lnTo>
                  <a:lnTo>
                    <a:pt x="90" y="218"/>
                  </a:lnTo>
                  <a:lnTo>
                    <a:pt x="80" y="228"/>
                  </a:lnTo>
                  <a:lnTo>
                    <a:pt x="70" y="238"/>
                  </a:lnTo>
                  <a:lnTo>
                    <a:pt x="70" y="238"/>
                  </a:lnTo>
                  <a:lnTo>
                    <a:pt x="70" y="238"/>
                  </a:lnTo>
                  <a:lnTo>
                    <a:pt x="20" y="159"/>
                  </a:lnTo>
                  <a:lnTo>
                    <a:pt x="10" y="159"/>
                  </a:lnTo>
                  <a:lnTo>
                    <a:pt x="10" y="159"/>
                  </a:lnTo>
                  <a:lnTo>
                    <a:pt x="0" y="159"/>
                  </a:lnTo>
                  <a:lnTo>
                    <a:pt x="0" y="149"/>
                  </a:lnTo>
                  <a:lnTo>
                    <a:pt x="10" y="149"/>
                  </a:lnTo>
                  <a:lnTo>
                    <a:pt x="10" y="139"/>
                  </a:lnTo>
                  <a:lnTo>
                    <a:pt x="20" y="129"/>
                  </a:lnTo>
                  <a:lnTo>
                    <a:pt x="30" y="109"/>
                  </a:lnTo>
                  <a:lnTo>
                    <a:pt x="50" y="89"/>
                  </a:lnTo>
                  <a:lnTo>
                    <a:pt x="60" y="79"/>
                  </a:lnTo>
                  <a:lnTo>
                    <a:pt x="80" y="69"/>
                  </a:lnTo>
                  <a:lnTo>
                    <a:pt x="100" y="59"/>
                  </a:lnTo>
                  <a:lnTo>
                    <a:pt x="110" y="49"/>
                  </a:lnTo>
                  <a:lnTo>
                    <a:pt x="120" y="49"/>
                  </a:lnTo>
                  <a:lnTo>
                    <a:pt x="140" y="39"/>
                  </a:lnTo>
                  <a:lnTo>
                    <a:pt x="149" y="29"/>
                  </a:lnTo>
                  <a:lnTo>
                    <a:pt x="179" y="29"/>
                  </a:lnTo>
                  <a:lnTo>
                    <a:pt x="229" y="0"/>
                  </a:lnTo>
                  <a:lnTo>
                    <a:pt x="239" y="29"/>
                  </a:lnTo>
                  <a:lnTo>
                    <a:pt x="239" y="39"/>
                  </a:lnTo>
                  <a:lnTo>
                    <a:pt x="229" y="39"/>
                  </a:lnTo>
                  <a:lnTo>
                    <a:pt x="249" y="39"/>
                  </a:lnTo>
                  <a:lnTo>
                    <a:pt x="269" y="49"/>
                  </a:lnTo>
                  <a:lnTo>
                    <a:pt x="269" y="59"/>
                  </a:lnTo>
                  <a:lnTo>
                    <a:pt x="259" y="69"/>
                  </a:lnTo>
                  <a:lnTo>
                    <a:pt x="249" y="89"/>
                  </a:lnTo>
                  <a:lnTo>
                    <a:pt x="249" y="89"/>
                  </a:lnTo>
                  <a:lnTo>
                    <a:pt x="239" y="99"/>
                  </a:lnTo>
                  <a:lnTo>
                    <a:pt x="239" y="9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4" name="Freeform 591">
              <a:extLst>
                <a:ext uri="{FF2B5EF4-FFF2-40B4-BE49-F238E27FC236}">
                  <a16:creationId xmlns:a16="http://schemas.microsoft.com/office/drawing/2014/main" id="{510C68F1-E8AA-9B58-A9BE-68DB6094642C}"/>
                </a:ext>
              </a:extLst>
            </p:cNvPr>
            <p:cNvSpPr>
              <a:spLocks/>
            </p:cNvSpPr>
            <p:nvPr/>
          </p:nvSpPr>
          <p:spPr bwMode="auto">
            <a:xfrm>
              <a:off x="12101770" y="4200235"/>
              <a:ext cx="106157" cy="103682"/>
            </a:xfrm>
            <a:custGeom>
              <a:avLst/>
              <a:gdLst/>
              <a:ahLst/>
              <a:cxnLst>
                <a:cxn ang="0">
                  <a:pos x="79" y="20"/>
                </a:cxn>
                <a:cxn ang="0">
                  <a:pos x="79" y="20"/>
                </a:cxn>
                <a:cxn ang="0">
                  <a:pos x="79" y="20"/>
                </a:cxn>
                <a:cxn ang="0">
                  <a:pos x="69" y="50"/>
                </a:cxn>
                <a:cxn ang="0">
                  <a:pos x="79" y="50"/>
                </a:cxn>
                <a:cxn ang="0">
                  <a:pos x="79" y="50"/>
                </a:cxn>
                <a:cxn ang="0">
                  <a:pos x="79" y="60"/>
                </a:cxn>
                <a:cxn ang="0">
                  <a:pos x="79" y="60"/>
                </a:cxn>
                <a:cxn ang="0">
                  <a:pos x="69" y="70"/>
                </a:cxn>
                <a:cxn ang="0">
                  <a:pos x="69" y="70"/>
                </a:cxn>
                <a:cxn ang="0">
                  <a:pos x="59" y="79"/>
                </a:cxn>
                <a:cxn ang="0">
                  <a:pos x="59" y="70"/>
                </a:cxn>
                <a:cxn ang="0">
                  <a:pos x="50" y="70"/>
                </a:cxn>
                <a:cxn ang="0">
                  <a:pos x="40" y="60"/>
                </a:cxn>
                <a:cxn ang="0">
                  <a:pos x="40" y="60"/>
                </a:cxn>
                <a:cxn ang="0">
                  <a:pos x="40" y="50"/>
                </a:cxn>
                <a:cxn ang="0">
                  <a:pos x="30" y="50"/>
                </a:cxn>
                <a:cxn ang="0">
                  <a:pos x="30" y="60"/>
                </a:cxn>
                <a:cxn ang="0">
                  <a:pos x="20" y="60"/>
                </a:cxn>
                <a:cxn ang="0">
                  <a:pos x="10" y="60"/>
                </a:cxn>
                <a:cxn ang="0">
                  <a:pos x="10" y="60"/>
                </a:cxn>
                <a:cxn ang="0">
                  <a:pos x="10" y="50"/>
                </a:cxn>
                <a:cxn ang="0">
                  <a:pos x="10" y="30"/>
                </a:cxn>
                <a:cxn ang="0">
                  <a:pos x="10" y="30"/>
                </a:cxn>
                <a:cxn ang="0">
                  <a:pos x="0" y="20"/>
                </a:cxn>
                <a:cxn ang="0">
                  <a:pos x="10" y="10"/>
                </a:cxn>
                <a:cxn ang="0">
                  <a:pos x="10" y="0"/>
                </a:cxn>
                <a:cxn ang="0">
                  <a:pos x="10" y="0"/>
                </a:cxn>
                <a:cxn ang="0">
                  <a:pos x="40" y="10"/>
                </a:cxn>
                <a:cxn ang="0">
                  <a:pos x="40" y="10"/>
                </a:cxn>
                <a:cxn ang="0">
                  <a:pos x="50" y="20"/>
                </a:cxn>
                <a:cxn ang="0">
                  <a:pos x="59" y="20"/>
                </a:cxn>
                <a:cxn ang="0">
                  <a:pos x="79" y="20"/>
                </a:cxn>
              </a:cxnLst>
              <a:rect l="0" t="0" r="r" b="b"/>
              <a:pathLst>
                <a:path w="79" h="79">
                  <a:moveTo>
                    <a:pt x="79" y="20"/>
                  </a:moveTo>
                  <a:lnTo>
                    <a:pt x="79" y="20"/>
                  </a:lnTo>
                  <a:lnTo>
                    <a:pt x="79" y="20"/>
                  </a:lnTo>
                  <a:lnTo>
                    <a:pt x="69" y="50"/>
                  </a:lnTo>
                  <a:lnTo>
                    <a:pt x="79" y="50"/>
                  </a:lnTo>
                  <a:lnTo>
                    <a:pt x="79" y="50"/>
                  </a:lnTo>
                  <a:lnTo>
                    <a:pt x="79" y="60"/>
                  </a:lnTo>
                  <a:lnTo>
                    <a:pt x="79" y="60"/>
                  </a:lnTo>
                  <a:lnTo>
                    <a:pt x="69" y="70"/>
                  </a:lnTo>
                  <a:lnTo>
                    <a:pt x="69" y="70"/>
                  </a:lnTo>
                  <a:lnTo>
                    <a:pt x="59" y="79"/>
                  </a:lnTo>
                  <a:lnTo>
                    <a:pt x="59" y="70"/>
                  </a:lnTo>
                  <a:lnTo>
                    <a:pt x="50" y="70"/>
                  </a:lnTo>
                  <a:lnTo>
                    <a:pt x="40" y="60"/>
                  </a:lnTo>
                  <a:lnTo>
                    <a:pt x="40" y="60"/>
                  </a:lnTo>
                  <a:lnTo>
                    <a:pt x="40" y="50"/>
                  </a:lnTo>
                  <a:lnTo>
                    <a:pt x="30" y="50"/>
                  </a:lnTo>
                  <a:lnTo>
                    <a:pt x="30" y="60"/>
                  </a:lnTo>
                  <a:lnTo>
                    <a:pt x="20" y="60"/>
                  </a:lnTo>
                  <a:lnTo>
                    <a:pt x="10" y="60"/>
                  </a:lnTo>
                  <a:lnTo>
                    <a:pt x="10" y="60"/>
                  </a:lnTo>
                  <a:lnTo>
                    <a:pt x="10" y="50"/>
                  </a:lnTo>
                  <a:lnTo>
                    <a:pt x="10" y="30"/>
                  </a:lnTo>
                  <a:lnTo>
                    <a:pt x="10" y="30"/>
                  </a:lnTo>
                  <a:lnTo>
                    <a:pt x="0" y="20"/>
                  </a:lnTo>
                  <a:lnTo>
                    <a:pt x="10" y="10"/>
                  </a:lnTo>
                  <a:lnTo>
                    <a:pt x="10" y="0"/>
                  </a:lnTo>
                  <a:lnTo>
                    <a:pt x="10" y="0"/>
                  </a:lnTo>
                  <a:lnTo>
                    <a:pt x="40" y="10"/>
                  </a:lnTo>
                  <a:lnTo>
                    <a:pt x="40" y="10"/>
                  </a:lnTo>
                  <a:lnTo>
                    <a:pt x="50" y="20"/>
                  </a:lnTo>
                  <a:lnTo>
                    <a:pt x="59" y="20"/>
                  </a:lnTo>
                  <a:lnTo>
                    <a:pt x="79" y="2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5" name="Freeform 592">
              <a:extLst>
                <a:ext uri="{FF2B5EF4-FFF2-40B4-BE49-F238E27FC236}">
                  <a16:creationId xmlns:a16="http://schemas.microsoft.com/office/drawing/2014/main" id="{15BBA7AA-DB73-012C-A3C9-19428A520E2C}"/>
                </a:ext>
              </a:extLst>
            </p:cNvPr>
            <p:cNvSpPr>
              <a:spLocks/>
            </p:cNvSpPr>
            <p:nvPr/>
          </p:nvSpPr>
          <p:spPr bwMode="auto">
            <a:xfrm>
              <a:off x="12769616" y="3508584"/>
              <a:ext cx="333251" cy="274298"/>
            </a:xfrm>
            <a:custGeom>
              <a:avLst/>
              <a:gdLst/>
              <a:ahLst/>
              <a:cxnLst>
                <a:cxn ang="0">
                  <a:pos x="218" y="140"/>
                </a:cxn>
                <a:cxn ang="0">
                  <a:pos x="218" y="159"/>
                </a:cxn>
                <a:cxn ang="0">
                  <a:pos x="198" y="179"/>
                </a:cxn>
                <a:cxn ang="0">
                  <a:pos x="188" y="179"/>
                </a:cxn>
                <a:cxn ang="0">
                  <a:pos x="178" y="179"/>
                </a:cxn>
                <a:cxn ang="0">
                  <a:pos x="178" y="179"/>
                </a:cxn>
                <a:cxn ang="0">
                  <a:pos x="138" y="199"/>
                </a:cxn>
                <a:cxn ang="0">
                  <a:pos x="119" y="209"/>
                </a:cxn>
                <a:cxn ang="0">
                  <a:pos x="99" y="209"/>
                </a:cxn>
                <a:cxn ang="0">
                  <a:pos x="89" y="189"/>
                </a:cxn>
                <a:cxn ang="0">
                  <a:pos x="59" y="159"/>
                </a:cxn>
                <a:cxn ang="0">
                  <a:pos x="59" y="150"/>
                </a:cxn>
                <a:cxn ang="0">
                  <a:pos x="29" y="130"/>
                </a:cxn>
                <a:cxn ang="0">
                  <a:pos x="9" y="120"/>
                </a:cxn>
                <a:cxn ang="0">
                  <a:pos x="19" y="100"/>
                </a:cxn>
                <a:cxn ang="0">
                  <a:pos x="29" y="80"/>
                </a:cxn>
                <a:cxn ang="0">
                  <a:pos x="19" y="50"/>
                </a:cxn>
                <a:cxn ang="0">
                  <a:pos x="59" y="30"/>
                </a:cxn>
                <a:cxn ang="0">
                  <a:pos x="69" y="20"/>
                </a:cxn>
                <a:cxn ang="0">
                  <a:pos x="79" y="20"/>
                </a:cxn>
                <a:cxn ang="0">
                  <a:pos x="99" y="10"/>
                </a:cxn>
                <a:cxn ang="0">
                  <a:pos x="109" y="10"/>
                </a:cxn>
                <a:cxn ang="0">
                  <a:pos x="119" y="10"/>
                </a:cxn>
                <a:cxn ang="0">
                  <a:pos x="119" y="20"/>
                </a:cxn>
                <a:cxn ang="0">
                  <a:pos x="119" y="40"/>
                </a:cxn>
                <a:cxn ang="0">
                  <a:pos x="149" y="30"/>
                </a:cxn>
                <a:cxn ang="0">
                  <a:pos x="168" y="30"/>
                </a:cxn>
                <a:cxn ang="0">
                  <a:pos x="178" y="40"/>
                </a:cxn>
                <a:cxn ang="0">
                  <a:pos x="178" y="40"/>
                </a:cxn>
                <a:cxn ang="0">
                  <a:pos x="178" y="10"/>
                </a:cxn>
                <a:cxn ang="0">
                  <a:pos x="188" y="0"/>
                </a:cxn>
                <a:cxn ang="0">
                  <a:pos x="198" y="0"/>
                </a:cxn>
                <a:cxn ang="0">
                  <a:pos x="208" y="0"/>
                </a:cxn>
                <a:cxn ang="0">
                  <a:pos x="238" y="0"/>
                </a:cxn>
                <a:cxn ang="0">
                  <a:pos x="248" y="0"/>
                </a:cxn>
                <a:cxn ang="0">
                  <a:pos x="248" y="10"/>
                </a:cxn>
                <a:cxn ang="0">
                  <a:pos x="248" y="60"/>
                </a:cxn>
                <a:cxn ang="0">
                  <a:pos x="238" y="70"/>
                </a:cxn>
                <a:cxn ang="0">
                  <a:pos x="218" y="130"/>
                </a:cxn>
              </a:cxnLst>
              <a:rect l="0" t="0" r="r" b="b"/>
              <a:pathLst>
                <a:path w="248" h="209">
                  <a:moveTo>
                    <a:pt x="218" y="130"/>
                  </a:moveTo>
                  <a:lnTo>
                    <a:pt x="218" y="140"/>
                  </a:lnTo>
                  <a:lnTo>
                    <a:pt x="218" y="140"/>
                  </a:lnTo>
                  <a:lnTo>
                    <a:pt x="218" y="159"/>
                  </a:lnTo>
                  <a:lnTo>
                    <a:pt x="208" y="179"/>
                  </a:lnTo>
                  <a:lnTo>
                    <a:pt x="198" y="179"/>
                  </a:lnTo>
                  <a:lnTo>
                    <a:pt x="188" y="179"/>
                  </a:lnTo>
                  <a:lnTo>
                    <a:pt x="188" y="179"/>
                  </a:lnTo>
                  <a:lnTo>
                    <a:pt x="188" y="179"/>
                  </a:lnTo>
                  <a:lnTo>
                    <a:pt x="178" y="179"/>
                  </a:lnTo>
                  <a:lnTo>
                    <a:pt x="178" y="179"/>
                  </a:lnTo>
                  <a:lnTo>
                    <a:pt x="178" y="179"/>
                  </a:lnTo>
                  <a:lnTo>
                    <a:pt x="168" y="189"/>
                  </a:lnTo>
                  <a:lnTo>
                    <a:pt x="138" y="199"/>
                  </a:lnTo>
                  <a:lnTo>
                    <a:pt x="129" y="209"/>
                  </a:lnTo>
                  <a:lnTo>
                    <a:pt x="119" y="209"/>
                  </a:lnTo>
                  <a:lnTo>
                    <a:pt x="109" y="209"/>
                  </a:lnTo>
                  <a:lnTo>
                    <a:pt x="99" y="209"/>
                  </a:lnTo>
                  <a:lnTo>
                    <a:pt x="99" y="199"/>
                  </a:lnTo>
                  <a:lnTo>
                    <a:pt x="89" y="189"/>
                  </a:lnTo>
                  <a:lnTo>
                    <a:pt x="79" y="159"/>
                  </a:lnTo>
                  <a:lnTo>
                    <a:pt x="59" y="159"/>
                  </a:lnTo>
                  <a:lnTo>
                    <a:pt x="59" y="150"/>
                  </a:lnTo>
                  <a:lnTo>
                    <a:pt x="59" y="150"/>
                  </a:lnTo>
                  <a:lnTo>
                    <a:pt x="39" y="150"/>
                  </a:lnTo>
                  <a:lnTo>
                    <a:pt x="29" y="130"/>
                  </a:lnTo>
                  <a:lnTo>
                    <a:pt x="19" y="120"/>
                  </a:lnTo>
                  <a:lnTo>
                    <a:pt x="9" y="120"/>
                  </a:lnTo>
                  <a:lnTo>
                    <a:pt x="0" y="110"/>
                  </a:lnTo>
                  <a:lnTo>
                    <a:pt x="19" y="100"/>
                  </a:lnTo>
                  <a:lnTo>
                    <a:pt x="19" y="90"/>
                  </a:lnTo>
                  <a:lnTo>
                    <a:pt x="29" y="80"/>
                  </a:lnTo>
                  <a:lnTo>
                    <a:pt x="29" y="70"/>
                  </a:lnTo>
                  <a:lnTo>
                    <a:pt x="19" y="50"/>
                  </a:lnTo>
                  <a:lnTo>
                    <a:pt x="19" y="50"/>
                  </a:lnTo>
                  <a:lnTo>
                    <a:pt x="59" y="30"/>
                  </a:lnTo>
                  <a:lnTo>
                    <a:pt x="69" y="20"/>
                  </a:lnTo>
                  <a:lnTo>
                    <a:pt x="69" y="20"/>
                  </a:lnTo>
                  <a:lnTo>
                    <a:pt x="69" y="20"/>
                  </a:lnTo>
                  <a:lnTo>
                    <a:pt x="79" y="20"/>
                  </a:lnTo>
                  <a:lnTo>
                    <a:pt x="89" y="10"/>
                  </a:lnTo>
                  <a:lnTo>
                    <a:pt x="99" y="10"/>
                  </a:lnTo>
                  <a:lnTo>
                    <a:pt x="109" y="10"/>
                  </a:lnTo>
                  <a:lnTo>
                    <a:pt x="109" y="10"/>
                  </a:lnTo>
                  <a:lnTo>
                    <a:pt x="119" y="10"/>
                  </a:lnTo>
                  <a:lnTo>
                    <a:pt x="119" y="10"/>
                  </a:lnTo>
                  <a:lnTo>
                    <a:pt x="119" y="20"/>
                  </a:lnTo>
                  <a:lnTo>
                    <a:pt x="119" y="20"/>
                  </a:lnTo>
                  <a:lnTo>
                    <a:pt x="119" y="30"/>
                  </a:lnTo>
                  <a:lnTo>
                    <a:pt x="119" y="40"/>
                  </a:lnTo>
                  <a:lnTo>
                    <a:pt x="138" y="30"/>
                  </a:lnTo>
                  <a:lnTo>
                    <a:pt x="149" y="30"/>
                  </a:lnTo>
                  <a:lnTo>
                    <a:pt x="149" y="30"/>
                  </a:lnTo>
                  <a:lnTo>
                    <a:pt x="168" y="30"/>
                  </a:lnTo>
                  <a:lnTo>
                    <a:pt x="168" y="40"/>
                  </a:lnTo>
                  <a:lnTo>
                    <a:pt x="178" y="40"/>
                  </a:lnTo>
                  <a:lnTo>
                    <a:pt x="178" y="40"/>
                  </a:lnTo>
                  <a:lnTo>
                    <a:pt x="178" y="40"/>
                  </a:lnTo>
                  <a:lnTo>
                    <a:pt x="178" y="20"/>
                  </a:lnTo>
                  <a:lnTo>
                    <a:pt x="178" y="10"/>
                  </a:lnTo>
                  <a:lnTo>
                    <a:pt x="178" y="0"/>
                  </a:lnTo>
                  <a:lnTo>
                    <a:pt x="188" y="0"/>
                  </a:lnTo>
                  <a:lnTo>
                    <a:pt x="198" y="0"/>
                  </a:lnTo>
                  <a:lnTo>
                    <a:pt x="198" y="0"/>
                  </a:lnTo>
                  <a:lnTo>
                    <a:pt x="198" y="0"/>
                  </a:lnTo>
                  <a:lnTo>
                    <a:pt x="208" y="0"/>
                  </a:lnTo>
                  <a:lnTo>
                    <a:pt x="218" y="0"/>
                  </a:lnTo>
                  <a:lnTo>
                    <a:pt x="238" y="0"/>
                  </a:lnTo>
                  <a:lnTo>
                    <a:pt x="248" y="0"/>
                  </a:lnTo>
                  <a:lnTo>
                    <a:pt x="248" y="0"/>
                  </a:lnTo>
                  <a:lnTo>
                    <a:pt x="248" y="10"/>
                  </a:lnTo>
                  <a:lnTo>
                    <a:pt x="248" y="10"/>
                  </a:lnTo>
                  <a:lnTo>
                    <a:pt x="248" y="20"/>
                  </a:lnTo>
                  <a:lnTo>
                    <a:pt x="248" y="60"/>
                  </a:lnTo>
                  <a:lnTo>
                    <a:pt x="248" y="70"/>
                  </a:lnTo>
                  <a:lnTo>
                    <a:pt x="238" y="70"/>
                  </a:lnTo>
                  <a:lnTo>
                    <a:pt x="228" y="70"/>
                  </a:lnTo>
                  <a:lnTo>
                    <a:pt x="218" y="130"/>
                  </a:lnTo>
                  <a:lnTo>
                    <a:pt x="218" y="1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6" name="Freeform 593">
              <a:extLst>
                <a:ext uri="{FF2B5EF4-FFF2-40B4-BE49-F238E27FC236}">
                  <a16:creationId xmlns:a16="http://schemas.microsoft.com/office/drawing/2014/main" id="{C06066DA-772B-0A61-F809-B33FBBE54B35}"/>
                </a:ext>
              </a:extLst>
            </p:cNvPr>
            <p:cNvSpPr>
              <a:spLocks/>
            </p:cNvSpPr>
            <p:nvPr/>
          </p:nvSpPr>
          <p:spPr bwMode="auto">
            <a:xfrm>
              <a:off x="12007707" y="3679200"/>
              <a:ext cx="321157" cy="391104"/>
            </a:xfrm>
            <a:custGeom>
              <a:avLst/>
              <a:gdLst/>
              <a:ahLst/>
              <a:cxnLst>
                <a:cxn ang="0">
                  <a:pos x="40" y="149"/>
                </a:cxn>
                <a:cxn ang="0">
                  <a:pos x="20" y="139"/>
                </a:cxn>
                <a:cxn ang="0">
                  <a:pos x="10" y="99"/>
                </a:cxn>
                <a:cxn ang="0">
                  <a:pos x="30" y="89"/>
                </a:cxn>
                <a:cxn ang="0">
                  <a:pos x="50" y="59"/>
                </a:cxn>
                <a:cxn ang="0">
                  <a:pos x="70" y="49"/>
                </a:cxn>
                <a:cxn ang="0">
                  <a:pos x="100" y="29"/>
                </a:cxn>
                <a:cxn ang="0">
                  <a:pos x="129" y="10"/>
                </a:cxn>
                <a:cxn ang="0">
                  <a:pos x="129" y="10"/>
                </a:cxn>
                <a:cxn ang="0">
                  <a:pos x="139" y="10"/>
                </a:cxn>
                <a:cxn ang="0">
                  <a:pos x="199" y="89"/>
                </a:cxn>
                <a:cxn ang="0">
                  <a:pos x="199" y="89"/>
                </a:cxn>
                <a:cxn ang="0">
                  <a:pos x="219" y="89"/>
                </a:cxn>
                <a:cxn ang="0">
                  <a:pos x="219" y="99"/>
                </a:cxn>
                <a:cxn ang="0">
                  <a:pos x="219" y="109"/>
                </a:cxn>
                <a:cxn ang="0">
                  <a:pos x="229" y="109"/>
                </a:cxn>
                <a:cxn ang="0">
                  <a:pos x="209" y="129"/>
                </a:cxn>
                <a:cxn ang="0">
                  <a:pos x="219" y="149"/>
                </a:cxn>
                <a:cxn ang="0">
                  <a:pos x="229" y="159"/>
                </a:cxn>
                <a:cxn ang="0">
                  <a:pos x="219" y="169"/>
                </a:cxn>
                <a:cxn ang="0">
                  <a:pos x="209" y="178"/>
                </a:cxn>
                <a:cxn ang="0">
                  <a:pos x="189" y="198"/>
                </a:cxn>
                <a:cxn ang="0">
                  <a:pos x="179" y="208"/>
                </a:cxn>
                <a:cxn ang="0">
                  <a:pos x="179" y="218"/>
                </a:cxn>
                <a:cxn ang="0">
                  <a:pos x="199" y="228"/>
                </a:cxn>
                <a:cxn ang="0">
                  <a:pos x="209" y="248"/>
                </a:cxn>
                <a:cxn ang="0">
                  <a:pos x="209" y="248"/>
                </a:cxn>
                <a:cxn ang="0">
                  <a:pos x="209" y="268"/>
                </a:cxn>
                <a:cxn ang="0">
                  <a:pos x="189" y="278"/>
                </a:cxn>
                <a:cxn ang="0">
                  <a:pos x="199" y="288"/>
                </a:cxn>
                <a:cxn ang="0">
                  <a:pos x="189" y="288"/>
                </a:cxn>
                <a:cxn ang="0">
                  <a:pos x="179" y="288"/>
                </a:cxn>
                <a:cxn ang="0">
                  <a:pos x="169" y="288"/>
                </a:cxn>
                <a:cxn ang="0">
                  <a:pos x="159" y="288"/>
                </a:cxn>
                <a:cxn ang="0">
                  <a:pos x="159" y="288"/>
                </a:cxn>
                <a:cxn ang="0">
                  <a:pos x="149" y="288"/>
                </a:cxn>
                <a:cxn ang="0">
                  <a:pos x="139" y="278"/>
                </a:cxn>
                <a:cxn ang="0">
                  <a:pos x="129" y="258"/>
                </a:cxn>
                <a:cxn ang="0">
                  <a:pos x="110" y="258"/>
                </a:cxn>
                <a:cxn ang="0">
                  <a:pos x="90" y="258"/>
                </a:cxn>
                <a:cxn ang="0">
                  <a:pos x="100" y="268"/>
                </a:cxn>
                <a:cxn ang="0">
                  <a:pos x="100" y="278"/>
                </a:cxn>
                <a:cxn ang="0">
                  <a:pos x="80" y="278"/>
                </a:cxn>
                <a:cxn ang="0">
                  <a:pos x="80" y="268"/>
                </a:cxn>
                <a:cxn ang="0">
                  <a:pos x="60" y="278"/>
                </a:cxn>
                <a:cxn ang="0">
                  <a:pos x="50" y="278"/>
                </a:cxn>
                <a:cxn ang="0">
                  <a:pos x="60" y="268"/>
                </a:cxn>
                <a:cxn ang="0">
                  <a:pos x="50" y="258"/>
                </a:cxn>
                <a:cxn ang="0">
                  <a:pos x="40" y="248"/>
                </a:cxn>
                <a:cxn ang="0">
                  <a:pos x="50" y="248"/>
                </a:cxn>
                <a:cxn ang="0">
                  <a:pos x="60" y="218"/>
                </a:cxn>
                <a:cxn ang="0">
                  <a:pos x="70" y="198"/>
                </a:cxn>
                <a:cxn ang="0">
                  <a:pos x="70" y="198"/>
                </a:cxn>
                <a:cxn ang="0">
                  <a:pos x="70" y="188"/>
                </a:cxn>
                <a:cxn ang="0">
                  <a:pos x="50" y="188"/>
                </a:cxn>
                <a:cxn ang="0">
                  <a:pos x="60" y="178"/>
                </a:cxn>
                <a:cxn ang="0">
                  <a:pos x="60" y="159"/>
                </a:cxn>
                <a:cxn ang="0">
                  <a:pos x="70" y="139"/>
                </a:cxn>
              </a:cxnLst>
              <a:rect l="0" t="0" r="r" b="b"/>
              <a:pathLst>
                <a:path w="239" h="298">
                  <a:moveTo>
                    <a:pt x="50" y="149"/>
                  </a:moveTo>
                  <a:lnTo>
                    <a:pt x="40" y="149"/>
                  </a:lnTo>
                  <a:lnTo>
                    <a:pt x="20" y="139"/>
                  </a:lnTo>
                  <a:lnTo>
                    <a:pt x="20" y="139"/>
                  </a:lnTo>
                  <a:lnTo>
                    <a:pt x="0" y="119"/>
                  </a:lnTo>
                  <a:lnTo>
                    <a:pt x="10" y="99"/>
                  </a:lnTo>
                  <a:lnTo>
                    <a:pt x="20" y="89"/>
                  </a:lnTo>
                  <a:lnTo>
                    <a:pt x="30" y="89"/>
                  </a:lnTo>
                  <a:lnTo>
                    <a:pt x="40" y="69"/>
                  </a:lnTo>
                  <a:lnTo>
                    <a:pt x="50" y="59"/>
                  </a:lnTo>
                  <a:lnTo>
                    <a:pt x="60" y="59"/>
                  </a:lnTo>
                  <a:lnTo>
                    <a:pt x="70" y="49"/>
                  </a:lnTo>
                  <a:lnTo>
                    <a:pt x="90" y="29"/>
                  </a:lnTo>
                  <a:lnTo>
                    <a:pt x="100" y="29"/>
                  </a:lnTo>
                  <a:lnTo>
                    <a:pt x="110" y="20"/>
                  </a:lnTo>
                  <a:lnTo>
                    <a:pt x="129" y="10"/>
                  </a:lnTo>
                  <a:lnTo>
                    <a:pt x="129" y="0"/>
                  </a:lnTo>
                  <a:lnTo>
                    <a:pt x="129" y="10"/>
                  </a:lnTo>
                  <a:lnTo>
                    <a:pt x="139" y="10"/>
                  </a:lnTo>
                  <a:lnTo>
                    <a:pt x="139" y="10"/>
                  </a:lnTo>
                  <a:lnTo>
                    <a:pt x="149" y="10"/>
                  </a:lnTo>
                  <a:lnTo>
                    <a:pt x="199" y="89"/>
                  </a:lnTo>
                  <a:lnTo>
                    <a:pt x="199" y="89"/>
                  </a:lnTo>
                  <a:lnTo>
                    <a:pt x="199" y="89"/>
                  </a:lnTo>
                  <a:lnTo>
                    <a:pt x="209" y="79"/>
                  </a:lnTo>
                  <a:lnTo>
                    <a:pt x="219" y="89"/>
                  </a:lnTo>
                  <a:lnTo>
                    <a:pt x="219" y="99"/>
                  </a:lnTo>
                  <a:lnTo>
                    <a:pt x="219" y="99"/>
                  </a:lnTo>
                  <a:lnTo>
                    <a:pt x="219" y="99"/>
                  </a:lnTo>
                  <a:lnTo>
                    <a:pt x="219" y="109"/>
                  </a:lnTo>
                  <a:lnTo>
                    <a:pt x="219" y="109"/>
                  </a:lnTo>
                  <a:lnTo>
                    <a:pt x="229" y="109"/>
                  </a:lnTo>
                  <a:lnTo>
                    <a:pt x="239" y="129"/>
                  </a:lnTo>
                  <a:lnTo>
                    <a:pt x="209" y="129"/>
                  </a:lnTo>
                  <a:lnTo>
                    <a:pt x="219" y="149"/>
                  </a:lnTo>
                  <a:lnTo>
                    <a:pt x="219" y="149"/>
                  </a:lnTo>
                  <a:lnTo>
                    <a:pt x="219" y="159"/>
                  </a:lnTo>
                  <a:lnTo>
                    <a:pt x="229" y="159"/>
                  </a:lnTo>
                  <a:lnTo>
                    <a:pt x="229" y="159"/>
                  </a:lnTo>
                  <a:lnTo>
                    <a:pt x="219" y="169"/>
                  </a:lnTo>
                  <a:lnTo>
                    <a:pt x="209" y="178"/>
                  </a:lnTo>
                  <a:lnTo>
                    <a:pt x="209" y="178"/>
                  </a:lnTo>
                  <a:lnTo>
                    <a:pt x="199" y="188"/>
                  </a:lnTo>
                  <a:lnTo>
                    <a:pt x="189" y="198"/>
                  </a:lnTo>
                  <a:lnTo>
                    <a:pt x="189" y="198"/>
                  </a:lnTo>
                  <a:lnTo>
                    <a:pt x="179" y="208"/>
                  </a:lnTo>
                  <a:lnTo>
                    <a:pt x="179" y="218"/>
                  </a:lnTo>
                  <a:lnTo>
                    <a:pt x="179" y="218"/>
                  </a:lnTo>
                  <a:lnTo>
                    <a:pt x="189" y="228"/>
                  </a:lnTo>
                  <a:lnTo>
                    <a:pt x="199" y="228"/>
                  </a:lnTo>
                  <a:lnTo>
                    <a:pt x="199" y="248"/>
                  </a:lnTo>
                  <a:lnTo>
                    <a:pt x="209" y="248"/>
                  </a:lnTo>
                  <a:lnTo>
                    <a:pt x="209" y="248"/>
                  </a:lnTo>
                  <a:lnTo>
                    <a:pt x="209" y="248"/>
                  </a:lnTo>
                  <a:lnTo>
                    <a:pt x="219" y="258"/>
                  </a:lnTo>
                  <a:lnTo>
                    <a:pt x="209" y="268"/>
                  </a:lnTo>
                  <a:lnTo>
                    <a:pt x="199" y="268"/>
                  </a:lnTo>
                  <a:lnTo>
                    <a:pt x="189" y="278"/>
                  </a:lnTo>
                  <a:lnTo>
                    <a:pt x="189" y="278"/>
                  </a:lnTo>
                  <a:lnTo>
                    <a:pt x="199" y="288"/>
                  </a:lnTo>
                  <a:lnTo>
                    <a:pt x="199" y="288"/>
                  </a:lnTo>
                  <a:lnTo>
                    <a:pt x="189" y="288"/>
                  </a:lnTo>
                  <a:lnTo>
                    <a:pt x="189" y="288"/>
                  </a:lnTo>
                  <a:lnTo>
                    <a:pt x="179" y="288"/>
                  </a:lnTo>
                  <a:lnTo>
                    <a:pt x="179" y="288"/>
                  </a:lnTo>
                  <a:lnTo>
                    <a:pt x="169" y="288"/>
                  </a:lnTo>
                  <a:lnTo>
                    <a:pt x="159" y="298"/>
                  </a:lnTo>
                  <a:lnTo>
                    <a:pt x="159" y="288"/>
                  </a:lnTo>
                  <a:lnTo>
                    <a:pt x="159" y="288"/>
                  </a:lnTo>
                  <a:lnTo>
                    <a:pt x="159" y="288"/>
                  </a:lnTo>
                  <a:lnTo>
                    <a:pt x="149" y="288"/>
                  </a:lnTo>
                  <a:lnTo>
                    <a:pt x="149" y="288"/>
                  </a:lnTo>
                  <a:lnTo>
                    <a:pt x="149" y="288"/>
                  </a:lnTo>
                  <a:lnTo>
                    <a:pt x="139" y="278"/>
                  </a:lnTo>
                  <a:lnTo>
                    <a:pt x="129" y="268"/>
                  </a:lnTo>
                  <a:lnTo>
                    <a:pt x="129" y="258"/>
                  </a:lnTo>
                  <a:lnTo>
                    <a:pt x="120" y="258"/>
                  </a:lnTo>
                  <a:lnTo>
                    <a:pt x="110" y="258"/>
                  </a:lnTo>
                  <a:lnTo>
                    <a:pt x="90" y="258"/>
                  </a:lnTo>
                  <a:lnTo>
                    <a:pt x="90" y="258"/>
                  </a:lnTo>
                  <a:lnTo>
                    <a:pt x="100" y="268"/>
                  </a:lnTo>
                  <a:lnTo>
                    <a:pt x="100" y="268"/>
                  </a:lnTo>
                  <a:lnTo>
                    <a:pt x="100" y="268"/>
                  </a:lnTo>
                  <a:lnTo>
                    <a:pt x="100" y="278"/>
                  </a:lnTo>
                  <a:lnTo>
                    <a:pt x="90" y="278"/>
                  </a:lnTo>
                  <a:lnTo>
                    <a:pt x="80" y="278"/>
                  </a:lnTo>
                  <a:lnTo>
                    <a:pt x="80" y="278"/>
                  </a:lnTo>
                  <a:lnTo>
                    <a:pt x="80" y="268"/>
                  </a:lnTo>
                  <a:lnTo>
                    <a:pt x="70" y="268"/>
                  </a:lnTo>
                  <a:lnTo>
                    <a:pt x="60" y="278"/>
                  </a:lnTo>
                  <a:lnTo>
                    <a:pt x="60" y="278"/>
                  </a:lnTo>
                  <a:lnTo>
                    <a:pt x="50" y="278"/>
                  </a:lnTo>
                  <a:lnTo>
                    <a:pt x="60" y="278"/>
                  </a:lnTo>
                  <a:lnTo>
                    <a:pt x="60" y="268"/>
                  </a:lnTo>
                  <a:lnTo>
                    <a:pt x="50" y="268"/>
                  </a:lnTo>
                  <a:lnTo>
                    <a:pt x="50" y="258"/>
                  </a:lnTo>
                  <a:lnTo>
                    <a:pt x="40" y="258"/>
                  </a:lnTo>
                  <a:lnTo>
                    <a:pt x="40" y="248"/>
                  </a:lnTo>
                  <a:lnTo>
                    <a:pt x="50" y="248"/>
                  </a:lnTo>
                  <a:lnTo>
                    <a:pt x="50" y="248"/>
                  </a:lnTo>
                  <a:lnTo>
                    <a:pt x="60" y="218"/>
                  </a:lnTo>
                  <a:lnTo>
                    <a:pt x="60" y="218"/>
                  </a:lnTo>
                  <a:lnTo>
                    <a:pt x="60" y="208"/>
                  </a:lnTo>
                  <a:lnTo>
                    <a:pt x="70" y="198"/>
                  </a:lnTo>
                  <a:lnTo>
                    <a:pt x="70" y="198"/>
                  </a:lnTo>
                  <a:lnTo>
                    <a:pt x="70" y="198"/>
                  </a:lnTo>
                  <a:lnTo>
                    <a:pt x="70" y="188"/>
                  </a:lnTo>
                  <a:lnTo>
                    <a:pt x="70" y="188"/>
                  </a:lnTo>
                  <a:lnTo>
                    <a:pt x="50" y="198"/>
                  </a:lnTo>
                  <a:lnTo>
                    <a:pt x="50" y="188"/>
                  </a:lnTo>
                  <a:lnTo>
                    <a:pt x="60" y="178"/>
                  </a:lnTo>
                  <a:lnTo>
                    <a:pt x="60" y="178"/>
                  </a:lnTo>
                  <a:lnTo>
                    <a:pt x="60" y="178"/>
                  </a:lnTo>
                  <a:lnTo>
                    <a:pt x="60" y="159"/>
                  </a:lnTo>
                  <a:lnTo>
                    <a:pt x="70" y="159"/>
                  </a:lnTo>
                  <a:lnTo>
                    <a:pt x="70" y="139"/>
                  </a:lnTo>
                  <a:lnTo>
                    <a:pt x="50" y="14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7" name="Freeform 594">
              <a:extLst>
                <a:ext uri="{FF2B5EF4-FFF2-40B4-BE49-F238E27FC236}">
                  <a16:creationId xmlns:a16="http://schemas.microsoft.com/office/drawing/2014/main" id="{2C94F3BB-887F-DF8F-A68C-A42B538D4CC3}"/>
                </a:ext>
              </a:extLst>
            </p:cNvPr>
            <p:cNvSpPr>
              <a:spLocks/>
            </p:cNvSpPr>
            <p:nvPr/>
          </p:nvSpPr>
          <p:spPr bwMode="auto">
            <a:xfrm>
              <a:off x="11955301" y="3835379"/>
              <a:ext cx="146469" cy="195552"/>
            </a:xfrm>
            <a:custGeom>
              <a:avLst/>
              <a:gdLst/>
              <a:ahLst/>
              <a:cxnLst>
                <a:cxn ang="0">
                  <a:pos x="89" y="79"/>
                </a:cxn>
                <a:cxn ang="0">
                  <a:pos x="109" y="69"/>
                </a:cxn>
                <a:cxn ang="0">
                  <a:pos x="109" y="69"/>
                </a:cxn>
                <a:cxn ang="0">
                  <a:pos x="109" y="79"/>
                </a:cxn>
                <a:cxn ang="0">
                  <a:pos x="109" y="79"/>
                </a:cxn>
                <a:cxn ang="0">
                  <a:pos x="109" y="79"/>
                </a:cxn>
                <a:cxn ang="0">
                  <a:pos x="99" y="89"/>
                </a:cxn>
                <a:cxn ang="0">
                  <a:pos x="99" y="99"/>
                </a:cxn>
                <a:cxn ang="0">
                  <a:pos x="99" y="99"/>
                </a:cxn>
                <a:cxn ang="0">
                  <a:pos x="89" y="129"/>
                </a:cxn>
                <a:cxn ang="0">
                  <a:pos x="89" y="129"/>
                </a:cxn>
                <a:cxn ang="0">
                  <a:pos x="79" y="129"/>
                </a:cxn>
                <a:cxn ang="0">
                  <a:pos x="79" y="139"/>
                </a:cxn>
                <a:cxn ang="0">
                  <a:pos x="79" y="149"/>
                </a:cxn>
                <a:cxn ang="0">
                  <a:pos x="79" y="149"/>
                </a:cxn>
                <a:cxn ang="0">
                  <a:pos x="69" y="139"/>
                </a:cxn>
                <a:cxn ang="0">
                  <a:pos x="69" y="139"/>
                </a:cxn>
                <a:cxn ang="0">
                  <a:pos x="59" y="139"/>
                </a:cxn>
                <a:cxn ang="0">
                  <a:pos x="59" y="139"/>
                </a:cxn>
                <a:cxn ang="0">
                  <a:pos x="59" y="129"/>
                </a:cxn>
                <a:cxn ang="0">
                  <a:pos x="39" y="119"/>
                </a:cxn>
                <a:cxn ang="0">
                  <a:pos x="20" y="119"/>
                </a:cxn>
                <a:cxn ang="0">
                  <a:pos x="20" y="129"/>
                </a:cxn>
                <a:cxn ang="0">
                  <a:pos x="10" y="129"/>
                </a:cxn>
                <a:cxn ang="0">
                  <a:pos x="10" y="129"/>
                </a:cxn>
                <a:cxn ang="0">
                  <a:pos x="0" y="129"/>
                </a:cxn>
                <a:cxn ang="0">
                  <a:pos x="10" y="109"/>
                </a:cxn>
                <a:cxn ang="0">
                  <a:pos x="10" y="89"/>
                </a:cxn>
                <a:cxn ang="0">
                  <a:pos x="10" y="89"/>
                </a:cxn>
                <a:cxn ang="0">
                  <a:pos x="0" y="89"/>
                </a:cxn>
                <a:cxn ang="0">
                  <a:pos x="0" y="79"/>
                </a:cxn>
                <a:cxn ang="0">
                  <a:pos x="0" y="79"/>
                </a:cxn>
                <a:cxn ang="0">
                  <a:pos x="0" y="79"/>
                </a:cxn>
                <a:cxn ang="0">
                  <a:pos x="10" y="69"/>
                </a:cxn>
                <a:cxn ang="0">
                  <a:pos x="10" y="69"/>
                </a:cxn>
                <a:cxn ang="0">
                  <a:pos x="10" y="69"/>
                </a:cxn>
                <a:cxn ang="0">
                  <a:pos x="20" y="59"/>
                </a:cxn>
                <a:cxn ang="0">
                  <a:pos x="29" y="50"/>
                </a:cxn>
                <a:cxn ang="0">
                  <a:pos x="29" y="50"/>
                </a:cxn>
                <a:cxn ang="0">
                  <a:pos x="29" y="50"/>
                </a:cxn>
                <a:cxn ang="0">
                  <a:pos x="20" y="50"/>
                </a:cxn>
                <a:cxn ang="0">
                  <a:pos x="10" y="59"/>
                </a:cxn>
                <a:cxn ang="0">
                  <a:pos x="0" y="69"/>
                </a:cxn>
                <a:cxn ang="0">
                  <a:pos x="10" y="59"/>
                </a:cxn>
                <a:cxn ang="0">
                  <a:pos x="20" y="59"/>
                </a:cxn>
                <a:cxn ang="0">
                  <a:pos x="20" y="40"/>
                </a:cxn>
                <a:cxn ang="0">
                  <a:pos x="29" y="30"/>
                </a:cxn>
                <a:cxn ang="0">
                  <a:pos x="39" y="0"/>
                </a:cxn>
                <a:cxn ang="0">
                  <a:pos x="59" y="20"/>
                </a:cxn>
                <a:cxn ang="0">
                  <a:pos x="59" y="20"/>
                </a:cxn>
                <a:cxn ang="0">
                  <a:pos x="79" y="30"/>
                </a:cxn>
                <a:cxn ang="0">
                  <a:pos x="89" y="30"/>
                </a:cxn>
                <a:cxn ang="0">
                  <a:pos x="109" y="20"/>
                </a:cxn>
                <a:cxn ang="0">
                  <a:pos x="109" y="40"/>
                </a:cxn>
                <a:cxn ang="0">
                  <a:pos x="99" y="40"/>
                </a:cxn>
                <a:cxn ang="0">
                  <a:pos x="99" y="59"/>
                </a:cxn>
                <a:cxn ang="0">
                  <a:pos x="99" y="59"/>
                </a:cxn>
                <a:cxn ang="0">
                  <a:pos x="99" y="59"/>
                </a:cxn>
                <a:cxn ang="0">
                  <a:pos x="89" y="69"/>
                </a:cxn>
                <a:cxn ang="0">
                  <a:pos x="89" y="79"/>
                </a:cxn>
              </a:cxnLst>
              <a:rect l="0" t="0" r="r" b="b"/>
              <a:pathLst>
                <a:path w="109" h="149">
                  <a:moveTo>
                    <a:pt x="89" y="79"/>
                  </a:moveTo>
                  <a:lnTo>
                    <a:pt x="109" y="69"/>
                  </a:lnTo>
                  <a:lnTo>
                    <a:pt x="109" y="69"/>
                  </a:lnTo>
                  <a:lnTo>
                    <a:pt x="109" y="79"/>
                  </a:lnTo>
                  <a:lnTo>
                    <a:pt x="109" y="79"/>
                  </a:lnTo>
                  <a:lnTo>
                    <a:pt x="109" y="79"/>
                  </a:lnTo>
                  <a:lnTo>
                    <a:pt x="99" y="89"/>
                  </a:lnTo>
                  <a:lnTo>
                    <a:pt x="99" y="99"/>
                  </a:lnTo>
                  <a:lnTo>
                    <a:pt x="99" y="99"/>
                  </a:lnTo>
                  <a:lnTo>
                    <a:pt x="89" y="129"/>
                  </a:lnTo>
                  <a:lnTo>
                    <a:pt x="89" y="129"/>
                  </a:lnTo>
                  <a:lnTo>
                    <a:pt x="79" y="129"/>
                  </a:lnTo>
                  <a:lnTo>
                    <a:pt x="79" y="139"/>
                  </a:lnTo>
                  <a:lnTo>
                    <a:pt x="79" y="149"/>
                  </a:lnTo>
                  <a:lnTo>
                    <a:pt x="79" y="149"/>
                  </a:lnTo>
                  <a:lnTo>
                    <a:pt x="69" y="139"/>
                  </a:lnTo>
                  <a:lnTo>
                    <a:pt x="69" y="139"/>
                  </a:lnTo>
                  <a:lnTo>
                    <a:pt x="59" y="139"/>
                  </a:lnTo>
                  <a:lnTo>
                    <a:pt x="59" y="139"/>
                  </a:lnTo>
                  <a:lnTo>
                    <a:pt x="59" y="129"/>
                  </a:lnTo>
                  <a:lnTo>
                    <a:pt x="39" y="119"/>
                  </a:lnTo>
                  <a:lnTo>
                    <a:pt x="20" y="119"/>
                  </a:lnTo>
                  <a:lnTo>
                    <a:pt x="20" y="129"/>
                  </a:lnTo>
                  <a:lnTo>
                    <a:pt x="10" y="129"/>
                  </a:lnTo>
                  <a:lnTo>
                    <a:pt x="10" y="129"/>
                  </a:lnTo>
                  <a:lnTo>
                    <a:pt x="0" y="129"/>
                  </a:lnTo>
                  <a:lnTo>
                    <a:pt x="10" y="109"/>
                  </a:lnTo>
                  <a:lnTo>
                    <a:pt x="10" y="89"/>
                  </a:lnTo>
                  <a:lnTo>
                    <a:pt x="10" y="89"/>
                  </a:lnTo>
                  <a:lnTo>
                    <a:pt x="0" y="89"/>
                  </a:lnTo>
                  <a:lnTo>
                    <a:pt x="0" y="79"/>
                  </a:lnTo>
                  <a:lnTo>
                    <a:pt x="0" y="79"/>
                  </a:lnTo>
                  <a:lnTo>
                    <a:pt x="0" y="79"/>
                  </a:lnTo>
                  <a:lnTo>
                    <a:pt x="10" y="69"/>
                  </a:lnTo>
                  <a:lnTo>
                    <a:pt x="10" y="69"/>
                  </a:lnTo>
                  <a:lnTo>
                    <a:pt x="10" y="69"/>
                  </a:lnTo>
                  <a:lnTo>
                    <a:pt x="20" y="59"/>
                  </a:lnTo>
                  <a:lnTo>
                    <a:pt x="29" y="50"/>
                  </a:lnTo>
                  <a:lnTo>
                    <a:pt x="29" y="50"/>
                  </a:lnTo>
                  <a:lnTo>
                    <a:pt x="29" y="50"/>
                  </a:lnTo>
                  <a:lnTo>
                    <a:pt x="20" y="50"/>
                  </a:lnTo>
                  <a:lnTo>
                    <a:pt x="10" y="59"/>
                  </a:lnTo>
                  <a:lnTo>
                    <a:pt x="0" y="69"/>
                  </a:lnTo>
                  <a:lnTo>
                    <a:pt x="10" y="59"/>
                  </a:lnTo>
                  <a:lnTo>
                    <a:pt x="20" y="59"/>
                  </a:lnTo>
                  <a:lnTo>
                    <a:pt x="20" y="40"/>
                  </a:lnTo>
                  <a:lnTo>
                    <a:pt x="29" y="30"/>
                  </a:lnTo>
                  <a:lnTo>
                    <a:pt x="39" y="0"/>
                  </a:lnTo>
                  <a:lnTo>
                    <a:pt x="59" y="20"/>
                  </a:lnTo>
                  <a:lnTo>
                    <a:pt x="59" y="20"/>
                  </a:lnTo>
                  <a:lnTo>
                    <a:pt x="79" y="30"/>
                  </a:lnTo>
                  <a:lnTo>
                    <a:pt x="89" y="30"/>
                  </a:lnTo>
                  <a:lnTo>
                    <a:pt x="109" y="20"/>
                  </a:lnTo>
                  <a:lnTo>
                    <a:pt x="109" y="40"/>
                  </a:lnTo>
                  <a:lnTo>
                    <a:pt x="99" y="40"/>
                  </a:lnTo>
                  <a:lnTo>
                    <a:pt x="99" y="59"/>
                  </a:lnTo>
                  <a:lnTo>
                    <a:pt x="99" y="59"/>
                  </a:lnTo>
                  <a:lnTo>
                    <a:pt x="99" y="59"/>
                  </a:lnTo>
                  <a:lnTo>
                    <a:pt x="89" y="69"/>
                  </a:lnTo>
                  <a:lnTo>
                    <a:pt x="89" y="7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88" name="Freeform 595">
              <a:extLst>
                <a:ext uri="{FF2B5EF4-FFF2-40B4-BE49-F238E27FC236}">
                  <a16:creationId xmlns:a16="http://schemas.microsoft.com/office/drawing/2014/main" id="{E0B10336-6D5B-D995-4527-FB98CE627238}"/>
                </a:ext>
              </a:extLst>
            </p:cNvPr>
            <p:cNvSpPr>
              <a:spLocks/>
            </p:cNvSpPr>
            <p:nvPr/>
          </p:nvSpPr>
          <p:spPr bwMode="auto">
            <a:xfrm>
              <a:off x="12781710" y="4303917"/>
              <a:ext cx="561690" cy="366168"/>
            </a:xfrm>
            <a:custGeom>
              <a:avLst/>
              <a:gdLst/>
              <a:ahLst/>
              <a:cxnLst>
                <a:cxn ang="0">
                  <a:pos x="378" y="40"/>
                </a:cxn>
                <a:cxn ang="0">
                  <a:pos x="408" y="20"/>
                </a:cxn>
                <a:cxn ang="0">
                  <a:pos x="418" y="11"/>
                </a:cxn>
                <a:cxn ang="0">
                  <a:pos x="408" y="110"/>
                </a:cxn>
                <a:cxn ang="0">
                  <a:pos x="378" y="130"/>
                </a:cxn>
                <a:cxn ang="0">
                  <a:pos x="348" y="149"/>
                </a:cxn>
                <a:cxn ang="0">
                  <a:pos x="338" y="160"/>
                </a:cxn>
                <a:cxn ang="0">
                  <a:pos x="298" y="199"/>
                </a:cxn>
                <a:cxn ang="0">
                  <a:pos x="259" y="229"/>
                </a:cxn>
                <a:cxn ang="0">
                  <a:pos x="249" y="239"/>
                </a:cxn>
                <a:cxn ang="0">
                  <a:pos x="219" y="259"/>
                </a:cxn>
                <a:cxn ang="0">
                  <a:pos x="199" y="269"/>
                </a:cxn>
                <a:cxn ang="0">
                  <a:pos x="149" y="229"/>
                </a:cxn>
                <a:cxn ang="0">
                  <a:pos x="140" y="249"/>
                </a:cxn>
                <a:cxn ang="0">
                  <a:pos x="110" y="249"/>
                </a:cxn>
                <a:cxn ang="0">
                  <a:pos x="100" y="249"/>
                </a:cxn>
                <a:cxn ang="0">
                  <a:pos x="80" y="259"/>
                </a:cxn>
                <a:cxn ang="0">
                  <a:pos x="70" y="279"/>
                </a:cxn>
                <a:cxn ang="0">
                  <a:pos x="50" y="249"/>
                </a:cxn>
                <a:cxn ang="0">
                  <a:pos x="40" y="219"/>
                </a:cxn>
                <a:cxn ang="0">
                  <a:pos x="30" y="189"/>
                </a:cxn>
                <a:cxn ang="0">
                  <a:pos x="20" y="169"/>
                </a:cxn>
                <a:cxn ang="0">
                  <a:pos x="0" y="149"/>
                </a:cxn>
                <a:cxn ang="0">
                  <a:pos x="0" y="130"/>
                </a:cxn>
                <a:cxn ang="0">
                  <a:pos x="10" y="120"/>
                </a:cxn>
                <a:cxn ang="0">
                  <a:pos x="0" y="100"/>
                </a:cxn>
                <a:cxn ang="0">
                  <a:pos x="10" y="100"/>
                </a:cxn>
                <a:cxn ang="0">
                  <a:pos x="10" y="70"/>
                </a:cxn>
                <a:cxn ang="0">
                  <a:pos x="0" y="60"/>
                </a:cxn>
                <a:cxn ang="0">
                  <a:pos x="20" y="60"/>
                </a:cxn>
                <a:cxn ang="0">
                  <a:pos x="20" y="50"/>
                </a:cxn>
                <a:cxn ang="0">
                  <a:pos x="20" y="20"/>
                </a:cxn>
                <a:cxn ang="0">
                  <a:pos x="30" y="30"/>
                </a:cxn>
                <a:cxn ang="0">
                  <a:pos x="50" y="20"/>
                </a:cxn>
                <a:cxn ang="0">
                  <a:pos x="50" y="11"/>
                </a:cxn>
                <a:cxn ang="0">
                  <a:pos x="80" y="0"/>
                </a:cxn>
                <a:cxn ang="0">
                  <a:pos x="90" y="11"/>
                </a:cxn>
                <a:cxn ang="0">
                  <a:pos x="120" y="30"/>
                </a:cxn>
                <a:cxn ang="0">
                  <a:pos x="129" y="40"/>
                </a:cxn>
                <a:cxn ang="0">
                  <a:pos x="120" y="70"/>
                </a:cxn>
                <a:cxn ang="0">
                  <a:pos x="120" y="90"/>
                </a:cxn>
                <a:cxn ang="0">
                  <a:pos x="120" y="100"/>
                </a:cxn>
                <a:cxn ang="0">
                  <a:pos x="120" y="110"/>
                </a:cxn>
                <a:cxn ang="0">
                  <a:pos x="100" y="130"/>
                </a:cxn>
                <a:cxn ang="0">
                  <a:pos x="100" y="149"/>
                </a:cxn>
                <a:cxn ang="0">
                  <a:pos x="169" y="160"/>
                </a:cxn>
                <a:cxn ang="0">
                  <a:pos x="189" y="169"/>
                </a:cxn>
                <a:cxn ang="0">
                  <a:pos x="229" y="149"/>
                </a:cxn>
                <a:cxn ang="0">
                  <a:pos x="259" y="130"/>
                </a:cxn>
                <a:cxn ang="0">
                  <a:pos x="269" y="130"/>
                </a:cxn>
                <a:cxn ang="0">
                  <a:pos x="278" y="110"/>
                </a:cxn>
                <a:cxn ang="0">
                  <a:pos x="289" y="90"/>
                </a:cxn>
                <a:cxn ang="0">
                  <a:pos x="308" y="80"/>
                </a:cxn>
                <a:cxn ang="0">
                  <a:pos x="318" y="70"/>
                </a:cxn>
                <a:cxn ang="0">
                  <a:pos x="328" y="60"/>
                </a:cxn>
                <a:cxn ang="0">
                  <a:pos x="358" y="50"/>
                </a:cxn>
              </a:cxnLst>
              <a:rect l="0" t="0" r="r" b="b"/>
              <a:pathLst>
                <a:path w="418" h="279">
                  <a:moveTo>
                    <a:pt x="368" y="50"/>
                  </a:moveTo>
                  <a:lnTo>
                    <a:pt x="378" y="40"/>
                  </a:lnTo>
                  <a:lnTo>
                    <a:pt x="388" y="30"/>
                  </a:lnTo>
                  <a:lnTo>
                    <a:pt x="408" y="20"/>
                  </a:lnTo>
                  <a:lnTo>
                    <a:pt x="408" y="11"/>
                  </a:lnTo>
                  <a:lnTo>
                    <a:pt x="418" y="11"/>
                  </a:lnTo>
                  <a:lnTo>
                    <a:pt x="408" y="110"/>
                  </a:lnTo>
                  <a:lnTo>
                    <a:pt x="408" y="110"/>
                  </a:lnTo>
                  <a:lnTo>
                    <a:pt x="408" y="120"/>
                  </a:lnTo>
                  <a:lnTo>
                    <a:pt x="378" y="130"/>
                  </a:lnTo>
                  <a:lnTo>
                    <a:pt x="358" y="140"/>
                  </a:lnTo>
                  <a:lnTo>
                    <a:pt x="348" y="149"/>
                  </a:lnTo>
                  <a:lnTo>
                    <a:pt x="338" y="160"/>
                  </a:lnTo>
                  <a:lnTo>
                    <a:pt x="338" y="160"/>
                  </a:lnTo>
                  <a:lnTo>
                    <a:pt x="318" y="189"/>
                  </a:lnTo>
                  <a:lnTo>
                    <a:pt x="298" y="199"/>
                  </a:lnTo>
                  <a:lnTo>
                    <a:pt x="269" y="219"/>
                  </a:lnTo>
                  <a:lnTo>
                    <a:pt x="259" y="229"/>
                  </a:lnTo>
                  <a:lnTo>
                    <a:pt x="259" y="229"/>
                  </a:lnTo>
                  <a:lnTo>
                    <a:pt x="249" y="239"/>
                  </a:lnTo>
                  <a:lnTo>
                    <a:pt x="229" y="249"/>
                  </a:lnTo>
                  <a:lnTo>
                    <a:pt x="219" y="259"/>
                  </a:lnTo>
                  <a:lnTo>
                    <a:pt x="209" y="269"/>
                  </a:lnTo>
                  <a:lnTo>
                    <a:pt x="199" y="269"/>
                  </a:lnTo>
                  <a:lnTo>
                    <a:pt x="159" y="239"/>
                  </a:lnTo>
                  <a:lnTo>
                    <a:pt x="149" y="229"/>
                  </a:lnTo>
                  <a:lnTo>
                    <a:pt x="149" y="239"/>
                  </a:lnTo>
                  <a:lnTo>
                    <a:pt x="140" y="249"/>
                  </a:lnTo>
                  <a:lnTo>
                    <a:pt x="120" y="249"/>
                  </a:lnTo>
                  <a:lnTo>
                    <a:pt x="110" y="249"/>
                  </a:lnTo>
                  <a:lnTo>
                    <a:pt x="100" y="249"/>
                  </a:lnTo>
                  <a:lnTo>
                    <a:pt x="100" y="249"/>
                  </a:lnTo>
                  <a:lnTo>
                    <a:pt x="90" y="249"/>
                  </a:lnTo>
                  <a:lnTo>
                    <a:pt x="80" y="259"/>
                  </a:lnTo>
                  <a:lnTo>
                    <a:pt x="80" y="269"/>
                  </a:lnTo>
                  <a:lnTo>
                    <a:pt x="70" y="279"/>
                  </a:lnTo>
                  <a:lnTo>
                    <a:pt x="70" y="279"/>
                  </a:lnTo>
                  <a:lnTo>
                    <a:pt x="50" y="249"/>
                  </a:lnTo>
                  <a:lnTo>
                    <a:pt x="50" y="239"/>
                  </a:lnTo>
                  <a:lnTo>
                    <a:pt x="40" y="219"/>
                  </a:lnTo>
                  <a:lnTo>
                    <a:pt x="40" y="219"/>
                  </a:lnTo>
                  <a:lnTo>
                    <a:pt x="30" y="189"/>
                  </a:lnTo>
                  <a:lnTo>
                    <a:pt x="30" y="189"/>
                  </a:lnTo>
                  <a:lnTo>
                    <a:pt x="20" y="169"/>
                  </a:lnTo>
                  <a:lnTo>
                    <a:pt x="10" y="160"/>
                  </a:lnTo>
                  <a:lnTo>
                    <a:pt x="0" y="149"/>
                  </a:lnTo>
                  <a:lnTo>
                    <a:pt x="0" y="130"/>
                  </a:lnTo>
                  <a:lnTo>
                    <a:pt x="0" y="130"/>
                  </a:lnTo>
                  <a:lnTo>
                    <a:pt x="0" y="120"/>
                  </a:lnTo>
                  <a:lnTo>
                    <a:pt x="10" y="120"/>
                  </a:lnTo>
                  <a:lnTo>
                    <a:pt x="0" y="110"/>
                  </a:lnTo>
                  <a:lnTo>
                    <a:pt x="0" y="100"/>
                  </a:lnTo>
                  <a:lnTo>
                    <a:pt x="10" y="100"/>
                  </a:lnTo>
                  <a:lnTo>
                    <a:pt x="10" y="100"/>
                  </a:lnTo>
                  <a:lnTo>
                    <a:pt x="0" y="80"/>
                  </a:lnTo>
                  <a:lnTo>
                    <a:pt x="10" y="70"/>
                  </a:lnTo>
                  <a:lnTo>
                    <a:pt x="0" y="60"/>
                  </a:lnTo>
                  <a:lnTo>
                    <a:pt x="0" y="60"/>
                  </a:lnTo>
                  <a:lnTo>
                    <a:pt x="0" y="50"/>
                  </a:lnTo>
                  <a:lnTo>
                    <a:pt x="20" y="60"/>
                  </a:lnTo>
                  <a:lnTo>
                    <a:pt x="10" y="50"/>
                  </a:lnTo>
                  <a:lnTo>
                    <a:pt x="20" y="50"/>
                  </a:lnTo>
                  <a:lnTo>
                    <a:pt x="10" y="20"/>
                  </a:lnTo>
                  <a:lnTo>
                    <a:pt x="20" y="20"/>
                  </a:lnTo>
                  <a:lnTo>
                    <a:pt x="20" y="40"/>
                  </a:lnTo>
                  <a:lnTo>
                    <a:pt x="30" y="30"/>
                  </a:lnTo>
                  <a:lnTo>
                    <a:pt x="40" y="30"/>
                  </a:lnTo>
                  <a:lnTo>
                    <a:pt x="50" y="20"/>
                  </a:lnTo>
                  <a:lnTo>
                    <a:pt x="50" y="11"/>
                  </a:lnTo>
                  <a:lnTo>
                    <a:pt x="50" y="11"/>
                  </a:lnTo>
                  <a:lnTo>
                    <a:pt x="60" y="20"/>
                  </a:lnTo>
                  <a:lnTo>
                    <a:pt x="80" y="0"/>
                  </a:lnTo>
                  <a:lnTo>
                    <a:pt x="80" y="11"/>
                  </a:lnTo>
                  <a:lnTo>
                    <a:pt x="90" y="11"/>
                  </a:lnTo>
                  <a:lnTo>
                    <a:pt x="120" y="30"/>
                  </a:lnTo>
                  <a:lnTo>
                    <a:pt x="120" y="30"/>
                  </a:lnTo>
                  <a:lnTo>
                    <a:pt x="129" y="40"/>
                  </a:lnTo>
                  <a:lnTo>
                    <a:pt x="129" y="40"/>
                  </a:lnTo>
                  <a:lnTo>
                    <a:pt x="120" y="60"/>
                  </a:lnTo>
                  <a:lnTo>
                    <a:pt x="120" y="70"/>
                  </a:lnTo>
                  <a:lnTo>
                    <a:pt x="110" y="70"/>
                  </a:lnTo>
                  <a:lnTo>
                    <a:pt x="120" y="90"/>
                  </a:lnTo>
                  <a:lnTo>
                    <a:pt x="120" y="100"/>
                  </a:lnTo>
                  <a:lnTo>
                    <a:pt x="120" y="100"/>
                  </a:lnTo>
                  <a:lnTo>
                    <a:pt x="120" y="110"/>
                  </a:lnTo>
                  <a:lnTo>
                    <a:pt x="120" y="110"/>
                  </a:lnTo>
                  <a:lnTo>
                    <a:pt x="120" y="110"/>
                  </a:lnTo>
                  <a:lnTo>
                    <a:pt x="100" y="130"/>
                  </a:lnTo>
                  <a:lnTo>
                    <a:pt x="100" y="140"/>
                  </a:lnTo>
                  <a:lnTo>
                    <a:pt x="100" y="149"/>
                  </a:lnTo>
                  <a:lnTo>
                    <a:pt x="100" y="149"/>
                  </a:lnTo>
                  <a:lnTo>
                    <a:pt x="169" y="160"/>
                  </a:lnTo>
                  <a:lnTo>
                    <a:pt x="179" y="169"/>
                  </a:lnTo>
                  <a:lnTo>
                    <a:pt x="189" y="169"/>
                  </a:lnTo>
                  <a:lnTo>
                    <a:pt x="209" y="160"/>
                  </a:lnTo>
                  <a:lnTo>
                    <a:pt x="229" y="149"/>
                  </a:lnTo>
                  <a:lnTo>
                    <a:pt x="239" y="149"/>
                  </a:lnTo>
                  <a:lnTo>
                    <a:pt x="259" y="130"/>
                  </a:lnTo>
                  <a:lnTo>
                    <a:pt x="259" y="130"/>
                  </a:lnTo>
                  <a:lnTo>
                    <a:pt x="269" y="130"/>
                  </a:lnTo>
                  <a:lnTo>
                    <a:pt x="278" y="120"/>
                  </a:lnTo>
                  <a:lnTo>
                    <a:pt x="278" y="110"/>
                  </a:lnTo>
                  <a:lnTo>
                    <a:pt x="278" y="110"/>
                  </a:lnTo>
                  <a:lnTo>
                    <a:pt x="289" y="90"/>
                  </a:lnTo>
                  <a:lnTo>
                    <a:pt x="298" y="90"/>
                  </a:lnTo>
                  <a:lnTo>
                    <a:pt x="308" y="80"/>
                  </a:lnTo>
                  <a:lnTo>
                    <a:pt x="318" y="70"/>
                  </a:lnTo>
                  <a:lnTo>
                    <a:pt x="318" y="70"/>
                  </a:lnTo>
                  <a:lnTo>
                    <a:pt x="318" y="70"/>
                  </a:lnTo>
                  <a:lnTo>
                    <a:pt x="328" y="60"/>
                  </a:lnTo>
                  <a:lnTo>
                    <a:pt x="348" y="50"/>
                  </a:lnTo>
                  <a:lnTo>
                    <a:pt x="358" y="50"/>
                  </a:lnTo>
                  <a:lnTo>
                    <a:pt x="368" y="50"/>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89" name="Freeform 596">
              <a:extLst>
                <a:ext uri="{FF2B5EF4-FFF2-40B4-BE49-F238E27FC236}">
                  <a16:creationId xmlns:a16="http://schemas.microsoft.com/office/drawing/2014/main" id="{5D4A2C72-A4E2-2166-5B99-93FC5A1B9256}"/>
                </a:ext>
              </a:extLst>
            </p:cNvPr>
            <p:cNvSpPr>
              <a:spLocks/>
            </p:cNvSpPr>
            <p:nvPr/>
          </p:nvSpPr>
          <p:spPr bwMode="auto">
            <a:xfrm>
              <a:off x="13049117" y="3418026"/>
              <a:ext cx="427314" cy="325483"/>
            </a:xfrm>
            <a:custGeom>
              <a:avLst/>
              <a:gdLst/>
              <a:ahLst/>
              <a:cxnLst>
                <a:cxn ang="0">
                  <a:pos x="169" y="79"/>
                </a:cxn>
                <a:cxn ang="0">
                  <a:pos x="179" y="69"/>
                </a:cxn>
                <a:cxn ang="0">
                  <a:pos x="169" y="50"/>
                </a:cxn>
                <a:cxn ang="0">
                  <a:pos x="179" y="40"/>
                </a:cxn>
                <a:cxn ang="0">
                  <a:pos x="199" y="50"/>
                </a:cxn>
                <a:cxn ang="0">
                  <a:pos x="199" y="50"/>
                </a:cxn>
                <a:cxn ang="0">
                  <a:pos x="189" y="50"/>
                </a:cxn>
                <a:cxn ang="0">
                  <a:pos x="169" y="20"/>
                </a:cxn>
                <a:cxn ang="0">
                  <a:pos x="199" y="10"/>
                </a:cxn>
                <a:cxn ang="0">
                  <a:pos x="199" y="40"/>
                </a:cxn>
                <a:cxn ang="0">
                  <a:pos x="209" y="10"/>
                </a:cxn>
                <a:cxn ang="0">
                  <a:pos x="228" y="10"/>
                </a:cxn>
                <a:cxn ang="0">
                  <a:pos x="228" y="30"/>
                </a:cxn>
                <a:cxn ang="0">
                  <a:pos x="238" y="50"/>
                </a:cxn>
                <a:cxn ang="0">
                  <a:pos x="238" y="60"/>
                </a:cxn>
                <a:cxn ang="0">
                  <a:pos x="248" y="50"/>
                </a:cxn>
                <a:cxn ang="0">
                  <a:pos x="248" y="40"/>
                </a:cxn>
                <a:cxn ang="0">
                  <a:pos x="228" y="10"/>
                </a:cxn>
                <a:cxn ang="0">
                  <a:pos x="238" y="30"/>
                </a:cxn>
                <a:cxn ang="0">
                  <a:pos x="268" y="20"/>
                </a:cxn>
                <a:cxn ang="0">
                  <a:pos x="298" y="20"/>
                </a:cxn>
                <a:cxn ang="0">
                  <a:pos x="308" y="89"/>
                </a:cxn>
                <a:cxn ang="0">
                  <a:pos x="318" y="99"/>
                </a:cxn>
                <a:cxn ang="0">
                  <a:pos x="298" y="119"/>
                </a:cxn>
                <a:cxn ang="0">
                  <a:pos x="288" y="139"/>
                </a:cxn>
                <a:cxn ang="0">
                  <a:pos x="268" y="159"/>
                </a:cxn>
                <a:cxn ang="0">
                  <a:pos x="278" y="179"/>
                </a:cxn>
                <a:cxn ang="0">
                  <a:pos x="258" y="189"/>
                </a:cxn>
                <a:cxn ang="0">
                  <a:pos x="248" y="209"/>
                </a:cxn>
                <a:cxn ang="0">
                  <a:pos x="248" y="219"/>
                </a:cxn>
                <a:cxn ang="0">
                  <a:pos x="228" y="209"/>
                </a:cxn>
                <a:cxn ang="0">
                  <a:pos x="199" y="189"/>
                </a:cxn>
                <a:cxn ang="0">
                  <a:pos x="189" y="199"/>
                </a:cxn>
                <a:cxn ang="0">
                  <a:pos x="159" y="199"/>
                </a:cxn>
                <a:cxn ang="0">
                  <a:pos x="139" y="199"/>
                </a:cxn>
                <a:cxn ang="0">
                  <a:pos x="129" y="199"/>
                </a:cxn>
                <a:cxn ang="0">
                  <a:pos x="90" y="209"/>
                </a:cxn>
                <a:cxn ang="0">
                  <a:pos x="40" y="238"/>
                </a:cxn>
                <a:cxn ang="0">
                  <a:pos x="0" y="248"/>
                </a:cxn>
                <a:cxn ang="0">
                  <a:pos x="10" y="209"/>
                </a:cxn>
                <a:cxn ang="0">
                  <a:pos x="20" y="139"/>
                </a:cxn>
                <a:cxn ang="0">
                  <a:pos x="40" y="129"/>
                </a:cxn>
                <a:cxn ang="0">
                  <a:pos x="40" y="79"/>
                </a:cxn>
                <a:cxn ang="0">
                  <a:pos x="60" y="69"/>
                </a:cxn>
                <a:cxn ang="0">
                  <a:pos x="60" y="79"/>
                </a:cxn>
                <a:cxn ang="0">
                  <a:pos x="79" y="79"/>
                </a:cxn>
                <a:cxn ang="0">
                  <a:pos x="90" y="79"/>
                </a:cxn>
                <a:cxn ang="0">
                  <a:pos x="99" y="89"/>
                </a:cxn>
                <a:cxn ang="0">
                  <a:pos x="119" y="89"/>
                </a:cxn>
                <a:cxn ang="0">
                  <a:pos x="109" y="119"/>
                </a:cxn>
                <a:cxn ang="0">
                  <a:pos x="119" y="119"/>
                </a:cxn>
                <a:cxn ang="0">
                  <a:pos x="139" y="99"/>
                </a:cxn>
                <a:cxn ang="0">
                  <a:pos x="149" y="89"/>
                </a:cxn>
              </a:cxnLst>
              <a:rect l="0" t="0" r="r" b="b"/>
              <a:pathLst>
                <a:path w="318" h="248">
                  <a:moveTo>
                    <a:pt x="149" y="89"/>
                  </a:moveTo>
                  <a:lnTo>
                    <a:pt x="159" y="79"/>
                  </a:lnTo>
                  <a:lnTo>
                    <a:pt x="169" y="79"/>
                  </a:lnTo>
                  <a:lnTo>
                    <a:pt x="169" y="79"/>
                  </a:lnTo>
                  <a:lnTo>
                    <a:pt x="179" y="79"/>
                  </a:lnTo>
                  <a:lnTo>
                    <a:pt x="179" y="69"/>
                  </a:lnTo>
                  <a:lnTo>
                    <a:pt x="169" y="69"/>
                  </a:lnTo>
                  <a:lnTo>
                    <a:pt x="169" y="60"/>
                  </a:lnTo>
                  <a:lnTo>
                    <a:pt x="169" y="50"/>
                  </a:lnTo>
                  <a:lnTo>
                    <a:pt x="169" y="50"/>
                  </a:lnTo>
                  <a:lnTo>
                    <a:pt x="179" y="40"/>
                  </a:lnTo>
                  <a:lnTo>
                    <a:pt x="179" y="40"/>
                  </a:lnTo>
                  <a:lnTo>
                    <a:pt x="179" y="50"/>
                  </a:lnTo>
                  <a:lnTo>
                    <a:pt x="189" y="50"/>
                  </a:lnTo>
                  <a:lnTo>
                    <a:pt x="199" y="50"/>
                  </a:lnTo>
                  <a:lnTo>
                    <a:pt x="199" y="50"/>
                  </a:lnTo>
                  <a:lnTo>
                    <a:pt x="199" y="50"/>
                  </a:lnTo>
                  <a:lnTo>
                    <a:pt x="199" y="50"/>
                  </a:lnTo>
                  <a:lnTo>
                    <a:pt x="199" y="50"/>
                  </a:lnTo>
                  <a:lnTo>
                    <a:pt x="189" y="50"/>
                  </a:lnTo>
                  <a:lnTo>
                    <a:pt x="189" y="50"/>
                  </a:lnTo>
                  <a:lnTo>
                    <a:pt x="189" y="50"/>
                  </a:lnTo>
                  <a:lnTo>
                    <a:pt x="189" y="40"/>
                  </a:lnTo>
                  <a:lnTo>
                    <a:pt x="169" y="20"/>
                  </a:lnTo>
                  <a:lnTo>
                    <a:pt x="169" y="10"/>
                  </a:lnTo>
                  <a:lnTo>
                    <a:pt x="179" y="0"/>
                  </a:lnTo>
                  <a:lnTo>
                    <a:pt x="199" y="10"/>
                  </a:lnTo>
                  <a:lnTo>
                    <a:pt x="199" y="20"/>
                  </a:lnTo>
                  <a:lnTo>
                    <a:pt x="199" y="30"/>
                  </a:lnTo>
                  <a:lnTo>
                    <a:pt x="199" y="40"/>
                  </a:lnTo>
                  <a:lnTo>
                    <a:pt x="199" y="40"/>
                  </a:lnTo>
                  <a:lnTo>
                    <a:pt x="199" y="30"/>
                  </a:lnTo>
                  <a:lnTo>
                    <a:pt x="209" y="10"/>
                  </a:lnTo>
                  <a:lnTo>
                    <a:pt x="209" y="0"/>
                  </a:lnTo>
                  <a:lnTo>
                    <a:pt x="219" y="10"/>
                  </a:lnTo>
                  <a:lnTo>
                    <a:pt x="228" y="10"/>
                  </a:lnTo>
                  <a:lnTo>
                    <a:pt x="219" y="20"/>
                  </a:lnTo>
                  <a:lnTo>
                    <a:pt x="228" y="20"/>
                  </a:lnTo>
                  <a:lnTo>
                    <a:pt x="228" y="30"/>
                  </a:lnTo>
                  <a:lnTo>
                    <a:pt x="238" y="40"/>
                  </a:lnTo>
                  <a:lnTo>
                    <a:pt x="238" y="40"/>
                  </a:lnTo>
                  <a:lnTo>
                    <a:pt x="238" y="50"/>
                  </a:lnTo>
                  <a:lnTo>
                    <a:pt x="238" y="60"/>
                  </a:lnTo>
                  <a:lnTo>
                    <a:pt x="238" y="60"/>
                  </a:lnTo>
                  <a:lnTo>
                    <a:pt x="238" y="60"/>
                  </a:lnTo>
                  <a:lnTo>
                    <a:pt x="238" y="50"/>
                  </a:lnTo>
                  <a:lnTo>
                    <a:pt x="238" y="50"/>
                  </a:lnTo>
                  <a:lnTo>
                    <a:pt x="248" y="50"/>
                  </a:lnTo>
                  <a:lnTo>
                    <a:pt x="268" y="50"/>
                  </a:lnTo>
                  <a:lnTo>
                    <a:pt x="248" y="50"/>
                  </a:lnTo>
                  <a:lnTo>
                    <a:pt x="248" y="40"/>
                  </a:lnTo>
                  <a:lnTo>
                    <a:pt x="228" y="20"/>
                  </a:lnTo>
                  <a:lnTo>
                    <a:pt x="228" y="20"/>
                  </a:lnTo>
                  <a:lnTo>
                    <a:pt x="228" y="10"/>
                  </a:lnTo>
                  <a:lnTo>
                    <a:pt x="228" y="10"/>
                  </a:lnTo>
                  <a:lnTo>
                    <a:pt x="238" y="30"/>
                  </a:lnTo>
                  <a:lnTo>
                    <a:pt x="238" y="30"/>
                  </a:lnTo>
                  <a:lnTo>
                    <a:pt x="248" y="30"/>
                  </a:lnTo>
                  <a:lnTo>
                    <a:pt x="258" y="30"/>
                  </a:lnTo>
                  <a:lnTo>
                    <a:pt x="268" y="20"/>
                  </a:lnTo>
                  <a:lnTo>
                    <a:pt x="268" y="20"/>
                  </a:lnTo>
                  <a:lnTo>
                    <a:pt x="278" y="20"/>
                  </a:lnTo>
                  <a:lnTo>
                    <a:pt x="298" y="20"/>
                  </a:lnTo>
                  <a:lnTo>
                    <a:pt x="298" y="30"/>
                  </a:lnTo>
                  <a:lnTo>
                    <a:pt x="308" y="30"/>
                  </a:lnTo>
                  <a:lnTo>
                    <a:pt x="308" y="89"/>
                  </a:lnTo>
                  <a:lnTo>
                    <a:pt x="308" y="99"/>
                  </a:lnTo>
                  <a:lnTo>
                    <a:pt x="318" y="99"/>
                  </a:lnTo>
                  <a:lnTo>
                    <a:pt x="318" y="99"/>
                  </a:lnTo>
                  <a:lnTo>
                    <a:pt x="318" y="109"/>
                  </a:lnTo>
                  <a:lnTo>
                    <a:pt x="308" y="109"/>
                  </a:lnTo>
                  <a:lnTo>
                    <a:pt x="298" y="119"/>
                  </a:lnTo>
                  <a:lnTo>
                    <a:pt x="298" y="129"/>
                  </a:lnTo>
                  <a:lnTo>
                    <a:pt x="288" y="139"/>
                  </a:lnTo>
                  <a:lnTo>
                    <a:pt x="288" y="139"/>
                  </a:lnTo>
                  <a:lnTo>
                    <a:pt x="278" y="139"/>
                  </a:lnTo>
                  <a:lnTo>
                    <a:pt x="268" y="149"/>
                  </a:lnTo>
                  <a:lnTo>
                    <a:pt x="268" y="159"/>
                  </a:lnTo>
                  <a:lnTo>
                    <a:pt x="268" y="169"/>
                  </a:lnTo>
                  <a:lnTo>
                    <a:pt x="268" y="179"/>
                  </a:lnTo>
                  <a:lnTo>
                    <a:pt x="278" y="179"/>
                  </a:lnTo>
                  <a:lnTo>
                    <a:pt x="268" y="189"/>
                  </a:lnTo>
                  <a:lnTo>
                    <a:pt x="268" y="189"/>
                  </a:lnTo>
                  <a:lnTo>
                    <a:pt x="258" y="189"/>
                  </a:lnTo>
                  <a:lnTo>
                    <a:pt x="258" y="189"/>
                  </a:lnTo>
                  <a:lnTo>
                    <a:pt x="258" y="199"/>
                  </a:lnTo>
                  <a:lnTo>
                    <a:pt x="248" y="209"/>
                  </a:lnTo>
                  <a:lnTo>
                    <a:pt x="248" y="209"/>
                  </a:lnTo>
                  <a:lnTo>
                    <a:pt x="248" y="209"/>
                  </a:lnTo>
                  <a:lnTo>
                    <a:pt x="248" y="219"/>
                  </a:lnTo>
                  <a:lnTo>
                    <a:pt x="228" y="209"/>
                  </a:lnTo>
                  <a:lnTo>
                    <a:pt x="228" y="209"/>
                  </a:lnTo>
                  <a:lnTo>
                    <a:pt x="228" y="209"/>
                  </a:lnTo>
                  <a:lnTo>
                    <a:pt x="228" y="199"/>
                  </a:lnTo>
                  <a:lnTo>
                    <a:pt x="199" y="189"/>
                  </a:lnTo>
                  <a:lnTo>
                    <a:pt x="199" y="189"/>
                  </a:lnTo>
                  <a:lnTo>
                    <a:pt x="189" y="189"/>
                  </a:lnTo>
                  <a:lnTo>
                    <a:pt x="189" y="189"/>
                  </a:lnTo>
                  <a:lnTo>
                    <a:pt x="189" y="199"/>
                  </a:lnTo>
                  <a:lnTo>
                    <a:pt x="179" y="209"/>
                  </a:lnTo>
                  <a:lnTo>
                    <a:pt x="169" y="209"/>
                  </a:lnTo>
                  <a:lnTo>
                    <a:pt x="159" y="199"/>
                  </a:lnTo>
                  <a:lnTo>
                    <a:pt x="159" y="199"/>
                  </a:lnTo>
                  <a:lnTo>
                    <a:pt x="149" y="199"/>
                  </a:lnTo>
                  <a:lnTo>
                    <a:pt x="139" y="199"/>
                  </a:lnTo>
                  <a:lnTo>
                    <a:pt x="139" y="209"/>
                  </a:lnTo>
                  <a:lnTo>
                    <a:pt x="129" y="209"/>
                  </a:lnTo>
                  <a:lnTo>
                    <a:pt x="129" y="199"/>
                  </a:lnTo>
                  <a:lnTo>
                    <a:pt x="109" y="209"/>
                  </a:lnTo>
                  <a:lnTo>
                    <a:pt x="99" y="209"/>
                  </a:lnTo>
                  <a:lnTo>
                    <a:pt x="90" y="209"/>
                  </a:lnTo>
                  <a:lnTo>
                    <a:pt x="79" y="219"/>
                  </a:lnTo>
                  <a:lnTo>
                    <a:pt x="70" y="219"/>
                  </a:lnTo>
                  <a:lnTo>
                    <a:pt x="40" y="238"/>
                  </a:lnTo>
                  <a:lnTo>
                    <a:pt x="20" y="238"/>
                  </a:lnTo>
                  <a:lnTo>
                    <a:pt x="10" y="238"/>
                  </a:lnTo>
                  <a:lnTo>
                    <a:pt x="0" y="248"/>
                  </a:lnTo>
                  <a:lnTo>
                    <a:pt x="10" y="228"/>
                  </a:lnTo>
                  <a:lnTo>
                    <a:pt x="10" y="209"/>
                  </a:lnTo>
                  <a:lnTo>
                    <a:pt x="10" y="209"/>
                  </a:lnTo>
                  <a:lnTo>
                    <a:pt x="10" y="199"/>
                  </a:lnTo>
                  <a:lnTo>
                    <a:pt x="10" y="199"/>
                  </a:lnTo>
                  <a:lnTo>
                    <a:pt x="20" y="139"/>
                  </a:lnTo>
                  <a:lnTo>
                    <a:pt x="30" y="139"/>
                  </a:lnTo>
                  <a:lnTo>
                    <a:pt x="40" y="139"/>
                  </a:lnTo>
                  <a:lnTo>
                    <a:pt x="40" y="129"/>
                  </a:lnTo>
                  <a:lnTo>
                    <a:pt x="40" y="89"/>
                  </a:lnTo>
                  <a:lnTo>
                    <a:pt x="40" y="79"/>
                  </a:lnTo>
                  <a:lnTo>
                    <a:pt x="40" y="79"/>
                  </a:lnTo>
                  <a:lnTo>
                    <a:pt x="50" y="79"/>
                  </a:lnTo>
                  <a:lnTo>
                    <a:pt x="50" y="69"/>
                  </a:lnTo>
                  <a:lnTo>
                    <a:pt x="60" y="69"/>
                  </a:lnTo>
                  <a:lnTo>
                    <a:pt x="60" y="69"/>
                  </a:lnTo>
                  <a:lnTo>
                    <a:pt x="60" y="79"/>
                  </a:lnTo>
                  <a:lnTo>
                    <a:pt x="60" y="79"/>
                  </a:lnTo>
                  <a:lnTo>
                    <a:pt x="70" y="69"/>
                  </a:lnTo>
                  <a:lnTo>
                    <a:pt x="79" y="79"/>
                  </a:lnTo>
                  <a:lnTo>
                    <a:pt x="79" y="79"/>
                  </a:lnTo>
                  <a:lnTo>
                    <a:pt x="90" y="79"/>
                  </a:lnTo>
                  <a:lnTo>
                    <a:pt x="90" y="79"/>
                  </a:lnTo>
                  <a:lnTo>
                    <a:pt x="90" y="79"/>
                  </a:lnTo>
                  <a:lnTo>
                    <a:pt x="99" y="79"/>
                  </a:lnTo>
                  <a:lnTo>
                    <a:pt x="99" y="79"/>
                  </a:lnTo>
                  <a:lnTo>
                    <a:pt x="99" y="89"/>
                  </a:lnTo>
                  <a:lnTo>
                    <a:pt x="109" y="99"/>
                  </a:lnTo>
                  <a:lnTo>
                    <a:pt x="109" y="99"/>
                  </a:lnTo>
                  <a:lnTo>
                    <a:pt x="119" y="89"/>
                  </a:lnTo>
                  <a:lnTo>
                    <a:pt x="119" y="99"/>
                  </a:lnTo>
                  <a:lnTo>
                    <a:pt x="119" y="99"/>
                  </a:lnTo>
                  <a:lnTo>
                    <a:pt x="109" y="119"/>
                  </a:lnTo>
                  <a:lnTo>
                    <a:pt x="109" y="119"/>
                  </a:lnTo>
                  <a:lnTo>
                    <a:pt x="119" y="119"/>
                  </a:lnTo>
                  <a:lnTo>
                    <a:pt x="119" y="119"/>
                  </a:lnTo>
                  <a:lnTo>
                    <a:pt x="129" y="109"/>
                  </a:lnTo>
                  <a:lnTo>
                    <a:pt x="139" y="109"/>
                  </a:lnTo>
                  <a:lnTo>
                    <a:pt x="139" y="99"/>
                  </a:lnTo>
                  <a:lnTo>
                    <a:pt x="139" y="89"/>
                  </a:lnTo>
                  <a:lnTo>
                    <a:pt x="149" y="89"/>
                  </a:lnTo>
                  <a:lnTo>
                    <a:pt x="149" y="8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0" name="Freeform 597">
              <a:extLst>
                <a:ext uri="{FF2B5EF4-FFF2-40B4-BE49-F238E27FC236}">
                  <a16:creationId xmlns:a16="http://schemas.microsoft.com/office/drawing/2014/main" id="{15DD02FE-7A4E-89D2-23D2-6FD5527C273A}"/>
                </a:ext>
              </a:extLst>
            </p:cNvPr>
            <p:cNvSpPr>
              <a:spLocks/>
            </p:cNvSpPr>
            <p:nvPr/>
          </p:nvSpPr>
          <p:spPr bwMode="auto">
            <a:xfrm>
              <a:off x="12515646" y="3743509"/>
              <a:ext cx="306376" cy="339920"/>
            </a:xfrm>
            <a:custGeom>
              <a:avLst/>
              <a:gdLst/>
              <a:ahLst/>
              <a:cxnLst>
                <a:cxn ang="0">
                  <a:pos x="40" y="219"/>
                </a:cxn>
                <a:cxn ang="0">
                  <a:pos x="40" y="189"/>
                </a:cxn>
                <a:cxn ang="0">
                  <a:pos x="40" y="179"/>
                </a:cxn>
                <a:cxn ang="0">
                  <a:pos x="40" y="149"/>
                </a:cxn>
                <a:cxn ang="0">
                  <a:pos x="10" y="149"/>
                </a:cxn>
                <a:cxn ang="0">
                  <a:pos x="20" y="129"/>
                </a:cxn>
                <a:cxn ang="0">
                  <a:pos x="10" y="110"/>
                </a:cxn>
                <a:cxn ang="0">
                  <a:pos x="20" y="100"/>
                </a:cxn>
                <a:cxn ang="0">
                  <a:pos x="10" y="80"/>
                </a:cxn>
                <a:cxn ang="0">
                  <a:pos x="0" y="70"/>
                </a:cxn>
                <a:cxn ang="0">
                  <a:pos x="20" y="60"/>
                </a:cxn>
                <a:cxn ang="0">
                  <a:pos x="0" y="60"/>
                </a:cxn>
                <a:cxn ang="0">
                  <a:pos x="0" y="30"/>
                </a:cxn>
                <a:cxn ang="0">
                  <a:pos x="0" y="20"/>
                </a:cxn>
                <a:cxn ang="0">
                  <a:pos x="0" y="10"/>
                </a:cxn>
                <a:cxn ang="0">
                  <a:pos x="10" y="0"/>
                </a:cxn>
                <a:cxn ang="0">
                  <a:pos x="40" y="10"/>
                </a:cxn>
                <a:cxn ang="0">
                  <a:pos x="49" y="20"/>
                </a:cxn>
                <a:cxn ang="0">
                  <a:pos x="59" y="40"/>
                </a:cxn>
                <a:cxn ang="0">
                  <a:pos x="59" y="40"/>
                </a:cxn>
                <a:cxn ang="0">
                  <a:pos x="99" y="40"/>
                </a:cxn>
                <a:cxn ang="0">
                  <a:pos x="109" y="30"/>
                </a:cxn>
                <a:cxn ang="0">
                  <a:pos x="119" y="10"/>
                </a:cxn>
                <a:cxn ang="0">
                  <a:pos x="129" y="10"/>
                </a:cxn>
                <a:cxn ang="0">
                  <a:pos x="159" y="0"/>
                </a:cxn>
                <a:cxn ang="0">
                  <a:pos x="178" y="20"/>
                </a:cxn>
                <a:cxn ang="0">
                  <a:pos x="189" y="40"/>
                </a:cxn>
                <a:cxn ang="0">
                  <a:pos x="208" y="40"/>
                </a:cxn>
                <a:cxn ang="0">
                  <a:pos x="198" y="50"/>
                </a:cxn>
                <a:cxn ang="0">
                  <a:pos x="198" y="50"/>
                </a:cxn>
                <a:cxn ang="0">
                  <a:pos x="208" y="60"/>
                </a:cxn>
                <a:cxn ang="0">
                  <a:pos x="228" y="70"/>
                </a:cxn>
                <a:cxn ang="0">
                  <a:pos x="159" y="80"/>
                </a:cxn>
                <a:cxn ang="0">
                  <a:pos x="159" y="90"/>
                </a:cxn>
                <a:cxn ang="0">
                  <a:pos x="149" y="110"/>
                </a:cxn>
                <a:cxn ang="0">
                  <a:pos x="159" y="129"/>
                </a:cxn>
                <a:cxn ang="0">
                  <a:pos x="149" y="159"/>
                </a:cxn>
                <a:cxn ang="0">
                  <a:pos x="139" y="159"/>
                </a:cxn>
                <a:cxn ang="0">
                  <a:pos x="129" y="169"/>
                </a:cxn>
                <a:cxn ang="0">
                  <a:pos x="119" y="169"/>
                </a:cxn>
                <a:cxn ang="0">
                  <a:pos x="109" y="169"/>
                </a:cxn>
                <a:cxn ang="0">
                  <a:pos x="119" y="189"/>
                </a:cxn>
                <a:cxn ang="0">
                  <a:pos x="129" y="199"/>
                </a:cxn>
                <a:cxn ang="0">
                  <a:pos x="119" y="219"/>
                </a:cxn>
                <a:cxn ang="0">
                  <a:pos x="119" y="229"/>
                </a:cxn>
                <a:cxn ang="0">
                  <a:pos x="109" y="249"/>
                </a:cxn>
                <a:cxn ang="0">
                  <a:pos x="79" y="259"/>
                </a:cxn>
                <a:cxn ang="0">
                  <a:pos x="79" y="259"/>
                </a:cxn>
                <a:cxn ang="0">
                  <a:pos x="69" y="259"/>
                </a:cxn>
                <a:cxn ang="0">
                  <a:pos x="59" y="249"/>
                </a:cxn>
                <a:cxn ang="0">
                  <a:pos x="49" y="259"/>
                </a:cxn>
                <a:cxn ang="0">
                  <a:pos x="29" y="239"/>
                </a:cxn>
              </a:cxnLst>
              <a:rect l="0" t="0" r="r" b="b"/>
              <a:pathLst>
                <a:path w="228" h="259">
                  <a:moveTo>
                    <a:pt x="29" y="239"/>
                  </a:moveTo>
                  <a:lnTo>
                    <a:pt x="40" y="219"/>
                  </a:lnTo>
                  <a:lnTo>
                    <a:pt x="40" y="199"/>
                  </a:lnTo>
                  <a:lnTo>
                    <a:pt x="40" y="189"/>
                  </a:lnTo>
                  <a:lnTo>
                    <a:pt x="40" y="189"/>
                  </a:lnTo>
                  <a:lnTo>
                    <a:pt x="40" y="179"/>
                  </a:lnTo>
                  <a:lnTo>
                    <a:pt x="40" y="159"/>
                  </a:lnTo>
                  <a:lnTo>
                    <a:pt x="40" y="149"/>
                  </a:lnTo>
                  <a:lnTo>
                    <a:pt x="10" y="149"/>
                  </a:lnTo>
                  <a:lnTo>
                    <a:pt x="10" y="149"/>
                  </a:lnTo>
                  <a:lnTo>
                    <a:pt x="10" y="129"/>
                  </a:lnTo>
                  <a:lnTo>
                    <a:pt x="20" y="129"/>
                  </a:lnTo>
                  <a:lnTo>
                    <a:pt x="10" y="120"/>
                  </a:lnTo>
                  <a:lnTo>
                    <a:pt x="10" y="110"/>
                  </a:lnTo>
                  <a:lnTo>
                    <a:pt x="10" y="100"/>
                  </a:lnTo>
                  <a:lnTo>
                    <a:pt x="20" y="100"/>
                  </a:lnTo>
                  <a:lnTo>
                    <a:pt x="10" y="90"/>
                  </a:lnTo>
                  <a:lnTo>
                    <a:pt x="10" y="80"/>
                  </a:lnTo>
                  <a:lnTo>
                    <a:pt x="0" y="80"/>
                  </a:lnTo>
                  <a:lnTo>
                    <a:pt x="0" y="70"/>
                  </a:lnTo>
                  <a:lnTo>
                    <a:pt x="20" y="70"/>
                  </a:lnTo>
                  <a:lnTo>
                    <a:pt x="20" y="60"/>
                  </a:lnTo>
                  <a:lnTo>
                    <a:pt x="20" y="60"/>
                  </a:lnTo>
                  <a:lnTo>
                    <a:pt x="0" y="60"/>
                  </a:lnTo>
                  <a:lnTo>
                    <a:pt x="0" y="50"/>
                  </a:lnTo>
                  <a:lnTo>
                    <a:pt x="0" y="30"/>
                  </a:lnTo>
                  <a:lnTo>
                    <a:pt x="10" y="30"/>
                  </a:lnTo>
                  <a:lnTo>
                    <a:pt x="0" y="20"/>
                  </a:lnTo>
                  <a:lnTo>
                    <a:pt x="0" y="20"/>
                  </a:lnTo>
                  <a:lnTo>
                    <a:pt x="0" y="10"/>
                  </a:lnTo>
                  <a:lnTo>
                    <a:pt x="0" y="10"/>
                  </a:lnTo>
                  <a:lnTo>
                    <a:pt x="10" y="0"/>
                  </a:lnTo>
                  <a:lnTo>
                    <a:pt x="40" y="10"/>
                  </a:lnTo>
                  <a:lnTo>
                    <a:pt x="40" y="10"/>
                  </a:lnTo>
                  <a:lnTo>
                    <a:pt x="40" y="20"/>
                  </a:lnTo>
                  <a:lnTo>
                    <a:pt x="49" y="20"/>
                  </a:lnTo>
                  <a:lnTo>
                    <a:pt x="49" y="30"/>
                  </a:lnTo>
                  <a:lnTo>
                    <a:pt x="59" y="40"/>
                  </a:lnTo>
                  <a:lnTo>
                    <a:pt x="59" y="40"/>
                  </a:lnTo>
                  <a:lnTo>
                    <a:pt x="59" y="40"/>
                  </a:lnTo>
                  <a:lnTo>
                    <a:pt x="69" y="40"/>
                  </a:lnTo>
                  <a:lnTo>
                    <a:pt x="99" y="40"/>
                  </a:lnTo>
                  <a:lnTo>
                    <a:pt x="109" y="40"/>
                  </a:lnTo>
                  <a:lnTo>
                    <a:pt x="109" y="30"/>
                  </a:lnTo>
                  <a:lnTo>
                    <a:pt x="119" y="20"/>
                  </a:lnTo>
                  <a:lnTo>
                    <a:pt x="119" y="10"/>
                  </a:lnTo>
                  <a:lnTo>
                    <a:pt x="119" y="10"/>
                  </a:lnTo>
                  <a:lnTo>
                    <a:pt x="129" y="10"/>
                  </a:lnTo>
                  <a:lnTo>
                    <a:pt x="129" y="0"/>
                  </a:lnTo>
                  <a:lnTo>
                    <a:pt x="159" y="0"/>
                  </a:lnTo>
                  <a:lnTo>
                    <a:pt x="159" y="30"/>
                  </a:lnTo>
                  <a:lnTo>
                    <a:pt x="178" y="20"/>
                  </a:lnTo>
                  <a:lnTo>
                    <a:pt x="189" y="20"/>
                  </a:lnTo>
                  <a:lnTo>
                    <a:pt x="189" y="40"/>
                  </a:lnTo>
                  <a:lnTo>
                    <a:pt x="198" y="40"/>
                  </a:lnTo>
                  <a:lnTo>
                    <a:pt x="208" y="40"/>
                  </a:lnTo>
                  <a:lnTo>
                    <a:pt x="208" y="50"/>
                  </a:lnTo>
                  <a:lnTo>
                    <a:pt x="198" y="50"/>
                  </a:lnTo>
                  <a:lnTo>
                    <a:pt x="198" y="50"/>
                  </a:lnTo>
                  <a:lnTo>
                    <a:pt x="198" y="50"/>
                  </a:lnTo>
                  <a:lnTo>
                    <a:pt x="208" y="60"/>
                  </a:lnTo>
                  <a:lnTo>
                    <a:pt x="208" y="60"/>
                  </a:lnTo>
                  <a:lnTo>
                    <a:pt x="218" y="60"/>
                  </a:lnTo>
                  <a:lnTo>
                    <a:pt x="228" y="70"/>
                  </a:lnTo>
                  <a:lnTo>
                    <a:pt x="208" y="70"/>
                  </a:lnTo>
                  <a:lnTo>
                    <a:pt x="159" y="80"/>
                  </a:lnTo>
                  <a:lnTo>
                    <a:pt x="159" y="80"/>
                  </a:lnTo>
                  <a:lnTo>
                    <a:pt x="159" y="90"/>
                  </a:lnTo>
                  <a:lnTo>
                    <a:pt x="169" y="100"/>
                  </a:lnTo>
                  <a:lnTo>
                    <a:pt x="149" y="110"/>
                  </a:lnTo>
                  <a:lnTo>
                    <a:pt x="159" y="120"/>
                  </a:lnTo>
                  <a:lnTo>
                    <a:pt x="159" y="129"/>
                  </a:lnTo>
                  <a:lnTo>
                    <a:pt x="169" y="149"/>
                  </a:lnTo>
                  <a:lnTo>
                    <a:pt x="149" y="159"/>
                  </a:lnTo>
                  <a:lnTo>
                    <a:pt x="139" y="159"/>
                  </a:lnTo>
                  <a:lnTo>
                    <a:pt x="139" y="159"/>
                  </a:lnTo>
                  <a:lnTo>
                    <a:pt x="139" y="159"/>
                  </a:lnTo>
                  <a:lnTo>
                    <a:pt x="129" y="169"/>
                  </a:lnTo>
                  <a:lnTo>
                    <a:pt x="129" y="169"/>
                  </a:lnTo>
                  <a:lnTo>
                    <a:pt x="119" y="169"/>
                  </a:lnTo>
                  <a:lnTo>
                    <a:pt x="119" y="169"/>
                  </a:lnTo>
                  <a:lnTo>
                    <a:pt x="109" y="169"/>
                  </a:lnTo>
                  <a:lnTo>
                    <a:pt x="119" y="179"/>
                  </a:lnTo>
                  <a:lnTo>
                    <a:pt x="119" y="189"/>
                  </a:lnTo>
                  <a:lnTo>
                    <a:pt x="129" y="189"/>
                  </a:lnTo>
                  <a:lnTo>
                    <a:pt x="129" y="199"/>
                  </a:lnTo>
                  <a:lnTo>
                    <a:pt x="119" y="209"/>
                  </a:lnTo>
                  <a:lnTo>
                    <a:pt x="119" y="219"/>
                  </a:lnTo>
                  <a:lnTo>
                    <a:pt x="119" y="229"/>
                  </a:lnTo>
                  <a:lnTo>
                    <a:pt x="119" y="229"/>
                  </a:lnTo>
                  <a:lnTo>
                    <a:pt x="109" y="229"/>
                  </a:lnTo>
                  <a:lnTo>
                    <a:pt x="109" y="249"/>
                  </a:lnTo>
                  <a:lnTo>
                    <a:pt x="99" y="259"/>
                  </a:lnTo>
                  <a:lnTo>
                    <a:pt x="79" y="259"/>
                  </a:lnTo>
                  <a:lnTo>
                    <a:pt x="79" y="259"/>
                  </a:lnTo>
                  <a:lnTo>
                    <a:pt x="79" y="259"/>
                  </a:lnTo>
                  <a:lnTo>
                    <a:pt x="79" y="259"/>
                  </a:lnTo>
                  <a:lnTo>
                    <a:pt x="69" y="259"/>
                  </a:lnTo>
                  <a:lnTo>
                    <a:pt x="69" y="259"/>
                  </a:lnTo>
                  <a:lnTo>
                    <a:pt x="59" y="249"/>
                  </a:lnTo>
                  <a:lnTo>
                    <a:pt x="49" y="249"/>
                  </a:lnTo>
                  <a:lnTo>
                    <a:pt x="49" y="259"/>
                  </a:lnTo>
                  <a:lnTo>
                    <a:pt x="29" y="259"/>
                  </a:lnTo>
                  <a:lnTo>
                    <a:pt x="29" y="23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91" name="Freeform 598">
              <a:extLst>
                <a:ext uri="{FF2B5EF4-FFF2-40B4-BE49-F238E27FC236}">
                  <a16:creationId xmlns:a16="http://schemas.microsoft.com/office/drawing/2014/main" id="{FC1F254B-9439-45CE-A57C-10C9FA6807E7}"/>
                </a:ext>
              </a:extLst>
            </p:cNvPr>
            <p:cNvSpPr>
              <a:spLocks/>
            </p:cNvSpPr>
            <p:nvPr/>
          </p:nvSpPr>
          <p:spPr bwMode="auto">
            <a:xfrm>
              <a:off x="12488771" y="3600454"/>
              <a:ext cx="213657" cy="195552"/>
            </a:xfrm>
            <a:custGeom>
              <a:avLst/>
              <a:gdLst/>
              <a:ahLst/>
              <a:cxnLst>
                <a:cxn ang="0">
                  <a:pos x="20" y="0"/>
                </a:cxn>
                <a:cxn ang="0">
                  <a:pos x="49" y="0"/>
                </a:cxn>
                <a:cxn ang="0">
                  <a:pos x="60" y="0"/>
                </a:cxn>
                <a:cxn ang="0">
                  <a:pos x="69" y="10"/>
                </a:cxn>
                <a:cxn ang="0">
                  <a:pos x="109" y="30"/>
                </a:cxn>
                <a:cxn ang="0">
                  <a:pos x="119" y="30"/>
                </a:cxn>
                <a:cxn ang="0">
                  <a:pos x="119" y="30"/>
                </a:cxn>
                <a:cxn ang="0">
                  <a:pos x="119" y="40"/>
                </a:cxn>
                <a:cxn ang="0">
                  <a:pos x="119" y="40"/>
                </a:cxn>
                <a:cxn ang="0">
                  <a:pos x="119" y="40"/>
                </a:cxn>
                <a:cxn ang="0">
                  <a:pos x="129" y="40"/>
                </a:cxn>
                <a:cxn ang="0">
                  <a:pos x="149" y="40"/>
                </a:cxn>
                <a:cxn ang="0">
                  <a:pos x="159" y="40"/>
                </a:cxn>
                <a:cxn ang="0">
                  <a:pos x="149" y="50"/>
                </a:cxn>
                <a:cxn ang="0">
                  <a:pos x="149" y="70"/>
                </a:cxn>
                <a:cxn ang="0">
                  <a:pos x="149" y="80"/>
                </a:cxn>
                <a:cxn ang="0">
                  <a:pos x="149" y="89"/>
                </a:cxn>
                <a:cxn ang="0">
                  <a:pos x="149" y="99"/>
                </a:cxn>
                <a:cxn ang="0">
                  <a:pos x="149" y="99"/>
                </a:cxn>
                <a:cxn ang="0">
                  <a:pos x="149" y="109"/>
                </a:cxn>
                <a:cxn ang="0">
                  <a:pos x="149" y="109"/>
                </a:cxn>
                <a:cxn ang="0">
                  <a:pos x="149" y="119"/>
                </a:cxn>
                <a:cxn ang="0">
                  <a:pos x="139" y="119"/>
                </a:cxn>
                <a:cxn ang="0">
                  <a:pos x="139" y="119"/>
                </a:cxn>
                <a:cxn ang="0">
                  <a:pos x="139" y="129"/>
                </a:cxn>
                <a:cxn ang="0">
                  <a:pos x="129" y="139"/>
                </a:cxn>
                <a:cxn ang="0">
                  <a:pos x="129" y="149"/>
                </a:cxn>
                <a:cxn ang="0">
                  <a:pos x="119" y="149"/>
                </a:cxn>
                <a:cxn ang="0">
                  <a:pos x="89" y="149"/>
                </a:cxn>
                <a:cxn ang="0">
                  <a:pos x="79" y="149"/>
                </a:cxn>
                <a:cxn ang="0">
                  <a:pos x="79" y="149"/>
                </a:cxn>
                <a:cxn ang="0">
                  <a:pos x="79" y="149"/>
                </a:cxn>
                <a:cxn ang="0">
                  <a:pos x="69" y="139"/>
                </a:cxn>
                <a:cxn ang="0">
                  <a:pos x="69" y="129"/>
                </a:cxn>
                <a:cxn ang="0">
                  <a:pos x="60" y="129"/>
                </a:cxn>
                <a:cxn ang="0">
                  <a:pos x="60" y="119"/>
                </a:cxn>
                <a:cxn ang="0">
                  <a:pos x="60" y="119"/>
                </a:cxn>
                <a:cxn ang="0">
                  <a:pos x="30" y="109"/>
                </a:cxn>
                <a:cxn ang="0">
                  <a:pos x="20" y="99"/>
                </a:cxn>
                <a:cxn ang="0">
                  <a:pos x="20" y="99"/>
                </a:cxn>
                <a:cxn ang="0">
                  <a:pos x="20" y="89"/>
                </a:cxn>
                <a:cxn ang="0">
                  <a:pos x="20" y="70"/>
                </a:cxn>
                <a:cxn ang="0">
                  <a:pos x="20" y="60"/>
                </a:cxn>
                <a:cxn ang="0">
                  <a:pos x="10" y="50"/>
                </a:cxn>
                <a:cxn ang="0">
                  <a:pos x="0" y="40"/>
                </a:cxn>
                <a:cxn ang="0">
                  <a:pos x="10" y="30"/>
                </a:cxn>
                <a:cxn ang="0">
                  <a:pos x="10" y="10"/>
                </a:cxn>
                <a:cxn ang="0">
                  <a:pos x="10" y="10"/>
                </a:cxn>
                <a:cxn ang="0">
                  <a:pos x="20" y="0"/>
                </a:cxn>
                <a:cxn ang="0">
                  <a:pos x="20" y="0"/>
                </a:cxn>
                <a:cxn ang="0">
                  <a:pos x="20" y="0"/>
                </a:cxn>
              </a:cxnLst>
              <a:rect l="0" t="0" r="r" b="b"/>
              <a:pathLst>
                <a:path w="159" h="149">
                  <a:moveTo>
                    <a:pt x="20" y="0"/>
                  </a:moveTo>
                  <a:lnTo>
                    <a:pt x="49" y="0"/>
                  </a:lnTo>
                  <a:lnTo>
                    <a:pt x="60" y="0"/>
                  </a:lnTo>
                  <a:lnTo>
                    <a:pt x="69" y="10"/>
                  </a:lnTo>
                  <a:lnTo>
                    <a:pt x="109" y="30"/>
                  </a:lnTo>
                  <a:lnTo>
                    <a:pt x="119" y="30"/>
                  </a:lnTo>
                  <a:lnTo>
                    <a:pt x="119" y="30"/>
                  </a:lnTo>
                  <a:lnTo>
                    <a:pt x="119" y="40"/>
                  </a:lnTo>
                  <a:lnTo>
                    <a:pt x="119" y="40"/>
                  </a:lnTo>
                  <a:lnTo>
                    <a:pt x="119" y="40"/>
                  </a:lnTo>
                  <a:lnTo>
                    <a:pt x="129" y="40"/>
                  </a:lnTo>
                  <a:lnTo>
                    <a:pt x="149" y="40"/>
                  </a:lnTo>
                  <a:lnTo>
                    <a:pt x="159" y="40"/>
                  </a:lnTo>
                  <a:lnTo>
                    <a:pt x="149" y="50"/>
                  </a:lnTo>
                  <a:lnTo>
                    <a:pt x="149" y="70"/>
                  </a:lnTo>
                  <a:lnTo>
                    <a:pt x="149" y="80"/>
                  </a:lnTo>
                  <a:lnTo>
                    <a:pt x="149" y="89"/>
                  </a:lnTo>
                  <a:lnTo>
                    <a:pt x="149" y="99"/>
                  </a:lnTo>
                  <a:lnTo>
                    <a:pt x="149" y="99"/>
                  </a:lnTo>
                  <a:lnTo>
                    <a:pt x="149" y="109"/>
                  </a:lnTo>
                  <a:lnTo>
                    <a:pt x="149" y="109"/>
                  </a:lnTo>
                  <a:lnTo>
                    <a:pt x="149" y="119"/>
                  </a:lnTo>
                  <a:lnTo>
                    <a:pt x="139" y="119"/>
                  </a:lnTo>
                  <a:lnTo>
                    <a:pt x="139" y="119"/>
                  </a:lnTo>
                  <a:lnTo>
                    <a:pt x="139" y="129"/>
                  </a:lnTo>
                  <a:lnTo>
                    <a:pt x="129" y="139"/>
                  </a:lnTo>
                  <a:lnTo>
                    <a:pt x="129" y="149"/>
                  </a:lnTo>
                  <a:lnTo>
                    <a:pt x="119" y="149"/>
                  </a:lnTo>
                  <a:lnTo>
                    <a:pt x="89" y="149"/>
                  </a:lnTo>
                  <a:lnTo>
                    <a:pt x="79" y="149"/>
                  </a:lnTo>
                  <a:lnTo>
                    <a:pt x="79" y="149"/>
                  </a:lnTo>
                  <a:lnTo>
                    <a:pt x="79" y="149"/>
                  </a:lnTo>
                  <a:lnTo>
                    <a:pt x="69" y="139"/>
                  </a:lnTo>
                  <a:lnTo>
                    <a:pt x="69" y="129"/>
                  </a:lnTo>
                  <a:lnTo>
                    <a:pt x="60" y="129"/>
                  </a:lnTo>
                  <a:lnTo>
                    <a:pt x="60" y="119"/>
                  </a:lnTo>
                  <a:lnTo>
                    <a:pt x="60" y="119"/>
                  </a:lnTo>
                  <a:lnTo>
                    <a:pt x="30" y="109"/>
                  </a:lnTo>
                  <a:lnTo>
                    <a:pt x="20" y="99"/>
                  </a:lnTo>
                  <a:lnTo>
                    <a:pt x="20" y="99"/>
                  </a:lnTo>
                  <a:lnTo>
                    <a:pt x="20" y="89"/>
                  </a:lnTo>
                  <a:lnTo>
                    <a:pt x="20" y="70"/>
                  </a:lnTo>
                  <a:lnTo>
                    <a:pt x="20" y="60"/>
                  </a:lnTo>
                  <a:lnTo>
                    <a:pt x="10" y="50"/>
                  </a:lnTo>
                  <a:lnTo>
                    <a:pt x="0" y="40"/>
                  </a:lnTo>
                  <a:lnTo>
                    <a:pt x="10" y="30"/>
                  </a:lnTo>
                  <a:lnTo>
                    <a:pt x="10" y="10"/>
                  </a:lnTo>
                  <a:lnTo>
                    <a:pt x="10" y="10"/>
                  </a:lnTo>
                  <a:lnTo>
                    <a:pt x="20" y="0"/>
                  </a:lnTo>
                  <a:lnTo>
                    <a:pt x="20" y="0"/>
                  </a:lnTo>
                  <a:lnTo>
                    <a:pt x="2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2" name="Freeform 599">
              <a:extLst>
                <a:ext uri="{FF2B5EF4-FFF2-40B4-BE49-F238E27FC236}">
                  <a16:creationId xmlns:a16="http://schemas.microsoft.com/office/drawing/2014/main" id="{478B0CB5-12E9-EDBE-9C64-5CA2A203D00F}"/>
                </a:ext>
              </a:extLst>
            </p:cNvPr>
            <p:cNvSpPr>
              <a:spLocks/>
            </p:cNvSpPr>
            <p:nvPr/>
          </p:nvSpPr>
          <p:spPr bwMode="auto">
            <a:xfrm>
              <a:off x="12369177" y="4696334"/>
              <a:ext cx="412533" cy="286110"/>
            </a:xfrm>
            <a:custGeom>
              <a:avLst/>
              <a:gdLst/>
              <a:ahLst/>
              <a:cxnLst>
                <a:cxn ang="0">
                  <a:pos x="59" y="129"/>
                </a:cxn>
                <a:cxn ang="0">
                  <a:pos x="49" y="129"/>
                </a:cxn>
                <a:cxn ang="0">
                  <a:pos x="29" y="129"/>
                </a:cxn>
                <a:cxn ang="0">
                  <a:pos x="9" y="129"/>
                </a:cxn>
                <a:cxn ang="0">
                  <a:pos x="9" y="109"/>
                </a:cxn>
                <a:cxn ang="0">
                  <a:pos x="0" y="99"/>
                </a:cxn>
                <a:cxn ang="0">
                  <a:pos x="0" y="89"/>
                </a:cxn>
                <a:cxn ang="0">
                  <a:pos x="0" y="69"/>
                </a:cxn>
                <a:cxn ang="0">
                  <a:pos x="9" y="49"/>
                </a:cxn>
                <a:cxn ang="0">
                  <a:pos x="9" y="39"/>
                </a:cxn>
                <a:cxn ang="0">
                  <a:pos x="39" y="29"/>
                </a:cxn>
                <a:cxn ang="0">
                  <a:pos x="59" y="19"/>
                </a:cxn>
                <a:cxn ang="0">
                  <a:pos x="69" y="10"/>
                </a:cxn>
                <a:cxn ang="0">
                  <a:pos x="109" y="19"/>
                </a:cxn>
                <a:cxn ang="0">
                  <a:pos x="149" y="39"/>
                </a:cxn>
                <a:cxn ang="0">
                  <a:pos x="258" y="0"/>
                </a:cxn>
                <a:cxn ang="0">
                  <a:pos x="287" y="19"/>
                </a:cxn>
                <a:cxn ang="0">
                  <a:pos x="307" y="29"/>
                </a:cxn>
                <a:cxn ang="0">
                  <a:pos x="287" y="59"/>
                </a:cxn>
                <a:cxn ang="0">
                  <a:pos x="278" y="69"/>
                </a:cxn>
                <a:cxn ang="0">
                  <a:pos x="268" y="89"/>
                </a:cxn>
                <a:cxn ang="0">
                  <a:pos x="248" y="129"/>
                </a:cxn>
                <a:cxn ang="0">
                  <a:pos x="248" y="139"/>
                </a:cxn>
                <a:cxn ang="0">
                  <a:pos x="238" y="168"/>
                </a:cxn>
                <a:cxn ang="0">
                  <a:pos x="228" y="178"/>
                </a:cxn>
                <a:cxn ang="0">
                  <a:pos x="218" y="188"/>
                </a:cxn>
                <a:cxn ang="0">
                  <a:pos x="188" y="218"/>
                </a:cxn>
                <a:cxn ang="0">
                  <a:pos x="178" y="188"/>
                </a:cxn>
                <a:cxn ang="0">
                  <a:pos x="129" y="139"/>
                </a:cxn>
                <a:cxn ang="0">
                  <a:pos x="109" y="149"/>
                </a:cxn>
                <a:cxn ang="0">
                  <a:pos x="89" y="139"/>
                </a:cxn>
                <a:cxn ang="0">
                  <a:pos x="89" y="129"/>
                </a:cxn>
                <a:cxn ang="0">
                  <a:pos x="79" y="139"/>
                </a:cxn>
                <a:cxn ang="0">
                  <a:pos x="79" y="139"/>
                </a:cxn>
                <a:cxn ang="0">
                  <a:pos x="69" y="129"/>
                </a:cxn>
              </a:cxnLst>
              <a:rect l="0" t="0" r="r" b="b"/>
              <a:pathLst>
                <a:path w="307" h="218">
                  <a:moveTo>
                    <a:pt x="69" y="129"/>
                  </a:moveTo>
                  <a:lnTo>
                    <a:pt x="59" y="129"/>
                  </a:lnTo>
                  <a:lnTo>
                    <a:pt x="49" y="129"/>
                  </a:lnTo>
                  <a:lnTo>
                    <a:pt x="49" y="129"/>
                  </a:lnTo>
                  <a:lnTo>
                    <a:pt x="29" y="129"/>
                  </a:lnTo>
                  <a:lnTo>
                    <a:pt x="29" y="129"/>
                  </a:lnTo>
                  <a:lnTo>
                    <a:pt x="19" y="129"/>
                  </a:lnTo>
                  <a:lnTo>
                    <a:pt x="9" y="129"/>
                  </a:lnTo>
                  <a:lnTo>
                    <a:pt x="9" y="109"/>
                  </a:lnTo>
                  <a:lnTo>
                    <a:pt x="9" y="109"/>
                  </a:lnTo>
                  <a:lnTo>
                    <a:pt x="9" y="109"/>
                  </a:lnTo>
                  <a:lnTo>
                    <a:pt x="0" y="99"/>
                  </a:lnTo>
                  <a:lnTo>
                    <a:pt x="0" y="99"/>
                  </a:lnTo>
                  <a:lnTo>
                    <a:pt x="0" y="89"/>
                  </a:lnTo>
                  <a:lnTo>
                    <a:pt x="0" y="79"/>
                  </a:lnTo>
                  <a:lnTo>
                    <a:pt x="0" y="69"/>
                  </a:lnTo>
                  <a:lnTo>
                    <a:pt x="0" y="59"/>
                  </a:lnTo>
                  <a:lnTo>
                    <a:pt x="9" y="49"/>
                  </a:lnTo>
                  <a:lnTo>
                    <a:pt x="9" y="39"/>
                  </a:lnTo>
                  <a:lnTo>
                    <a:pt x="9" y="39"/>
                  </a:lnTo>
                  <a:lnTo>
                    <a:pt x="19" y="39"/>
                  </a:lnTo>
                  <a:lnTo>
                    <a:pt x="39" y="29"/>
                  </a:lnTo>
                  <a:lnTo>
                    <a:pt x="49" y="19"/>
                  </a:lnTo>
                  <a:lnTo>
                    <a:pt x="59" y="19"/>
                  </a:lnTo>
                  <a:lnTo>
                    <a:pt x="69" y="19"/>
                  </a:lnTo>
                  <a:lnTo>
                    <a:pt x="69" y="10"/>
                  </a:lnTo>
                  <a:lnTo>
                    <a:pt x="69" y="10"/>
                  </a:lnTo>
                  <a:lnTo>
                    <a:pt x="109" y="19"/>
                  </a:lnTo>
                  <a:lnTo>
                    <a:pt x="138" y="29"/>
                  </a:lnTo>
                  <a:lnTo>
                    <a:pt x="149" y="39"/>
                  </a:lnTo>
                  <a:lnTo>
                    <a:pt x="198" y="19"/>
                  </a:lnTo>
                  <a:lnTo>
                    <a:pt x="258" y="0"/>
                  </a:lnTo>
                  <a:lnTo>
                    <a:pt x="268" y="10"/>
                  </a:lnTo>
                  <a:lnTo>
                    <a:pt x="287" y="19"/>
                  </a:lnTo>
                  <a:lnTo>
                    <a:pt x="307" y="29"/>
                  </a:lnTo>
                  <a:lnTo>
                    <a:pt x="307" y="29"/>
                  </a:lnTo>
                  <a:lnTo>
                    <a:pt x="298" y="39"/>
                  </a:lnTo>
                  <a:lnTo>
                    <a:pt x="287" y="59"/>
                  </a:lnTo>
                  <a:lnTo>
                    <a:pt x="278" y="69"/>
                  </a:lnTo>
                  <a:lnTo>
                    <a:pt x="278" y="69"/>
                  </a:lnTo>
                  <a:lnTo>
                    <a:pt x="278" y="79"/>
                  </a:lnTo>
                  <a:lnTo>
                    <a:pt x="268" y="89"/>
                  </a:lnTo>
                  <a:lnTo>
                    <a:pt x="258" y="109"/>
                  </a:lnTo>
                  <a:lnTo>
                    <a:pt x="248" y="129"/>
                  </a:lnTo>
                  <a:lnTo>
                    <a:pt x="248" y="129"/>
                  </a:lnTo>
                  <a:lnTo>
                    <a:pt x="248" y="139"/>
                  </a:lnTo>
                  <a:lnTo>
                    <a:pt x="238" y="159"/>
                  </a:lnTo>
                  <a:lnTo>
                    <a:pt x="238" y="168"/>
                  </a:lnTo>
                  <a:lnTo>
                    <a:pt x="228" y="178"/>
                  </a:lnTo>
                  <a:lnTo>
                    <a:pt x="228" y="178"/>
                  </a:lnTo>
                  <a:lnTo>
                    <a:pt x="228" y="188"/>
                  </a:lnTo>
                  <a:lnTo>
                    <a:pt x="218" y="188"/>
                  </a:lnTo>
                  <a:lnTo>
                    <a:pt x="198" y="208"/>
                  </a:lnTo>
                  <a:lnTo>
                    <a:pt x="188" y="218"/>
                  </a:lnTo>
                  <a:lnTo>
                    <a:pt x="188" y="208"/>
                  </a:lnTo>
                  <a:lnTo>
                    <a:pt x="178" y="188"/>
                  </a:lnTo>
                  <a:lnTo>
                    <a:pt x="138" y="139"/>
                  </a:lnTo>
                  <a:lnTo>
                    <a:pt x="129" y="139"/>
                  </a:lnTo>
                  <a:lnTo>
                    <a:pt x="99" y="129"/>
                  </a:lnTo>
                  <a:lnTo>
                    <a:pt x="109" y="149"/>
                  </a:lnTo>
                  <a:lnTo>
                    <a:pt x="109" y="149"/>
                  </a:lnTo>
                  <a:lnTo>
                    <a:pt x="89" y="139"/>
                  </a:lnTo>
                  <a:lnTo>
                    <a:pt x="89" y="139"/>
                  </a:lnTo>
                  <a:lnTo>
                    <a:pt x="89" y="129"/>
                  </a:lnTo>
                  <a:lnTo>
                    <a:pt x="89" y="129"/>
                  </a:lnTo>
                  <a:lnTo>
                    <a:pt x="79" y="139"/>
                  </a:lnTo>
                  <a:lnTo>
                    <a:pt x="79" y="149"/>
                  </a:lnTo>
                  <a:lnTo>
                    <a:pt x="79" y="139"/>
                  </a:lnTo>
                  <a:lnTo>
                    <a:pt x="69" y="139"/>
                  </a:lnTo>
                  <a:lnTo>
                    <a:pt x="69" y="129"/>
                  </a:lnTo>
                  <a:lnTo>
                    <a:pt x="69" y="1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3" name="Freeform 600">
              <a:extLst>
                <a:ext uri="{FF2B5EF4-FFF2-40B4-BE49-F238E27FC236}">
                  <a16:creationId xmlns:a16="http://schemas.microsoft.com/office/drawing/2014/main" id="{DF1BA459-89B4-5CA9-AE79-155C4DDB53F4}"/>
                </a:ext>
              </a:extLst>
            </p:cNvPr>
            <p:cNvSpPr>
              <a:spLocks/>
            </p:cNvSpPr>
            <p:nvPr/>
          </p:nvSpPr>
          <p:spPr bwMode="auto">
            <a:xfrm>
              <a:off x="12288552" y="3705448"/>
              <a:ext cx="253970" cy="259861"/>
            </a:xfrm>
            <a:custGeom>
              <a:avLst/>
              <a:gdLst/>
              <a:ahLst/>
              <a:cxnLst>
                <a:cxn ang="0">
                  <a:pos x="10" y="129"/>
                </a:cxn>
                <a:cxn ang="0">
                  <a:pos x="0" y="109"/>
                </a:cxn>
                <a:cxn ang="0">
                  <a:pos x="20" y="89"/>
                </a:cxn>
                <a:cxn ang="0">
                  <a:pos x="10" y="89"/>
                </a:cxn>
                <a:cxn ang="0">
                  <a:pos x="10" y="79"/>
                </a:cxn>
                <a:cxn ang="0">
                  <a:pos x="10" y="69"/>
                </a:cxn>
                <a:cxn ang="0">
                  <a:pos x="10" y="49"/>
                </a:cxn>
                <a:cxn ang="0">
                  <a:pos x="40" y="39"/>
                </a:cxn>
                <a:cxn ang="0">
                  <a:pos x="20" y="19"/>
                </a:cxn>
                <a:cxn ang="0">
                  <a:pos x="20" y="0"/>
                </a:cxn>
                <a:cxn ang="0">
                  <a:pos x="40" y="9"/>
                </a:cxn>
                <a:cxn ang="0">
                  <a:pos x="69" y="19"/>
                </a:cxn>
                <a:cxn ang="0">
                  <a:pos x="79" y="19"/>
                </a:cxn>
                <a:cxn ang="0">
                  <a:pos x="89" y="29"/>
                </a:cxn>
                <a:cxn ang="0">
                  <a:pos x="109" y="39"/>
                </a:cxn>
                <a:cxn ang="0">
                  <a:pos x="119" y="29"/>
                </a:cxn>
                <a:cxn ang="0">
                  <a:pos x="139" y="29"/>
                </a:cxn>
                <a:cxn ang="0">
                  <a:pos x="169" y="19"/>
                </a:cxn>
                <a:cxn ang="0">
                  <a:pos x="169" y="39"/>
                </a:cxn>
                <a:cxn ang="0">
                  <a:pos x="169" y="49"/>
                </a:cxn>
                <a:cxn ang="0">
                  <a:pos x="179" y="59"/>
                </a:cxn>
                <a:cxn ang="0">
                  <a:pos x="169" y="79"/>
                </a:cxn>
                <a:cxn ang="0">
                  <a:pos x="189" y="89"/>
                </a:cxn>
                <a:cxn ang="0">
                  <a:pos x="189" y="99"/>
                </a:cxn>
                <a:cxn ang="0">
                  <a:pos x="169" y="109"/>
                </a:cxn>
                <a:cxn ang="0">
                  <a:pos x="179" y="119"/>
                </a:cxn>
                <a:cxn ang="0">
                  <a:pos x="179" y="129"/>
                </a:cxn>
                <a:cxn ang="0">
                  <a:pos x="179" y="149"/>
                </a:cxn>
                <a:cxn ang="0">
                  <a:pos x="179" y="158"/>
                </a:cxn>
                <a:cxn ang="0">
                  <a:pos x="169" y="188"/>
                </a:cxn>
                <a:cxn ang="0">
                  <a:pos x="149" y="188"/>
                </a:cxn>
                <a:cxn ang="0">
                  <a:pos x="139" y="178"/>
                </a:cxn>
                <a:cxn ang="0">
                  <a:pos x="129" y="178"/>
                </a:cxn>
                <a:cxn ang="0">
                  <a:pos x="129" y="168"/>
                </a:cxn>
                <a:cxn ang="0">
                  <a:pos x="109" y="158"/>
                </a:cxn>
                <a:cxn ang="0">
                  <a:pos x="99" y="168"/>
                </a:cxn>
                <a:cxn ang="0">
                  <a:pos x="89" y="178"/>
                </a:cxn>
                <a:cxn ang="0">
                  <a:pos x="79" y="188"/>
                </a:cxn>
                <a:cxn ang="0">
                  <a:pos x="60" y="188"/>
                </a:cxn>
                <a:cxn ang="0">
                  <a:pos x="40" y="188"/>
                </a:cxn>
                <a:cxn ang="0">
                  <a:pos x="20" y="178"/>
                </a:cxn>
                <a:cxn ang="0">
                  <a:pos x="30" y="178"/>
                </a:cxn>
                <a:cxn ang="0">
                  <a:pos x="10" y="158"/>
                </a:cxn>
                <a:cxn ang="0">
                  <a:pos x="10" y="149"/>
                </a:cxn>
                <a:cxn ang="0">
                  <a:pos x="20" y="139"/>
                </a:cxn>
              </a:cxnLst>
              <a:rect l="0" t="0" r="r" b="b"/>
              <a:pathLst>
                <a:path w="189" h="198">
                  <a:moveTo>
                    <a:pt x="10" y="139"/>
                  </a:moveTo>
                  <a:lnTo>
                    <a:pt x="10" y="129"/>
                  </a:lnTo>
                  <a:lnTo>
                    <a:pt x="10" y="129"/>
                  </a:lnTo>
                  <a:lnTo>
                    <a:pt x="0" y="109"/>
                  </a:lnTo>
                  <a:lnTo>
                    <a:pt x="30" y="109"/>
                  </a:lnTo>
                  <a:lnTo>
                    <a:pt x="20" y="89"/>
                  </a:lnTo>
                  <a:lnTo>
                    <a:pt x="10" y="89"/>
                  </a:lnTo>
                  <a:lnTo>
                    <a:pt x="10" y="89"/>
                  </a:lnTo>
                  <a:lnTo>
                    <a:pt x="10" y="79"/>
                  </a:lnTo>
                  <a:lnTo>
                    <a:pt x="10" y="79"/>
                  </a:lnTo>
                  <a:lnTo>
                    <a:pt x="10" y="79"/>
                  </a:lnTo>
                  <a:lnTo>
                    <a:pt x="10" y="69"/>
                  </a:lnTo>
                  <a:lnTo>
                    <a:pt x="0" y="59"/>
                  </a:lnTo>
                  <a:lnTo>
                    <a:pt x="10" y="49"/>
                  </a:lnTo>
                  <a:lnTo>
                    <a:pt x="20" y="49"/>
                  </a:lnTo>
                  <a:lnTo>
                    <a:pt x="40" y="39"/>
                  </a:lnTo>
                  <a:lnTo>
                    <a:pt x="30" y="39"/>
                  </a:lnTo>
                  <a:lnTo>
                    <a:pt x="20" y="19"/>
                  </a:lnTo>
                  <a:lnTo>
                    <a:pt x="20" y="9"/>
                  </a:lnTo>
                  <a:lnTo>
                    <a:pt x="20" y="0"/>
                  </a:lnTo>
                  <a:lnTo>
                    <a:pt x="40" y="9"/>
                  </a:lnTo>
                  <a:lnTo>
                    <a:pt x="40" y="9"/>
                  </a:lnTo>
                  <a:lnTo>
                    <a:pt x="50" y="9"/>
                  </a:lnTo>
                  <a:lnTo>
                    <a:pt x="69" y="19"/>
                  </a:lnTo>
                  <a:lnTo>
                    <a:pt x="69" y="19"/>
                  </a:lnTo>
                  <a:lnTo>
                    <a:pt x="79" y="19"/>
                  </a:lnTo>
                  <a:lnTo>
                    <a:pt x="79" y="29"/>
                  </a:lnTo>
                  <a:lnTo>
                    <a:pt x="89" y="29"/>
                  </a:lnTo>
                  <a:lnTo>
                    <a:pt x="99" y="29"/>
                  </a:lnTo>
                  <a:lnTo>
                    <a:pt x="109" y="39"/>
                  </a:lnTo>
                  <a:lnTo>
                    <a:pt x="109" y="19"/>
                  </a:lnTo>
                  <a:lnTo>
                    <a:pt x="119" y="29"/>
                  </a:lnTo>
                  <a:lnTo>
                    <a:pt x="139" y="29"/>
                  </a:lnTo>
                  <a:lnTo>
                    <a:pt x="139" y="29"/>
                  </a:lnTo>
                  <a:lnTo>
                    <a:pt x="159" y="19"/>
                  </a:lnTo>
                  <a:lnTo>
                    <a:pt x="169" y="19"/>
                  </a:lnTo>
                  <a:lnTo>
                    <a:pt x="179" y="29"/>
                  </a:lnTo>
                  <a:lnTo>
                    <a:pt x="169" y="39"/>
                  </a:lnTo>
                  <a:lnTo>
                    <a:pt x="169" y="39"/>
                  </a:lnTo>
                  <a:lnTo>
                    <a:pt x="169" y="49"/>
                  </a:lnTo>
                  <a:lnTo>
                    <a:pt x="169" y="49"/>
                  </a:lnTo>
                  <a:lnTo>
                    <a:pt x="179" y="59"/>
                  </a:lnTo>
                  <a:lnTo>
                    <a:pt x="169" y="59"/>
                  </a:lnTo>
                  <a:lnTo>
                    <a:pt x="169" y="79"/>
                  </a:lnTo>
                  <a:lnTo>
                    <a:pt x="169" y="89"/>
                  </a:lnTo>
                  <a:lnTo>
                    <a:pt x="189" y="89"/>
                  </a:lnTo>
                  <a:lnTo>
                    <a:pt x="189" y="89"/>
                  </a:lnTo>
                  <a:lnTo>
                    <a:pt x="189" y="99"/>
                  </a:lnTo>
                  <a:lnTo>
                    <a:pt x="169" y="99"/>
                  </a:lnTo>
                  <a:lnTo>
                    <a:pt x="169" y="109"/>
                  </a:lnTo>
                  <a:lnTo>
                    <a:pt x="179" y="109"/>
                  </a:lnTo>
                  <a:lnTo>
                    <a:pt x="179" y="119"/>
                  </a:lnTo>
                  <a:lnTo>
                    <a:pt x="189" y="129"/>
                  </a:lnTo>
                  <a:lnTo>
                    <a:pt x="179" y="129"/>
                  </a:lnTo>
                  <a:lnTo>
                    <a:pt x="179" y="139"/>
                  </a:lnTo>
                  <a:lnTo>
                    <a:pt x="179" y="149"/>
                  </a:lnTo>
                  <a:lnTo>
                    <a:pt x="189" y="158"/>
                  </a:lnTo>
                  <a:lnTo>
                    <a:pt x="179" y="158"/>
                  </a:lnTo>
                  <a:lnTo>
                    <a:pt x="179" y="178"/>
                  </a:lnTo>
                  <a:lnTo>
                    <a:pt x="169" y="188"/>
                  </a:lnTo>
                  <a:lnTo>
                    <a:pt x="159" y="198"/>
                  </a:lnTo>
                  <a:lnTo>
                    <a:pt x="149" y="188"/>
                  </a:lnTo>
                  <a:lnTo>
                    <a:pt x="149" y="178"/>
                  </a:lnTo>
                  <a:lnTo>
                    <a:pt x="139" y="178"/>
                  </a:lnTo>
                  <a:lnTo>
                    <a:pt x="139" y="178"/>
                  </a:lnTo>
                  <a:lnTo>
                    <a:pt x="129" y="178"/>
                  </a:lnTo>
                  <a:lnTo>
                    <a:pt x="129" y="178"/>
                  </a:lnTo>
                  <a:lnTo>
                    <a:pt x="129" y="168"/>
                  </a:lnTo>
                  <a:lnTo>
                    <a:pt x="119" y="168"/>
                  </a:lnTo>
                  <a:lnTo>
                    <a:pt x="109" y="158"/>
                  </a:lnTo>
                  <a:lnTo>
                    <a:pt x="99" y="168"/>
                  </a:lnTo>
                  <a:lnTo>
                    <a:pt x="99" y="168"/>
                  </a:lnTo>
                  <a:lnTo>
                    <a:pt x="89" y="178"/>
                  </a:lnTo>
                  <a:lnTo>
                    <a:pt x="89" y="178"/>
                  </a:lnTo>
                  <a:lnTo>
                    <a:pt x="79" y="178"/>
                  </a:lnTo>
                  <a:lnTo>
                    <a:pt x="79" y="188"/>
                  </a:lnTo>
                  <a:lnTo>
                    <a:pt x="69" y="198"/>
                  </a:lnTo>
                  <a:lnTo>
                    <a:pt x="60" y="188"/>
                  </a:lnTo>
                  <a:lnTo>
                    <a:pt x="50" y="188"/>
                  </a:lnTo>
                  <a:lnTo>
                    <a:pt x="40" y="188"/>
                  </a:lnTo>
                  <a:lnTo>
                    <a:pt x="30" y="188"/>
                  </a:lnTo>
                  <a:lnTo>
                    <a:pt x="20" y="178"/>
                  </a:lnTo>
                  <a:lnTo>
                    <a:pt x="20" y="178"/>
                  </a:lnTo>
                  <a:lnTo>
                    <a:pt x="30" y="178"/>
                  </a:lnTo>
                  <a:lnTo>
                    <a:pt x="10" y="168"/>
                  </a:lnTo>
                  <a:lnTo>
                    <a:pt x="10" y="158"/>
                  </a:lnTo>
                  <a:lnTo>
                    <a:pt x="0" y="158"/>
                  </a:lnTo>
                  <a:lnTo>
                    <a:pt x="10" y="149"/>
                  </a:lnTo>
                  <a:lnTo>
                    <a:pt x="20" y="139"/>
                  </a:lnTo>
                  <a:lnTo>
                    <a:pt x="20" y="139"/>
                  </a:lnTo>
                  <a:lnTo>
                    <a:pt x="10" y="13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4" name="Freeform 601">
              <a:extLst>
                <a:ext uri="{FF2B5EF4-FFF2-40B4-BE49-F238E27FC236}">
                  <a16:creationId xmlns:a16="http://schemas.microsoft.com/office/drawing/2014/main" id="{32107C65-785B-25CC-4416-53D58373D76F}"/>
                </a:ext>
              </a:extLst>
            </p:cNvPr>
            <p:cNvSpPr>
              <a:spLocks/>
            </p:cNvSpPr>
            <p:nvPr/>
          </p:nvSpPr>
          <p:spPr bwMode="auto">
            <a:xfrm>
              <a:off x="13129742" y="4213359"/>
              <a:ext cx="600658" cy="469850"/>
            </a:xfrm>
            <a:custGeom>
              <a:avLst/>
              <a:gdLst/>
              <a:ahLst/>
              <a:cxnLst>
                <a:cxn ang="0">
                  <a:pos x="218" y="50"/>
                </a:cxn>
                <a:cxn ang="0">
                  <a:pos x="218" y="50"/>
                </a:cxn>
                <a:cxn ang="0">
                  <a:pos x="238" y="40"/>
                </a:cxn>
                <a:cxn ang="0">
                  <a:pos x="248" y="30"/>
                </a:cxn>
                <a:cxn ang="0">
                  <a:pos x="248" y="30"/>
                </a:cxn>
                <a:cxn ang="0">
                  <a:pos x="248" y="20"/>
                </a:cxn>
                <a:cxn ang="0">
                  <a:pos x="278" y="10"/>
                </a:cxn>
                <a:cxn ang="0">
                  <a:pos x="317" y="0"/>
                </a:cxn>
                <a:cxn ang="0">
                  <a:pos x="347" y="0"/>
                </a:cxn>
                <a:cxn ang="0">
                  <a:pos x="367" y="10"/>
                </a:cxn>
                <a:cxn ang="0">
                  <a:pos x="357" y="40"/>
                </a:cxn>
                <a:cxn ang="0">
                  <a:pos x="357" y="69"/>
                </a:cxn>
                <a:cxn ang="0">
                  <a:pos x="357" y="80"/>
                </a:cxn>
                <a:cxn ang="0">
                  <a:pos x="377" y="109"/>
                </a:cxn>
                <a:cxn ang="0">
                  <a:pos x="417" y="169"/>
                </a:cxn>
                <a:cxn ang="0">
                  <a:pos x="427" y="189"/>
                </a:cxn>
                <a:cxn ang="0">
                  <a:pos x="437" y="209"/>
                </a:cxn>
                <a:cxn ang="0">
                  <a:pos x="447" y="218"/>
                </a:cxn>
                <a:cxn ang="0">
                  <a:pos x="417" y="268"/>
                </a:cxn>
                <a:cxn ang="0">
                  <a:pos x="417" y="278"/>
                </a:cxn>
                <a:cxn ang="0">
                  <a:pos x="407" y="288"/>
                </a:cxn>
                <a:cxn ang="0">
                  <a:pos x="397" y="298"/>
                </a:cxn>
                <a:cxn ang="0">
                  <a:pos x="367" y="328"/>
                </a:cxn>
                <a:cxn ang="0">
                  <a:pos x="327" y="358"/>
                </a:cxn>
                <a:cxn ang="0">
                  <a:pos x="288" y="318"/>
                </a:cxn>
                <a:cxn ang="0">
                  <a:pos x="258" y="318"/>
                </a:cxn>
                <a:cxn ang="0">
                  <a:pos x="228" y="308"/>
                </a:cxn>
                <a:cxn ang="0">
                  <a:pos x="208" y="318"/>
                </a:cxn>
                <a:cxn ang="0">
                  <a:pos x="168" y="318"/>
                </a:cxn>
                <a:cxn ang="0">
                  <a:pos x="159" y="298"/>
                </a:cxn>
                <a:cxn ang="0">
                  <a:pos x="149" y="288"/>
                </a:cxn>
                <a:cxn ang="0">
                  <a:pos x="159" y="288"/>
                </a:cxn>
                <a:cxn ang="0">
                  <a:pos x="149" y="278"/>
                </a:cxn>
                <a:cxn ang="0">
                  <a:pos x="139" y="288"/>
                </a:cxn>
                <a:cxn ang="0">
                  <a:pos x="129" y="298"/>
                </a:cxn>
                <a:cxn ang="0">
                  <a:pos x="109" y="298"/>
                </a:cxn>
                <a:cxn ang="0">
                  <a:pos x="99" y="308"/>
                </a:cxn>
                <a:cxn ang="0">
                  <a:pos x="79" y="318"/>
                </a:cxn>
                <a:cxn ang="0">
                  <a:pos x="69" y="318"/>
                </a:cxn>
                <a:cxn ang="0">
                  <a:pos x="59" y="328"/>
                </a:cxn>
                <a:cxn ang="0">
                  <a:pos x="39" y="338"/>
                </a:cxn>
                <a:cxn ang="0">
                  <a:pos x="39" y="348"/>
                </a:cxn>
                <a:cxn ang="0">
                  <a:pos x="30" y="338"/>
                </a:cxn>
                <a:cxn ang="0">
                  <a:pos x="19" y="318"/>
                </a:cxn>
                <a:cxn ang="0">
                  <a:pos x="0" y="298"/>
                </a:cxn>
                <a:cxn ang="0">
                  <a:pos x="0" y="298"/>
                </a:cxn>
                <a:cxn ang="0">
                  <a:pos x="10" y="288"/>
                </a:cxn>
                <a:cxn ang="0">
                  <a:pos x="39" y="268"/>
                </a:cxn>
                <a:cxn ang="0">
                  <a:pos x="59" y="258"/>
                </a:cxn>
                <a:cxn ang="0">
                  <a:pos x="79" y="229"/>
                </a:cxn>
                <a:cxn ang="0">
                  <a:pos x="79" y="229"/>
                </a:cxn>
                <a:cxn ang="0">
                  <a:pos x="89" y="218"/>
                </a:cxn>
                <a:cxn ang="0">
                  <a:pos x="99" y="209"/>
                </a:cxn>
                <a:cxn ang="0">
                  <a:pos x="119" y="199"/>
                </a:cxn>
                <a:cxn ang="0">
                  <a:pos x="149" y="189"/>
                </a:cxn>
                <a:cxn ang="0">
                  <a:pos x="149" y="179"/>
                </a:cxn>
                <a:cxn ang="0">
                  <a:pos x="149" y="179"/>
                </a:cxn>
                <a:cxn ang="0">
                  <a:pos x="159" y="80"/>
                </a:cxn>
                <a:cxn ang="0">
                  <a:pos x="168" y="80"/>
                </a:cxn>
                <a:cxn ang="0">
                  <a:pos x="178" y="69"/>
                </a:cxn>
                <a:cxn ang="0">
                  <a:pos x="188" y="69"/>
                </a:cxn>
                <a:cxn ang="0">
                  <a:pos x="218" y="50"/>
                </a:cxn>
              </a:cxnLst>
              <a:rect l="0" t="0" r="r" b="b"/>
              <a:pathLst>
                <a:path w="447" h="358">
                  <a:moveTo>
                    <a:pt x="218" y="50"/>
                  </a:moveTo>
                  <a:lnTo>
                    <a:pt x="218" y="50"/>
                  </a:lnTo>
                  <a:lnTo>
                    <a:pt x="238" y="40"/>
                  </a:lnTo>
                  <a:lnTo>
                    <a:pt x="248" y="30"/>
                  </a:lnTo>
                  <a:lnTo>
                    <a:pt x="248" y="30"/>
                  </a:lnTo>
                  <a:lnTo>
                    <a:pt x="248" y="20"/>
                  </a:lnTo>
                  <a:lnTo>
                    <a:pt x="278" y="10"/>
                  </a:lnTo>
                  <a:lnTo>
                    <a:pt x="317" y="0"/>
                  </a:lnTo>
                  <a:lnTo>
                    <a:pt x="347" y="0"/>
                  </a:lnTo>
                  <a:lnTo>
                    <a:pt x="367" y="10"/>
                  </a:lnTo>
                  <a:lnTo>
                    <a:pt x="357" y="40"/>
                  </a:lnTo>
                  <a:lnTo>
                    <a:pt x="357" y="69"/>
                  </a:lnTo>
                  <a:lnTo>
                    <a:pt x="357" y="80"/>
                  </a:lnTo>
                  <a:lnTo>
                    <a:pt x="377" y="109"/>
                  </a:lnTo>
                  <a:lnTo>
                    <a:pt x="417" y="169"/>
                  </a:lnTo>
                  <a:lnTo>
                    <a:pt x="427" y="189"/>
                  </a:lnTo>
                  <a:lnTo>
                    <a:pt x="437" y="209"/>
                  </a:lnTo>
                  <a:lnTo>
                    <a:pt x="447" y="218"/>
                  </a:lnTo>
                  <a:lnTo>
                    <a:pt x="417" y="268"/>
                  </a:lnTo>
                  <a:lnTo>
                    <a:pt x="417" y="278"/>
                  </a:lnTo>
                  <a:lnTo>
                    <a:pt x="407" y="288"/>
                  </a:lnTo>
                  <a:lnTo>
                    <a:pt x="397" y="298"/>
                  </a:lnTo>
                  <a:lnTo>
                    <a:pt x="367" y="328"/>
                  </a:lnTo>
                  <a:lnTo>
                    <a:pt x="327" y="358"/>
                  </a:lnTo>
                  <a:lnTo>
                    <a:pt x="288" y="318"/>
                  </a:lnTo>
                  <a:lnTo>
                    <a:pt x="258" y="318"/>
                  </a:lnTo>
                  <a:lnTo>
                    <a:pt x="228" y="308"/>
                  </a:lnTo>
                  <a:lnTo>
                    <a:pt x="208" y="318"/>
                  </a:lnTo>
                  <a:lnTo>
                    <a:pt x="168" y="318"/>
                  </a:lnTo>
                  <a:lnTo>
                    <a:pt x="159" y="298"/>
                  </a:lnTo>
                  <a:lnTo>
                    <a:pt x="149" y="288"/>
                  </a:lnTo>
                  <a:lnTo>
                    <a:pt x="159" y="288"/>
                  </a:lnTo>
                  <a:lnTo>
                    <a:pt x="149" y="278"/>
                  </a:lnTo>
                  <a:lnTo>
                    <a:pt x="139" y="288"/>
                  </a:lnTo>
                  <a:lnTo>
                    <a:pt x="129" y="298"/>
                  </a:lnTo>
                  <a:lnTo>
                    <a:pt x="109" y="298"/>
                  </a:lnTo>
                  <a:lnTo>
                    <a:pt x="99" y="308"/>
                  </a:lnTo>
                  <a:lnTo>
                    <a:pt x="79" y="318"/>
                  </a:lnTo>
                  <a:lnTo>
                    <a:pt x="69" y="318"/>
                  </a:lnTo>
                  <a:lnTo>
                    <a:pt x="59" y="328"/>
                  </a:lnTo>
                  <a:lnTo>
                    <a:pt x="39" y="338"/>
                  </a:lnTo>
                  <a:lnTo>
                    <a:pt x="39" y="348"/>
                  </a:lnTo>
                  <a:lnTo>
                    <a:pt x="30" y="338"/>
                  </a:lnTo>
                  <a:lnTo>
                    <a:pt x="19" y="318"/>
                  </a:lnTo>
                  <a:lnTo>
                    <a:pt x="0" y="298"/>
                  </a:lnTo>
                  <a:lnTo>
                    <a:pt x="0" y="298"/>
                  </a:lnTo>
                  <a:lnTo>
                    <a:pt x="10" y="288"/>
                  </a:lnTo>
                  <a:lnTo>
                    <a:pt x="39" y="268"/>
                  </a:lnTo>
                  <a:lnTo>
                    <a:pt x="59" y="258"/>
                  </a:lnTo>
                  <a:lnTo>
                    <a:pt x="79" y="229"/>
                  </a:lnTo>
                  <a:lnTo>
                    <a:pt x="79" y="229"/>
                  </a:lnTo>
                  <a:lnTo>
                    <a:pt x="89" y="218"/>
                  </a:lnTo>
                  <a:lnTo>
                    <a:pt x="99" y="209"/>
                  </a:lnTo>
                  <a:lnTo>
                    <a:pt x="119" y="199"/>
                  </a:lnTo>
                  <a:lnTo>
                    <a:pt x="149" y="189"/>
                  </a:lnTo>
                  <a:lnTo>
                    <a:pt x="149" y="179"/>
                  </a:lnTo>
                  <a:lnTo>
                    <a:pt x="149" y="179"/>
                  </a:lnTo>
                  <a:lnTo>
                    <a:pt x="159" y="80"/>
                  </a:lnTo>
                  <a:lnTo>
                    <a:pt x="168" y="80"/>
                  </a:lnTo>
                  <a:lnTo>
                    <a:pt x="178" y="69"/>
                  </a:lnTo>
                  <a:lnTo>
                    <a:pt x="188" y="69"/>
                  </a:lnTo>
                  <a:lnTo>
                    <a:pt x="218" y="5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5" name="Freeform 602">
              <a:extLst>
                <a:ext uri="{FF2B5EF4-FFF2-40B4-BE49-F238E27FC236}">
                  <a16:creationId xmlns:a16="http://schemas.microsoft.com/office/drawing/2014/main" id="{C6EBE443-77AF-64B2-2E3A-872C63677559}"/>
                </a:ext>
              </a:extLst>
            </p:cNvPr>
            <p:cNvSpPr>
              <a:spLocks/>
            </p:cNvSpPr>
            <p:nvPr/>
          </p:nvSpPr>
          <p:spPr bwMode="auto">
            <a:xfrm>
              <a:off x="12862335" y="4057180"/>
              <a:ext cx="693378" cy="468538"/>
            </a:xfrm>
            <a:custGeom>
              <a:avLst/>
              <a:gdLst/>
              <a:ahLst/>
              <a:cxnLst>
                <a:cxn ang="0">
                  <a:pos x="179" y="129"/>
                </a:cxn>
                <a:cxn ang="0">
                  <a:pos x="199" y="129"/>
                </a:cxn>
                <a:cxn ang="0">
                  <a:pos x="199" y="129"/>
                </a:cxn>
                <a:cxn ang="0">
                  <a:pos x="229" y="99"/>
                </a:cxn>
                <a:cxn ang="0">
                  <a:pos x="248" y="69"/>
                </a:cxn>
                <a:cxn ang="0">
                  <a:pos x="258" y="59"/>
                </a:cxn>
                <a:cxn ang="0">
                  <a:pos x="268" y="50"/>
                </a:cxn>
                <a:cxn ang="0">
                  <a:pos x="298" y="20"/>
                </a:cxn>
                <a:cxn ang="0">
                  <a:pos x="338" y="10"/>
                </a:cxn>
                <a:cxn ang="0">
                  <a:pos x="348" y="30"/>
                </a:cxn>
                <a:cxn ang="0">
                  <a:pos x="358" y="30"/>
                </a:cxn>
                <a:cxn ang="0">
                  <a:pos x="397" y="30"/>
                </a:cxn>
                <a:cxn ang="0">
                  <a:pos x="427" y="30"/>
                </a:cxn>
                <a:cxn ang="0">
                  <a:pos x="457" y="50"/>
                </a:cxn>
                <a:cxn ang="0">
                  <a:pos x="467" y="59"/>
                </a:cxn>
                <a:cxn ang="0">
                  <a:pos x="497" y="79"/>
                </a:cxn>
                <a:cxn ang="0">
                  <a:pos x="516" y="119"/>
                </a:cxn>
                <a:cxn ang="0">
                  <a:pos x="447" y="139"/>
                </a:cxn>
                <a:cxn ang="0">
                  <a:pos x="447" y="149"/>
                </a:cxn>
                <a:cxn ang="0">
                  <a:pos x="417" y="169"/>
                </a:cxn>
                <a:cxn ang="0">
                  <a:pos x="387" y="188"/>
                </a:cxn>
                <a:cxn ang="0">
                  <a:pos x="367" y="199"/>
                </a:cxn>
                <a:cxn ang="0">
                  <a:pos x="348" y="199"/>
                </a:cxn>
                <a:cxn ang="0">
                  <a:pos x="328" y="218"/>
                </a:cxn>
                <a:cxn ang="0">
                  <a:pos x="308" y="238"/>
                </a:cxn>
                <a:cxn ang="0">
                  <a:pos x="288" y="238"/>
                </a:cxn>
                <a:cxn ang="0">
                  <a:pos x="258" y="258"/>
                </a:cxn>
                <a:cxn ang="0">
                  <a:pos x="258" y="258"/>
                </a:cxn>
                <a:cxn ang="0">
                  <a:pos x="238" y="278"/>
                </a:cxn>
                <a:cxn ang="0">
                  <a:pos x="218" y="298"/>
                </a:cxn>
                <a:cxn ang="0">
                  <a:pos x="218" y="308"/>
                </a:cxn>
                <a:cxn ang="0">
                  <a:pos x="199" y="318"/>
                </a:cxn>
                <a:cxn ang="0">
                  <a:pos x="179" y="337"/>
                </a:cxn>
                <a:cxn ang="0">
                  <a:pos x="149" y="348"/>
                </a:cxn>
                <a:cxn ang="0">
                  <a:pos x="119" y="357"/>
                </a:cxn>
                <a:cxn ang="0">
                  <a:pos x="40" y="337"/>
                </a:cxn>
                <a:cxn ang="0">
                  <a:pos x="40" y="328"/>
                </a:cxn>
                <a:cxn ang="0">
                  <a:pos x="60" y="298"/>
                </a:cxn>
                <a:cxn ang="0">
                  <a:pos x="60" y="298"/>
                </a:cxn>
                <a:cxn ang="0">
                  <a:pos x="60" y="288"/>
                </a:cxn>
                <a:cxn ang="0">
                  <a:pos x="50" y="258"/>
                </a:cxn>
                <a:cxn ang="0">
                  <a:pos x="60" y="248"/>
                </a:cxn>
                <a:cxn ang="0">
                  <a:pos x="69" y="228"/>
                </a:cxn>
                <a:cxn ang="0">
                  <a:pos x="60" y="218"/>
                </a:cxn>
                <a:cxn ang="0">
                  <a:pos x="20" y="199"/>
                </a:cxn>
                <a:cxn ang="0">
                  <a:pos x="10" y="188"/>
                </a:cxn>
                <a:cxn ang="0">
                  <a:pos x="20" y="179"/>
                </a:cxn>
                <a:cxn ang="0">
                  <a:pos x="30" y="169"/>
                </a:cxn>
                <a:cxn ang="0">
                  <a:pos x="20" y="169"/>
                </a:cxn>
                <a:cxn ang="0">
                  <a:pos x="20" y="139"/>
                </a:cxn>
                <a:cxn ang="0">
                  <a:pos x="10" y="139"/>
                </a:cxn>
                <a:cxn ang="0">
                  <a:pos x="0" y="129"/>
                </a:cxn>
                <a:cxn ang="0">
                  <a:pos x="0" y="109"/>
                </a:cxn>
                <a:cxn ang="0">
                  <a:pos x="0" y="109"/>
                </a:cxn>
                <a:cxn ang="0">
                  <a:pos x="69" y="119"/>
                </a:cxn>
                <a:cxn ang="0">
                  <a:pos x="89" y="109"/>
                </a:cxn>
                <a:cxn ang="0">
                  <a:pos x="119" y="119"/>
                </a:cxn>
                <a:cxn ang="0">
                  <a:pos x="149" y="119"/>
                </a:cxn>
              </a:cxnLst>
              <a:rect l="0" t="0" r="r" b="b"/>
              <a:pathLst>
                <a:path w="516" h="357">
                  <a:moveTo>
                    <a:pt x="149" y="119"/>
                  </a:moveTo>
                  <a:lnTo>
                    <a:pt x="179" y="129"/>
                  </a:lnTo>
                  <a:lnTo>
                    <a:pt x="189" y="129"/>
                  </a:lnTo>
                  <a:lnTo>
                    <a:pt x="199" y="129"/>
                  </a:lnTo>
                  <a:lnTo>
                    <a:pt x="199" y="129"/>
                  </a:lnTo>
                  <a:lnTo>
                    <a:pt x="199" y="129"/>
                  </a:lnTo>
                  <a:lnTo>
                    <a:pt x="229" y="109"/>
                  </a:lnTo>
                  <a:lnTo>
                    <a:pt x="229" y="99"/>
                  </a:lnTo>
                  <a:lnTo>
                    <a:pt x="238" y="99"/>
                  </a:lnTo>
                  <a:lnTo>
                    <a:pt x="248" y="69"/>
                  </a:lnTo>
                  <a:lnTo>
                    <a:pt x="248" y="59"/>
                  </a:lnTo>
                  <a:lnTo>
                    <a:pt x="258" y="59"/>
                  </a:lnTo>
                  <a:lnTo>
                    <a:pt x="258" y="59"/>
                  </a:lnTo>
                  <a:lnTo>
                    <a:pt x="268" y="50"/>
                  </a:lnTo>
                  <a:lnTo>
                    <a:pt x="278" y="39"/>
                  </a:lnTo>
                  <a:lnTo>
                    <a:pt x="298" y="20"/>
                  </a:lnTo>
                  <a:lnTo>
                    <a:pt x="328" y="0"/>
                  </a:lnTo>
                  <a:lnTo>
                    <a:pt x="338" y="10"/>
                  </a:lnTo>
                  <a:lnTo>
                    <a:pt x="348" y="30"/>
                  </a:lnTo>
                  <a:lnTo>
                    <a:pt x="348" y="30"/>
                  </a:lnTo>
                  <a:lnTo>
                    <a:pt x="358" y="30"/>
                  </a:lnTo>
                  <a:lnTo>
                    <a:pt x="358" y="30"/>
                  </a:lnTo>
                  <a:lnTo>
                    <a:pt x="377" y="30"/>
                  </a:lnTo>
                  <a:lnTo>
                    <a:pt x="397" y="30"/>
                  </a:lnTo>
                  <a:lnTo>
                    <a:pt x="417" y="30"/>
                  </a:lnTo>
                  <a:lnTo>
                    <a:pt x="427" y="30"/>
                  </a:lnTo>
                  <a:lnTo>
                    <a:pt x="437" y="39"/>
                  </a:lnTo>
                  <a:lnTo>
                    <a:pt x="457" y="50"/>
                  </a:lnTo>
                  <a:lnTo>
                    <a:pt x="467" y="59"/>
                  </a:lnTo>
                  <a:lnTo>
                    <a:pt x="467" y="59"/>
                  </a:lnTo>
                  <a:lnTo>
                    <a:pt x="467" y="69"/>
                  </a:lnTo>
                  <a:lnTo>
                    <a:pt x="497" y="79"/>
                  </a:lnTo>
                  <a:lnTo>
                    <a:pt x="487" y="99"/>
                  </a:lnTo>
                  <a:lnTo>
                    <a:pt x="516" y="119"/>
                  </a:lnTo>
                  <a:lnTo>
                    <a:pt x="477" y="129"/>
                  </a:lnTo>
                  <a:lnTo>
                    <a:pt x="447" y="139"/>
                  </a:lnTo>
                  <a:lnTo>
                    <a:pt x="447" y="149"/>
                  </a:lnTo>
                  <a:lnTo>
                    <a:pt x="447" y="149"/>
                  </a:lnTo>
                  <a:lnTo>
                    <a:pt x="437" y="159"/>
                  </a:lnTo>
                  <a:lnTo>
                    <a:pt x="417" y="169"/>
                  </a:lnTo>
                  <a:lnTo>
                    <a:pt x="417" y="169"/>
                  </a:lnTo>
                  <a:lnTo>
                    <a:pt x="387" y="188"/>
                  </a:lnTo>
                  <a:lnTo>
                    <a:pt x="377" y="188"/>
                  </a:lnTo>
                  <a:lnTo>
                    <a:pt x="367" y="199"/>
                  </a:lnTo>
                  <a:lnTo>
                    <a:pt x="358" y="199"/>
                  </a:lnTo>
                  <a:lnTo>
                    <a:pt x="348" y="199"/>
                  </a:lnTo>
                  <a:lnTo>
                    <a:pt x="348" y="208"/>
                  </a:lnTo>
                  <a:lnTo>
                    <a:pt x="328" y="218"/>
                  </a:lnTo>
                  <a:lnTo>
                    <a:pt x="318" y="228"/>
                  </a:lnTo>
                  <a:lnTo>
                    <a:pt x="308" y="238"/>
                  </a:lnTo>
                  <a:lnTo>
                    <a:pt x="298" y="238"/>
                  </a:lnTo>
                  <a:lnTo>
                    <a:pt x="288" y="238"/>
                  </a:lnTo>
                  <a:lnTo>
                    <a:pt x="268" y="248"/>
                  </a:lnTo>
                  <a:lnTo>
                    <a:pt x="258" y="258"/>
                  </a:lnTo>
                  <a:lnTo>
                    <a:pt x="258" y="258"/>
                  </a:lnTo>
                  <a:lnTo>
                    <a:pt x="258" y="258"/>
                  </a:lnTo>
                  <a:lnTo>
                    <a:pt x="248" y="268"/>
                  </a:lnTo>
                  <a:lnTo>
                    <a:pt x="238" y="278"/>
                  </a:lnTo>
                  <a:lnTo>
                    <a:pt x="229" y="278"/>
                  </a:lnTo>
                  <a:lnTo>
                    <a:pt x="218" y="298"/>
                  </a:lnTo>
                  <a:lnTo>
                    <a:pt x="218" y="298"/>
                  </a:lnTo>
                  <a:lnTo>
                    <a:pt x="218" y="308"/>
                  </a:lnTo>
                  <a:lnTo>
                    <a:pt x="209" y="318"/>
                  </a:lnTo>
                  <a:lnTo>
                    <a:pt x="199" y="318"/>
                  </a:lnTo>
                  <a:lnTo>
                    <a:pt x="199" y="318"/>
                  </a:lnTo>
                  <a:lnTo>
                    <a:pt x="179" y="337"/>
                  </a:lnTo>
                  <a:lnTo>
                    <a:pt x="169" y="337"/>
                  </a:lnTo>
                  <a:lnTo>
                    <a:pt x="149" y="348"/>
                  </a:lnTo>
                  <a:lnTo>
                    <a:pt x="129" y="357"/>
                  </a:lnTo>
                  <a:lnTo>
                    <a:pt x="119" y="357"/>
                  </a:lnTo>
                  <a:lnTo>
                    <a:pt x="109" y="348"/>
                  </a:lnTo>
                  <a:lnTo>
                    <a:pt x="40" y="337"/>
                  </a:lnTo>
                  <a:lnTo>
                    <a:pt x="40" y="337"/>
                  </a:lnTo>
                  <a:lnTo>
                    <a:pt x="40" y="328"/>
                  </a:lnTo>
                  <a:lnTo>
                    <a:pt x="40" y="318"/>
                  </a:lnTo>
                  <a:lnTo>
                    <a:pt x="60" y="298"/>
                  </a:lnTo>
                  <a:lnTo>
                    <a:pt x="60" y="298"/>
                  </a:lnTo>
                  <a:lnTo>
                    <a:pt x="60" y="298"/>
                  </a:lnTo>
                  <a:lnTo>
                    <a:pt x="60" y="288"/>
                  </a:lnTo>
                  <a:lnTo>
                    <a:pt x="60" y="288"/>
                  </a:lnTo>
                  <a:lnTo>
                    <a:pt x="60" y="278"/>
                  </a:lnTo>
                  <a:lnTo>
                    <a:pt x="50" y="258"/>
                  </a:lnTo>
                  <a:lnTo>
                    <a:pt x="60" y="258"/>
                  </a:lnTo>
                  <a:lnTo>
                    <a:pt x="60" y="248"/>
                  </a:lnTo>
                  <a:lnTo>
                    <a:pt x="69" y="228"/>
                  </a:lnTo>
                  <a:lnTo>
                    <a:pt x="69" y="228"/>
                  </a:lnTo>
                  <a:lnTo>
                    <a:pt x="60" y="218"/>
                  </a:lnTo>
                  <a:lnTo>
                    <a:pt x="60" y="218"/>
                  </a:lnTo>
                  <a:lnTo>
                    <a:pt x="30" y="199"/>
                  </a:lnTo>
                  <a:lnTo>
                    <a:pt x="20" y="199"/>
                  </a:lnTo>
                  <a:lnTo>
                    <a:pt x="20" y="188"/>
                  </a:lnTo>
                  <a:lnTo>
                    <a:pt x="10" y="188"/>
                  </a:lnTo>
                  <a:lnTo>
                    <a:pt x="10" y="188"/>
                  </a:lnTo>
                  <a:lnTo>
                    <a:pt x="20" y="179"/>
                  </a:lnTo>
                  <a:lnTo>
                    <a:pt x="30" y="169"/>
                  </a:lnTo>
                  <a:lnTo>
                    <a:pt x="30" y="169"/>
                  </a:lnTo>
                  <a:lnTo>
                    <a:pt x="30" y="169"/>
                  </a:lnTo>
                  <a:lnTo>
                    <a:pt x="20" y="169"/>
                  </a:lnTo>
                  <a:lnTo>
                    <a:pt x="20" y="149"/>
                  </a:lnTo>
                  <a:lnTo>
                    <a:pt x="20" y="139"/>
                  </a:lnTo>
                  <a:lnTo>
                    <a:pt x="10" y="149"/>
                  </a:lnTo>
                  <a:lnTo>
                    <a:pt x="10" y="139"/>
                  </a:lnTo>
                  <a:lnTo>
                    <a:pt x="0" y="129"/>
                  </a:lnTo>
                  <a:lnTo>
                    <a:pt x="0" y="129"/>
                  </a:lnTo>
                  <a:lnTo>
                    <a:pt x="10" y="119"/>
                  </a:lnTo>
                  <a:lnTo>
                    <a:pt x="0" y="109"/>
                  </a:lnTo>
                  <a:lnTo>
                    <a:pt x="0" y="109"/>
                  </a:lnTo>
                  <a:lnTo>
                    <a:pt x="0" y="109"/>
                  </a:lnTo>
                  <a:lnTo>
                    <a:pt x="0" y="109"/>
                  </a:lnTo>
                  <a:lnTo>
                    <a:pt x="69" y="119"/>
                  </a:lnTo>
                  <a:lnTo>
                    <a:pt x="69" y="109"/>
                  </a:lnTo>
                  <a:lnTo>
                    <a:pt x="89" y="109"/>
                  </a:lnTo>
                  <a:lnTo>
                    <a:pt x="119" y="119"/>
                  </a:lnTo>
                  <a:lnTo>
                    <a:pt x="119" y="119"/>
                  </a:lnTo>
                  <a:lnTo>
                    <a:pt x="129" y="119"/>
                  </a:lnTo>
                  <a:lnTo>
                    <a:pt x="149" y="11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96" name="Freeform 603">
              <a:extLst>
                <a:ext uri="{FF2B5EF4-FFF2-40B4-BE49-F238E27FC236}">
                  <a16:creationId xmlns:a16="http://schemas.microsoft.com/office/drawing/2014/main" id="{9EE76A0D-C4F4-2119-0747-18D766190A4F}"/>
                </a:ext>
              </a:extLst>
            </p:cNvPr>
            <p:cNvSpPr>
              <a:spLocks/>
            </p:cNvSpPr>
            <p:nvPr/>
          </p:nvSpPr>
          <p:spPr bwMode="auto">
            <a:xfrm>
              <a:off x="13182149" y="2974424"/>
              <a:ext cx="387001" cy="182428"/>
            </a:xfrm>
            <a:custGeom>
              <a:avLst/>
              <a:gdLst/>
              <a:ahLst/>
              <a:cxnLst>
                <a:cxn ang="0">
                  <a:pos x="288" y="10"/>
                </a:cxn>
                <a:cxn ang="0">
                  <a:pos x="288" y="30"/>
                </a:cxn>
                <a:cxn ang="0">
                  <a:pos x="278" y="30"/>
                </a:cxn>
                <a:cxn ang="0">
                  <a:pos x="269" y="30"/>
                </a:cxn>
                <a:cxn ang="0">
                  <a:pos x="259" y="30"/>
                </a:cxn>
                <a:cxn ang="0">
                  <a:pos x="249" y="30"/>
                </a:cxn>
                <a:cxn ang="0">
                  <a:pos x="229" y="40"/>
                </a:cxn>
                <a:cxn ang="0">
                  <a:pos x="229" y="40"/>
                </a:cxn>
                <a:cxn ang="0">
                  <a:pos x="199" y="50"/>
                </a:cxn>
                <a:cxn ang="0">
                  <a:pos x="189" y="60"/>
                </a:cxn>
                <a:cxn ang="0">
                  <a:pos x="189" y="70"/>
                </a:cxn>
                <a:cxn ang="0">
                  <a:pos x="169" y="80"/>
                </a:cxn>
                <a:cxn ang="0">
                  <a:pos x="159" y="80"/>
                </a:cxn>
                <a:cxn ang="0">
                  <a:pos x="139" y="80"/>
                </a:cxn>
                <a:cxn ang="0">
                  <a:pos x="139" y="80"/>
                </a:cxn>
                <a:cxn ang="0">
                  <a:pos x="129" y="80"/>
                </a:cxn>
                <a:cxn ang="0">
                  <a:pos x="129" y="80"/>
                </a:cxn>
                <a:cxn ang="0">
                  <a:pos x="100" y="89"/>
                </a:cxn>
                <a:cxn ang="0">
                  <a:pos x="90" y="89"/>
                </a:cxn>
                <a:cxn ang="0">
                  <a:pos x="90" y="89"/>
                </a:cxn>
                <a:cxn ang="0">
                  <a:pos x="60" y="89"/>
                </a:cxn>
                <a:cxn ang="0">
                  <a:pos x="50" y="89"/>
                </a:cxn>
                <a:cxn ang="0">
                  <a:pos x="40" y="109"/>
                </a:cxn>
                <a:cxn ang="0">
                  <a:pos x="40" y="119"/>
                </a:cxn>
                <a:cxn ang="0">
                  <a:pos x="30" y="119"/>
                </a:cxn>
                <a:cxn ang="0">
                  <a:pos x="30" y="129"/>
                </a:cxn>
                <a:cxn ang="0">
                  <a:pos x="30" y="129"/>
                </a:cxn>
                <a:cxn ang="0">
                  <a:pos x="20" y="129"/>
                </a:cxn>
                <a:cxn ang="0">
                  <a:pos x="20" y="129"/>
                </a:cxn>
                <a:cxn ang="0">
                  <a:pos x="10" y="129"/>
                </a:cxn>
                <a:cxn ang="0">
                  <a:pos x="10" y="139"/>
                </a:cxn>
                <a:cxn ang="0">
                  <a:pos x="10" y="139"/>
                </a:cxn>
                <a:cxn ang="0">
                  <a:pos x="0" y="119"/>
                </a:cxn>
                <a:cxn ang="0">
                  <a:pos x="0" y="119"/>
                </a:cxn>
                <a:cxn ang="0">
                  <a:pos x="0" y="109"/>
                </a:cxn>
                <a:cxn ang="0">
                  <a:pos x="10" y="109"/>
                </a:cxn>
                <a:cxn ang="0">
                  <a:pos x="20" y="100"/>
                </a:cxn>
                <a:cxn ang="0">
                  <a:pos x="10" y="89"/>
                </a:cxn>
                <a:cxn ang="0">
                  <a:pos x="10" y="80"/>
                </a:cxn>
                <a:cxn ang="0">
                  <a:pos x="10" y="60"/>
                </a:cxn>
                <a:cxn ang="0">
                  <a:pos x="20" y="50"/>
                </a:cxn>
                <a:cxn ang="0">
                  <a:pos x="40" y="40"/>
                </a:cxn>
                <a:cxn ang="0">
                  <a:pos x="40" y="30"/>
                </a:cxn>
                <a:cxn ang="0">
                  <a:pos x="40" y="30"/>
                </a:cxn>
                <a:cxn ang="0">
                  <a:pos x="30" y="30"/>
                </a:cxn>
                <a:cxn ang="0">
                  <a:pos x="20" y="30"/>
                </a:cxn>
                <a:cxn ang="0">
                  <a:pos x="10" y="30"/>
                </a:cxn>
                <a:cxn ang="0">
                  <a:pos x="10" y="30"/>
                </a:cxn>
                <a:cxn ang="0">
                  <a:pos x="0" y="30"/>
                </a:cxn>
                <a:cxn ang="0">
                  <a:pos x="10" y="30"/>
                </a:cxn>
                <a:cxn ang="0">
                  <a:pos x="10" y="30"/>
                </a:cxn>
                <a:cxn ang="0">
                  <a:pos x="20" y="20"/>
                </a:cxn>
                <a:cxn ang="0">
                  <a:pos x="40" y="30"/>
                </a:cxn>
                <a:cxn ang="0">
                  <a:pos x="70" y="30"/>
                </a:cxn>
                <a:cxn ang="0">
                  <a:pos x="169" y="20"/>
                </a:cxn>
                <a:cxn ang="0">
                  <a:pos x="199" y="20"/>
                </a:cxn>
                <a:cxn ang="0">
                  <a:pos x="259" y="10"/>
                </a:cxn>
                <a:cxn ang="0">
                  <a:pos x="278" y="0"/>
                </a:cxn>
                <a:cxn ang="0">
                  <a:pos x="288" y="10"/>
                </a:cxn>
              </a:cxnLst>
              <a:rect l="0" t="0" r="r" b="b"/>
              <a:pathLst>
                <a:path w="288" h="139">
                  <a:moveTo>
                    <a:pt x="288" y="10"/>
                  </a:moveTo>
                  <a:lnTo>
                    <a:pt x="288" y="30"/>
                  </a:lnTo>
                  <a:lnTo>
                    <a:pt x="278" y="30"/>
                  </a:lnTo>
                  <a:lnTo>
                    <a:pt x="269" y="30"/>
                  </a:lnTo>
                  <a:lnTo>
                    <a:pt x="259" y="30"/>
                  </a:lnTo>
                  <a:lnTo>
                    <a:pt x="249" y="30"/>
                  </a:lnTo>
                  <a:lnTo>
                    <a:pt x="229" y="40"/>
                  </a:lnTo>
                  <a:lnTo>
                    <a:pt x="229" y="40"/>
                  </a:lnTo>
                  <a:lnTo>
                    <a:pt x="199" y="50"/>
                  </a:lnTo>
                  <a:lnTo>
                    <a:pt x="189" y="60"/>
                  </a:lnTo>
                  <a:lnTo>
                    <a:pt x="189" y="70"/>
                  </a:lnTo>
                  <a:lnTo>
                    <a:pt x="169" y="80"/>
                  </a:lnTo>
                  <a:lnTo>
                    <a:pt x="159" y="80"/>
                  </a:lnTo>
                  <a:lnTo>
                    <a:pt x="139" y="80"/>
                  </a:lnTo>
                  <a:lnTo>
                    <a:pt x="139" y="80"/>
                  </a:lnTo>
                  <a:lnTo>
                    <a:pt x="129" y="80"/>
                  </a:lnTo>
                  <a:lnTo>
                    <a:pt x="129" y="80"/>
                  </a:lnTo>
                  <a:lnTo>
                    <a:pt x="100" y="89"/>
                  </a:lnTo>
                  <a:lnTo>
                    <a:pt x="90" y="89"/>
                  </a:lnTo>
                  <a:lnTo>
                    <a:pt x="90" y="89"/>
                  </a:lnTo>
                  <a:lnTo>
                    <a:pt x="60" y="89"/>
                  </a:lnTo>
                  <a:lnTo>
                    <a:pt x="50" y="89"/>
                  </a:lnTo>
                  <a:lnTo>
                    <a:pt x="40" y="109"/>
                  </a:lnTo>
                  <a:lnTo>
                    <a:pt x="40" y="119"/>
                  </a:lnTo>
                  <a:lnTo>
                    <a:pt x="30" y="119"/>
                  </a:lnTo>
                  <a:lnTo>
                    <a:pt x="30" y="129"/>
                  </a:lnTo>
                  <a:lnTo>
                    <a:pt x="30" y="129"/>
                  </a:lnTo>
                  <a:lnTo>
                    <a:pt x="20" y="129"/>
                  </a:lnTo>
                  <a:lnTo>
                    <a:pt x="20" y="129"/>
                  </a:lnTo>
                  <a:lnTo>
                    <a:pt x="10" y="129"/>
                  </a:lnTo>
                  <a:lnTo>
                    <a:pt x="10" y="139"/>
                  </a:lnTo>
                  <a:lnTo>
                    <a:pt x="10" y="139"/>
                  </a:lnTo>
                  <a:lnTo>
                    <a:pt x="0" y="119"/>
                  </a:lnTo>
                  <a:lnTo>
                    <a:pt x="0" y="119"/>
                  </a:lnTo>
                  <a:lnTo>
                    <a:pt x="0" y="109"/>
                  </a:lnTo>
                  <a:lnTo>
                    <a:pt x="10" y="109"/>
                  </a:lnTo>
                  <a:lnTo>
                    <a:pt x="20" y="100"/>
                  </a:lnTo>
                  <a:lnTo>
                    <a:pt x="10" y="89"/>
                  </a:lnTo>
                  <a:lnTo>
                    <a:pt x="10" y="80"/>
                  </a:lnTo>
                  <a:lnTo>
                    <a:pt x="10" y="60"/>
                  </a:lnTo>
                  <a:lnTo>
                    <a:pt x="20" y="50"/>
                  </a:lnTo>
                  <a:lnTo>
                    <a:pt x="40" y="40"/>
                  </a:lnTo>
                  <a:lnTo>
                    <a:pt x="40" y="30"/>
                  </a:lnTo>
                  <a:lnTo>
                    <a:pt x="40" y="30"/>
                  </a:lnTo>
                  <a:lnTo>
                    <a:pt x="30" y="30"/>
                  </a:lnTo>
                  <a:lnTo>
                    <a:pt x="20" y="30"/>
                  </a:lnTo>
                  <a:lnTo>
                    <a:pt x="10" y="30"/>
                  </a:lnTo>
                  <a:lnTo>
                    <a:pt x="10" y="30"/>
                  </a:lnTo>
                  <a:lnTo>
                    <a:pt x="0" y="30"/>
                  </a:lnTo>
                  <a:lnTo>
                    <a:pt x="10" y="30"/>
                  </a:lnTo>
                  <a:lnTo>
                    <a:pt x="10" y="30"/>
                  </a:lnTo>
                  <a:lnTo>
                    <a:pt x="20" y="20"/>
                  </a:lnTo>
                  <a:lnTo>
                    <a:pt x="40" y="30"/>
                  </a:lnTo>
                  <a:lnTo>
                    <a:pt x="70" y="30"/>
                  </a:lnTo>
                  <a:lnTo>
                    <a:pt x="169" y="20"/>
                  </a:lnTo>
                  <a:lnTo>
                    <a:pt x="199" y="20"/>
                  </a:lnTo>
                  <a:lnTo>
                    <a:pt x="259" y="10"/>
                  </a:lnTo>
                  <a:lnTo>
                    <a:pt x="278" y="0"/>
                  </a:lnTo>
                  <a:lnTo>
                    <a:pt x="288"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7" name="Freeform 604">
              <a:extLst>
                <a:ext uri="{FF2B5EF4-FFF2-40B4-BE49-F238E27FC236}">
                  <a16:creationId xmlns:a16="http://schemas.microsoft.com/office/drawing/2014/main" id="{80421F69-5D67-70C7-497D-C645DAAD8179}"/>
                </a:ext>
              </a:extLst>
            </p:cNvPr>
            <p:cNvSpPr>
              <a:spLocks/>
            </p:cNvSpPr>
            <p:nvPr/>
          </p:nvSpPr>
          <p:spPr bwMode="auto">
            <a:xfrm>
              <a:off x="12754835" y="3978434"/>
              <a:ext cx="548252" cy="248049"/>
            </a:xfrm>
            <a:custGeom>
              <a:avLst/>
              <a:gdLst/>
              <a:ahLst/>
              <a:cxnLst>
                <a:cxn ang="0">
                  <a:pos x="50" y="169"/>
                </a:cxn>
                <a:cxn ang="0">
                  <a:pos x="40" y="169"/>
                </a:cxn>
                <a:cxn ang="0">
                  <a:pos x="30" y="179"/>
                </a:cxn>
                <a:cxn ang="0">
                  <a:pos x="0" y="179"/>
                </a:cxn>
                <a:cxn ang="0">
                  <a:pos x="0" y="159"/>
                </a:cxn>
                <a:cxn ang="0">
                  <a:pos x="11" y="159"/>
                </a:cxn>
                <a:cxn ang="0">
                  <a:pos x="20" y="149"/>
                </a:cxn>
                <a:cxn ang="0">
                  <a:pos x="11" y="149"/>
                </a:cxn>
                <a:cxn ang="0">
                  <a:pos x="20" y="139"/>
                </a:cxn>
                <a:cxn ang="0">
                  <a:pos x="20" y="110"/>
                </a:cxn>
                <a:cxn ang="0">
                  <a:pos x="80" y="110"/>
                </a:cxn>
                <a:cxn ang="0">
                  <a:pos x="100" y="119"/>
                </a:cxn>
                <a:cxn ang="0">
                  <a:pos x="90" y="80"/>
                </a:cxn>
                <a:cxn ang="0">
                  <a:pos x="120" y="60"/>
                </a:cxn>
                <a:cxn ang="0">
                  <a:pos x="149" y="40"/>
                </a:cxn>
                <a:cxn ang="0">
                  <a:pos x="169" y="20"/>
                </a:cxn>
                <a:cxn ang="0">
                  <a:pos x="229" y="0"/>
                </a:cxn>
                <a:cxn ang="0">
                  <a:pos x="249" y="0"/>
                </a:cxn>
                <a:cxn ang="0">
                  <a:pos x="289" y="0"/>
                </a:cxn>
                <a:cxn ang="0">
                  <a:pos x="298" y="10"/>
                </a:cxn>
                <a:cxn ang="0">
                  <a:pos x="318" y="30"/>
                </a:cxn>
                <a:cxn ang="0">
                  <a:pos x="348" y="10"/>
                </a:cxn>
                <a:cxn ang="0">
                  <a:pos x="358" y="0"/>
                </a:cxn>
                <a:cxn ang="0">
                  <a:pos x="378" y="0"/>
                </a:cxn>
                <a:cxn ang="0">
                  <a:pos x="398" y="10"/>
                </a:cxn>
                <a:cxn ang="0">
                  <a:pos x="408" y="60"/>
                </a:cxn>
                <a:cxn ang="0">
                  <a:pos x="358" y="99"/>
                </a:cxn>
                <a:cxn ang="0">
                  <a:pos x="338" y="119"/>
                </a:cxn>
                <a:cxn ang="0">
                  <a:pos x="328" y="119"/>
                </a:cxn>
                <a:cxn ang="0">
                  <a:pos x="318" y="159"/>
                </a:cxn>
                <a:cxn ang="0">
                  <a:pos x="309" y="169"/>
                </a:cxn>
                <a:cxn ang="0">
                  <a:pos x="279" y="189"/>
                </a:cxn>
                <a:cxn ang="0">
                  <a:pos x="269" y="189"/>
                </a:cxn>
                <a:cxn ang="0">
                  <a:pos x="229" y="179"/>
                </a:cxn>
                <a:cxn ang="0">
                  <a:pos x="199" y="179"/>
                </a:cxn>
                <a:cxn ang="0">
                  <a:pos x="169" y="169"/>
                </a:cxn>
                <a:cxn ang="0">
                  <a:pos x="149" y="179"/>
                </a:cxn>
                <a:cxn ang="0">
                  <a:pos x="80" y="169"/>
                </a:cxn>
                <a:cxn ang="0">
                  <a:pos x="70" y="169"/>
                </a:cxn>
              </a:cxnLst>
              <a:rect l="0" t="0" r="r" b="b"/>
              <a:pathLst>
                <a:path w="408" h="189">
                  <a:moveTo>
                    <a:pt x="70" y="169"/>
                  </a:moveTo>
                  <a:lnTo>
                    <a:pt x="50" y="169"/>
                  </a:lnTo>
                  <a:lnTo>
                    <a:pt x="40" y="169"/>
                  </a:lnTo>
                  <a:lnTo>
                    <a:pt x="40" y="169"/>
                  </a:lnTo>
                  <a:lnTo>
                    <a:pt x="30" y="169"/>
                  </a:lnTo>
                  <a:lnTo>
                    <a:pt x="30" y="179"/>
                  </a:lnTo>
                  <a:lnTo>
                    <a:pt x="0" y="179"/>
                  </a:lnTo>
                  <a:lnTo>
                    <a:pt x="0" y="179"/>
                  </a:lnTo>
                  <a:lnTo>
                    <a:pt x="0" y="169"/>
                  </a:lnTo>
                  <a:lnTo>
                    <a:pt x="0" y="159"/>
                  </a:lnTo>
                  <a:lnTo>
                    <a:pt x="0" y="159"/>
                  </a:lnTo>
                  <a:lnTo>
                    <a:pt x="11" y="159"/>
                  </a:lnTo>
                  <a:lnTo>
                    <a:pt x="20" y="149"/>
                  </a:lnTo>
                  <a:lnTo>
                    <a:pt x="20" y="149"/>
                  </a:lnTo>
                  <a:lnTo>
                    <a:pt x="11" y="149"/>
                  </a:lnTo>
                  <a:lnTo>
                    <a:pt x="11" y="149"/>
                  </a:lnTo>
                  <a:lnTo>
                    <a:pt x="11" y="139"/>
                  </a:lnTo>
                  <a:lnTo>
                    <a:pt x="20" y="139"/>
                  </a:lnTo>
                  <a:lnTo>
                    <a:pt x="20" y="129"/>
                  </a:lnTo>
                  <a:lnTo>
                    <a:pt x="20" y="110"/>
                  </a:lnTo>
                  <a:lnTo>
                    <a:pt x="60" y="110"/>
                  </a:lnTo>
                  <a:lnTo>
                    <a:pt x="80" y="110"/>
                  </a:lnTo>
                  <a:lnTo>
                    <a:pt x="100" y="119"/>
                  </a:lnTo>
                  <a:lnTo>
                    <a:pt x="100" y="119"/>
                  </a:lnTo>
                  <a:lnTo>
                    <a:pt x="100" y="119"/>
                  </a:lnTo>
                  <a:lnTo>
                    <a:pt x="90" y="80"/>
                  </a:lnTo>
                  <a:lnTo>
                    <a:pt x="90" y="70"/>
                  </a:lnTo>
                  <a:lnTo>
                    <a:pt x="120" y="60"/>
                  </a:lnTo>
                  <a:lnTo>
                    <a:pt x="130" y="50"/>
                  </a:lnTo>
                  <a:lnTo>
                    <a:pt x="149" y="40"/>
                  </a:lnTo>
                  <a:lnTo>
                    <a:pt x="169" y="20"/>
                  </a:lnTo>
                  <a:lnTo>
                    <a:pt x="169" y="20"/>
                  </a:lnTo>
                  <a:lnTo>
                    <a:pt x="179" y="10"/>
                  </a:lnTo>
                  <a:lnTo>
                    <a:pt x="229" y="0"/>
                  </a:lnTo>
                  <a:lnTo>
                    <a:pt x="229" y="0"/>
                  </a:lnTo>
                  <a:lnTo>
                    <a:pt x="249" y="0"/>
                  </a:lnTo>
                  <a:lnTo>
                    <a:pt x="269" y="0"/>
                  </a:lnTo>
                  <a:lnTo>
                    <a:pt x="289" y="0"/>
                  </a:lnTo>
                  <a:lnTo>
                    <a:pt x="298" y="20"/>
                  </a:lnTo>
                  <a:lnTo>
                    <a:pt x="298" y="10"/>
                  </a:lnTo>
                  <a:lnTo>
                    <a:pt x="318" y="20"/>
                  </a:lnTo>
                  <a:lnTo>
                    <a:pt x="318" y="30"/>
                  </a:lnTo>
                  <a:lnTo>
                    <a:pt x="328" y="30"/>
                  </a:lnTo>
                  <a:lnTo>
                    <a:pt x="348" y="10"/>
                  </a:lnTo>
                  <a:lnTo>
                    <a:pt x="358" y="0"/>
                  </a:lnTo>
                  <a:lnTo>
                    <a:pt x="358" y="0"/>
                  </a:lnTo>
                  <a:lnTo>
                    <a:pt x="358" y="20"/>
                  </a:lnTo>
                  <a:lnTo>
                    <a:pt x="378" y="0"/>
                  </a:lnTo>
                  <a:lnTo>
                    <a:pt x="398" y="0"/>
                  </a:lnTo>
                  <a:lnTo>
                    <a:pt x="398" y="10"/>
                  </a:lnTo>
                  <a:lnTo>
                    <a:pt x="398" y="50"/>
                  </a:lnTo>
                  <a:lnTo>
                    <a:pt x="408" y="60"/>
                  </a:lnTo>
                  <a:lnTo>
                    <a:pt x="378" y="80"/>
                  </a:lnTo>
                  <a:lnTo>
                    <a:pt x="358" y="99"/>
                  </a:lnTo>
                  <a:lnTo>
                    <a:pt x="348" y="110"/>
                  </a:lnTo>
                  <a:lnTo>
                    <a:pt x="338" y="119"/>
                  </a:lnTo>
                  <a:lnTo>
                    <a:pt x="338" y="119"/>
                  </a:lnTo>
                  <a:lnTo>
                    <a:pt x="328" y="119"/>
                  </a:lnTo>
                  <a:lnTo>
                    <a:pt x="328" y="129"/>
                  </a:lnTo>
                  <a:lnTo>
                    <a:pt x="318" y="159"/>
                  </a:lnTo>
                  <a:lnTo>
                    <a:pt x="309" y="159"/>
                  </a:lnTo>
                  <a:lnTo>
                    <a:pt x="309" y="169"/>
                  </a:lnTo>
                  <a:lnTo>
                    <a:pt x="279" y="189"/>
                  </a:lnTo>
                  <a:lnTo>
                    <a:pt x="279" y="189"/>
                  </a:lnTo>
                  <a:lnTo>
                    <a:pt x="279" y="189"/>
                  </a:lnTo>
                  <a:lnTo>
                    <a:pt x="269" y="189"/>
                  </a:lnTo>
                  <a:lnTo>
                    <a:pt x="259" y="189"/>
                  </a:lnTo>
                  <a:lnTo>
                    <a:pt x="229" y="179"/>
                  </a:lnTo>
                  <a:lnTo>
                    <a:pt x="209" y="179"/>
                  </a:lnTo>
                  <a:lnTo>
                    <a:pt x="199" y="179"/>
                  </a:lnTo>
                  <a:lnTo>
                    <a:pt x="199" y="179"/>
                  </a:lnTo>
                  <a:lnTo>
                    <a:pt x="169" y="169"/>
                  </a:lnTo>
                  <a:lnTo>
                    <a:pt x="149" y="169"/>
                  </a:lnTo>
                  <a:lnTo>
                    <a:pt x="149" y="179"/>
                  </a:lnTo>
                  <a:lnTo>
                    <a:pt x="80" y="169"/>
                  </a:lnTo>
                  <a:lnTo>
                    <a:pt x="80" y="169"/>
                  </a:lnTo>
                  <a:lnTo>
                    <a:pt x="80" y="169"/>
                  </a:lnTo>
                  <a:lnTo>
                    <a:pt x="70" y="16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98" name="Freeform 605">
              <a:extLst>
                <a:ext uri="{FF2B5EF4-FFF2-40B4-BE49-F238E27FC236}">
                  <a16:creationId xmlns:a16="http://schemas.microsoft.com/office/drawing/2014/main" id="{A8341425-6D76-7C5B-C8B5-807DDA158D8D}"/>
                </a:ext>
              </a:extLst>
            </p:cNvPr>
            <p:cNvSpPr>
              <a:spLocks/>
            </p:cNvSpPr>
            <p:nvPr/>
          </p:nvSpPr>
          <p:spPr bwMode="auto">
            <a:xfrm>
              <a:off x="12315427" y="4252732"/>
              <a:ext cx="239188" cy="169304"/>
            </a:xfrm>
            <a:custGeom>
              <a:avLst/>
              <a:gdLst/>
              <a:ahLst/>
              <a:cxnLst>
                <a:cxn ang="0">
                  <a:pos x="139" y="30"/>
                </a:cxn>
                <a:cxn ang="0">
                  <a:pos x="149" y="20"/>
                </a:cxn>
                <a:cxn ang="0">
                  <a:pos x="159" y="20"/>
                </a:cxn>
                <a:cxn ang="0">
                  <a:pos x="159" y="20"/>
                </a:cxn>
                <a:cxn ang="0">
                  <a:pos x="178" y="30"/>
                </a:cxn>
                <a:cxn ang="0">
                  <a:pos x="178" y="30"/>
                </a:cxn>
                <a:cxn ang="0">
                  <a:pos x="159" y="69"/>
                </a:cxn>
                <a:cxn ang="0">
                  <a:pos x="149" y="99"/>
                </a:cxn>
                <a:cxn ang="0">
                  <a:pos x="139" y="99"/>
                </a:cxn>
                <a:cxn ang="0">
                  <a:pos x="139" y="99"/>
                </a:cxn>
                <a:cxn ang="0">
                  <a:pos x="119" y="99"/>
                </a:cxn>
                <a:cxn ang="0">
                  <a:pos x="119" y="99"/>
                </a:cxn>
                <a:cxn ang="0">
                  <a:pos x="109" y="99"/>
                </a:cxn>
                <a:cxn ang="0">
                  <a:pos x="99" y="99"/>
                </a:cxn>
                <a:cxn ang="0">
                  <a:pos x="89" y="99"/>
                </a:cxn>
                <a:cxn ang="0">
                  <a:pos x="79" y="109"/>
                </a:cxn>
                <a:cxn ang="0">
                  <a:pos x="79" y="119"/>
                </a:cxn>
                <a:cxn ang="0">
                  <a:pos x="79" y="119"/>
                </a:cxn>
                <a:cxn ang="0">
                  <a:pos x="59" y="129"/>
                </a:cxn>
                <a:cxn ang="0">
                  <a:pos x="49" y="119"/>
                </a:cxn>
                <a:cxn ang="0">
                  <a:pos x="49" y="119"/>
                </a:cxn>
                <a:cxn ang="0">
                  <a:pos x="40" y="109"/>
                </a:cxn>
                <a:cxn ang="0">
                  <a:pos x="30" y="89"/>
                </a:cxn>
                <a:cxn ang="0">
                  <a:pos x="30" y="89"/>
                </a:cxn>
                <a:cxn ang="0">
                  <a:pos x="20" y="89"/>
                </a:cxn>
                <a:cxn ang="0">
                  <a:pos x="20" y="79"/>
                </a:cxn>
                <a:cxn ang="0">
                  <a:pos x="10" y="69"/>
                </a:cxn>
                <a:cxn ang="0">
                  <a:pos x="0" y="59"/>
                </a:cxn>
                <a:cxn ang="0">
                  <a:pos x="0" y="59"/>
                </a:cxn>
                <a:cxn ang="0">
                  <a:pos x="0" y="50"/>
                </a:cxn>
                <a:cxn ang="0">
                  <a:pos x="10" y="39"/>
                </a:cxn>
                <a:cxn ang="0">
                  <a:pos x="10" y="30"/>
                </a:cxn>
                <a:cxn ang="0">
                  <a:pos x="10" y="30"/>
                </a:cxn>
                <a:cxn ang="0">
                  <a:pos x="20" y="30"/>
                </a:cxn>
                <a:cxn ang="0">
                  <a:pos x="20" y="20"/>
                </a:cxn>
                <a:cxn ang="0">
                  <a:pos x="20" y="10"/>
                </a:cxn>
                <a:cxn ang="0">
                  <a:pos x="30" y="10"/>
                </a:cxn>
                <a:cxn ang="0">
                  <a:pos x="30" y="10"/>
                </a:cxn>
                <a:cxn ang="0">
                  <a:pos x="30" y="0"/>
                </a:cxn>
                <a:cxn ang="0">
                  <a:pos x="40" y="0"/>
                </a:cxn>
                <a:cxn ang="0">
                  <a:pos x="49" y="20"/>
                </a:cxn>
                <a:cxn ang="0">
                  <a:pos x="69" y="10"/>
                </a:cxn>
                <a:cxn ang="0">
                  <a:pos x="69" y="10"/>
                </a:cxn>
                <a:cxn ang="0">
                  <a:pos x="79" y="20"/>
                </a:cxn>
                <a:cxn ang="0">
                  <a:pos x="89" y="20"/>
                </a:cxn>
                <a:cxn ang="0">
                  <a:pos x="89" y="20"/>
                </a:cxn>
                <a:cxn ang="0">
                  <a:pos x="99" y="30"/>
                </a:cxn>
                <a:cxn ang="0">
                  <a:pos x="109" y="39"/>
                </a:cxn>
                <a:cxn ang="0">
                  <a:pos x="109" y="39"/>
                </a:cxn>
                <a:cxn ang="0">
                  <a:pos x="119" y="50"/>
                </a:cxn>
                <a:cxn ang="0">
                  <a:pos x="119" y="50"/>
                </a:cxn>
                <a:cxn ang="0">
                  <a:pos x="139" y="30"/>
                </a:cxn>
              </a:cxnLst>
              <a:rect l="0" t="0" r="r" b="b"/>
              <a:pathLst>
                <a:path w="178" h="129">
                  <a:moveTo>
                    <a:pt x="139" y="30"/>
                  </a:moveTo>
                  <a:lnTo>
                    <a:pt x="149" y="20"/>
                  </a:lnTo>
                  <a:lnTo>
                    <a:pt x="159" y="20"/>
                  </a:lnTo>
                  <a:lnTo>
                    <a:pt x="159" y="20"/>
                  </a:lnTo>
                  <a:lnTo>
                    <a:pt x="178" y="30"/>
                  </a:lnTo>
                  <a:lnTo>
                    <a:pt x="178" y="30"/>
                  </a:lnTo>
                  <a:lnTo>
                    <a:pt x="159" y="69"/>
                  </a:lnTo>
                  <a:lnTo>
                    <a:pt x="149" y="99"/>
                  </a:lnTo>
                  <a:lnTo>
                    <a:pt x="139" y="99"/>
                  </a:lnTo>
                  <a:lnTo>
                    <a:pt x="139" y="99"/>
                  </a:lnTo>
                  <a:lnTo>
                    <a:pt x="119" y="99"/>
                  </a:lnTo>
                  <a:lnTo>
                    <a:pt x="119" y="99"/>
                  </a:lnTo>
                  <a:lnTo>
                    <a:pt x="109" y="99"/>
                  </a:lnTo>
                  <a:lnTo>
                    <a:pt x="99" y="99"/>
                  </a:lnTo>
                  <a:lnTo>
                    <a:pt x="89" y="99"/>
                  </a:lnTo>
                  <a:lnTo>
                    <a:pt x="79" y="109"/>
                  </a:lnTo>
                  <a:lnTo>
                    <a:pt x="79" y="119"/>
                  </a:lnTo>
                  <a:lnTo>
                    <a:pt x="79" y="119"/>
                  </a:lnTo>
                  <a:lnTo>
                    <a:pt x="59" y="129"/>
                  </a:lnTo>
                  <a:lnTo>
                    <a:pt x="49" y="119"/>
                  </a:lnTo>
                  <a:lnTo>
                    <a:pt x="49" y="119"/>
                  </a:lnTo>
                  <a:lnTo>
                    <a:pt x="40" y="109"/>
                  </a:lnTo>
                  <a:lnTo>
                    <a:pt x="30" y="89"/>
                  </a:lnTo>
                  <a:lnTo>
                    <a:pt x="30" y="89"/>
                  </a:lnTo>
                  <a:lnTo>
                    <a:pt x="20" y="89"/>
                  </a:lnTo>
                  <a:lnTo>
                    <a:pt x="20" y="79"/>
                  </a:lnTo>
                  <a:lnTo>
                    <a:pt x="10" y="69"/>
                  </a:lnTo>
                  <a:lnTo>
                    <a:pt x="0" y="59"/>
                  </a:lnTo>
                  <a:lnTo>
                    <a:pt x="0" y="59"/>
                  </a:lnTo>
                  <a:lnTo>
                    <a:pt x="0" y="50"/>
                  </a:lnTo>
                  <a:lnTo>
                    <a:pt x="10" y="39"/>
                  </a:lnTo>
                  <a:lnTo>
                    <a:pt x="10" y="30"/>
                  </a:lnTo>
                  <a:lnTo>
                    <a:pt x="10" y="30"/>
                  </a:lnTo>
                  <a:lnTo>
                    <a:pt x="20" y="30"/>
                  </a:lnTo>
                  <a:lnTo>
                    <a:pt x="20" y="20"/>
                  </a:lnTo>
                  <a:lnTo>
                    <a:pt x="20" y="10"/>
                  </a:lnTo>
                  <a:lnTo>
                    <a:pt x="30" y="10"/>
                  </a:lnTo>
                  <a:lnTo>
                    <a:pt x="30" y="10"/>
                  </a:lnTo>
                  <a:lnTo>
                    <a:pt x="30" y="0"/>
                  </a:lnTo>
                  <a:lnTo>
                    <a:pt x="40" y="0"/>
                  </a:lnTo>
                  <a:lnTo>
                    <a:pt x="49" y="20"/>
                  </a:lnTo>
                  <a:lnTo>
                    <a:pt x="69" y="10"/>
                  </a:lnTo>
                  <a:lnTo>
                    <a:pt x="69" y="10"/>
                  </a:lnTo>
                  <a:lnTo>
                    <a:pt x="79" y="20"/>
                  </a:lnTo>
                  <a:lnTo>
                    <a:pt x="89" y="20"/>
                  </a:lnTo>
                  <a:lnTo>
                    <a:pt x="89" y="20"/>
                  </a:lnTo>
                  <a:lnTo>
                    <a:pt x="99" y="30"/>
                  </a:lnTo>
                  <a:lnTo>
                    <a:pt x="109" y="39"/>
                  </a:lnTo>
                  <a:lnTo>
                    <a:pt x="109" y="39"/>
                  </a:lnTo>
                  <a:lnTo>
                    <a:pt x="119" y="50"/>
                  </a:lnTo>
                  <a:lnTo>
                    <a:pt x="119" y="50"/>
                  </a:lnTo>
                  <a:lnTo>
                    <a:pt x="13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99" name="Freeform 606">
              <a:extLst>
                <a:ext uri="{FF2B5EF4-FFF2-40B4-BE49-F238E27FC236}">
                  <a16:creationId xmlns:a16="http://schemas.microsoft.com/office/drawing/2014/main" id="{2F69A7F5-AE8B-F93E-3826-527140B1B037}"/>
                </a:ext>
              </a:extLst>
            </p:cNvPr>
            <p:cNvSpPr>
              <a:spLocks/>
            </p:cNvSpPr>
            <p:nvPr/>
          </p:nvSpPr>
          <p:spPr bwMode="auto">
            <a:xfrm>
              <a:off x="11661018" y="3717260"/>
              <a:ext cx="53750" cy="13124"/>
            </a:xfrm>
            <a:custGeom>
              <a:avLst/>
              <a:gdLst/>
              <a:ahLst/>
              <a:cxnLst>
                <a:cxn ang="0">
                  <a:pos x="10" y="10"/>
                </a:cxn>
                <a:cxn ang="0">
                  <a:pos x="10" y="10"/>
                </a:cxn>
                <a:cxn ang="0">
                  <a:pos x="10" y="10"/>
                </a:cxn>
                <a:cxn ang="0">
                  <a:pos x="0" y="0"/>
                </a:cxn>
                <a:cxn ang="0">
                  <a:pos x="10" y="0"/>
                </a:cxn>
                <a:cxn ang="0">
                  <a:pos x="10" y="0"/>
                </a:cxn>
                <a:cxn ang="0">
                  <a:pos x="30" y="0"/>
                </a:cxn>
                <a:cxn ang="0">
                  <a:pos x="40" y="0"/>
                </a:cxn>
                <a:cxn ang="0">
                  <a:pos x="40" y="0"/>
                </a:cxn>
                <a:cxn ang="0">
                  <a:pos x="30" y="0"/>
                </a:cxn>
                <a:cxn ang="0">
                  <a:pos x="30" y="10"/>
                </a:cxn>
                <a:cxn ang="0">
                  <a:pos x="20" y="10"/>
                </a:cxn>
                <a:cxn ang="0">
                  <a:pos x="20" y="10"/>
                </a:cxn>
                <a:cxn ang="0">
                  <a:pos x="10" y="10"/>
                </a:cxn>
                <a:cxn ang="0">
                  <a:pos x="10" y="0"/>
                </a:cxn>
                <a:cxn ang="0">
                  <a:pos x="10" y="0"/>
                </a:cxn>
                <a:cxn ang="0">
                  <a:pos x="10" y="0"/>
                </a:cxn>
                <a:cxn ang="0">
                  <a:pos x="10" y="0"/>
                </a:cxn>
                <a:cxn ang="0">
                  <a:pos x="10" y="10"/>
                </a:cxn>
              </a:cxnLst>
              <a:rect l="0" t="0" r="r" b="b"/>
              <a:pathLst>
                <a:path w="40" h="10">
                  <a:moveTo>
                    <a:pt x="10" y="10"/>
                  </a:moveTo>
                  <a:lnTo>
                    <a:pt x="10" y="10"/>
                  </a:lnTo>
                  <a:lnTo>
                    <a:pt x="10" y="10"/>
                  </a:lnTo>
                  <a:lnTo>
                    <a:pt x="0" y="0"/>
                  </a:lnTo>
                  <a:lnTo>
                    <a:pt x="10" y="0"/>
                  </a:lnTo>
                  <a:lnTo>
                    <a:pt x="10" y="0"/>
                  </a:lnTo>
                  <a:lnTo>
                    <a:pt x="30" y="0"/>
                  </a:lnTo>
                  <a:lnTo>
                    <a:pt x="40" y="0"/>
                  </a:lnTo>
                  <a:lnTo>
                    <a:pt x="40" y="0"/>
                  </a:lnTo>
                  <a:lnTo>
                    <a:pt x="30" y="0"/>
                  </a:lnTo>
                  <a:lnTo>
                    <a:pt x="30" y="10"/>
                  </a:lnTo>
                  <a:lnTo>
                    <a:pt x="20" y="10"/>
                  </a:lnTo>
                  <a:lnTo>
                    <a:pt x="20" y="10"/>
                  </a:lnTo>
                  <a:lnTo>
                    <a:pt x="10" y="10"/>
                  </a:lnTo>
                  <a:lnTo>
                    <a:pt x="10" y="0"/>
                  </a:lnTo>
                  <a:lnTo>
                    <a:pt x="10" y="0"/>
                  </a:lnTo>
                  <a:lnTo>
                    <a:pt x="10" y="0"/>
                  </a:lnTo>
                  <a:lnTo>
                    <a:pt x="10" y="0"/>
                  </a:lnTo>
                  <a:lnTo>
                    <a:pt x="1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0" name="Freeform 607">
              <a:extLst>
                <a:ext uri="{FF2B5EF4-FFF2-40B4-BE49-F238E27FC236}">
                  <a16:creationId xmlns:a16="http://schemas.microsoft.com/office/drawing/2014/main" id="{6A1BDF19-9D08-0999-A38D-3426978D4B50}"/>
                </a:ext>
              </a:extLst>
            </p:cNvPr>
            <p:cNvSpPr>
              <a:spLocks/>
            </p:cNvSpPr>
            <p:nvPr/>
          </p:nvSpPr>
          <p:spPr bwMode="auto">
            <a:xfrm>
              <a:off x="11514549" y="3156852"/>
              <a:ext cx="693378" cy="300547"/>
            </a:xfrm>
            <a:custGeom>
              <a:avLst/>
              <a:gdLst/>
              <a:ahLst/>
              <a:cxnLst>
                <a:cxn ang="0">
                  <a:pos x="318" y="99"/>
                </a:cxn>
                <a:cxn ang="0">
                  <a:pos x="288" y="110"/>
                </a:cxn>
                <a:cxn ang="0">
                  <a:pos x="278" y="119"/>
                </a:cxn>
                <a:cxn ang="0">
                  <a:pos x="248" y="149"/>
                </a:cxn>
                <a:cxn ang="0">
                  <a:pos x="238" y="149"/>
                </a:cxn>
                <a:cxn ang="0">
                  <a:pos x="228" y="159"/>
                </a:cxn>
                <a:cxn ang="0">
                  <a:pos x="208" y="149"/>
                </a:cxn>
                <a:cxn ang="0">
                  <a:pos x="199" y="159"/>
                </a:cxn>
                <a:cxn ang="0">
                  <a:pos x="189" y="169"/>
                </a:cxn>
                <a:cxn ang="0">
                  <a:pos x="179" y="169"/>
                </a:cxn>
                <a:cxn ang="0">
                  <a:pos x="179" y="179"/>
                </a:cxn>
                <a:cxn ang="0">
                  <a:pos x="159" y="169"/>
                </a:cxn>
                <a:cxn ang="0">
                  <a:pos x="149" y="169"/>
                </a:cxn>
                <a:cxn ang="0">
                  <a:pos x="139" y="169"/>
                </a:cxn>
                <a:cxn ang="0">
                  <a:pos x="119" y="189"/>
                </a:cxn>
                <a:cxn ang="0">
                  <a:pos x="99" y="189"/>
                </a:cxn>
                <a:cxn ang="0">
                  <a:pos x="79" y="199"/>
                </a:cxn>
                <a:cxn ang="0">
                  <a:pos x="79" y="209"/>
                </a:cxn>
                <a:cxn ang="0">
                  <a:pos x="69" y="209"/>
                </a:cxn>
                <a:cxn ang="0">
                  <a:pos x="59" y="219"/>
                </a:cxn>
                <a:cxn ang="0">
                  <a:pos x="40" y="229"/>
                </a:cxn>
                <a:cxn ang="0">
                  <a:pos x="10" y="209"/>
                </a:cxn>
                <a:cxn ang="0">
                  <a:pos x="0" y="209"/>
                </a:cxn>
                <a:cxn ang="0">
                  <a:pos x="10" y="189"/>
                </a:cxn>
                <a:cxn ang="0">
                  <a:pos x="50" y="129"/>
                </a:cxn>
                <a:cxn ang="0">
                  <a:pos x="69" y="119"/>
                </a:cxn>
                <a:cxn ang="0">
                  <a:pos x="129" y="99"/>
                </a:cxn>
                <a:cxn ang="0">
                  <a:pos x="208" y="90"/>
                </a:cxn>
                <a:cxn ang="0">
                  <a:pos x="318" y="50"/>
                </a:cxn>
                <a:cxn ang="0">
                  <a:pos x="457" y="10"/>
                </a:cxn>
                <a:cxn ang="0">
                  <a:pos x="496" y="10"/>
                </a:cxn>
                <a:cxn ang="0">
                  <a:pos x="516" y="20"/>
                </a:cxn>
                <a:cxn ang="0">
                  <a:pos x="516" y="40"/>
                </a:cxn>
                <a:cxn ang="0">
                  <a:pos x="516" y="50"/>
                </a:cxn>
                <a:cxn ang="0">
                  <a:pos x="516" y="30"/>
                </a:cxn>
                <a:cxn ang="0">
                  <a:pos x="506" y="20"/>
                </a:cxn>
                <a:cxn ang="0">
                  <a:pos x="496" y="40"/>
                </a:cxn>
                <a:cxn ang="0">
                  <a:pos x="487" y="50"/>
                </a:cxn>
                <a:cxn ang="0">
                  <a:pos x="457" y="50"/>
                </a:cxn>
                <a:cxn ang="0">
                  <a:pos x="437" y="60"/>
                </a:cxn>
                <a:cxn ang="0">
                  <a:pos x="427" y="50"/>
                </a:cxn>
                <a:cxn ang="0">
                  <a:pos x="427" y="50"/>
                </a:cxn>
                <a:cxn ang="0">
                  <a:pos x="427" y="60"/>
                </a:cxn>
                <a:cxn ang="0">
                  <a:pos x="427" y="70"/>
                </a:cxn>
                <a:cxn ang="0">
                  <a:pos x="417" y="70"/>
                </a:cxn>
                <a:cxn ang="0">
                  <a:pos x="407" y="60"/>
                </a:cxn>
                <a:cxn ang="0">
                  <a:pos x="397" y="60"/>
                </a:cxn>
                <a:cxn ang="0">
                  <a:pos x="407" y="80"/>
                </a:cxn>
                <a:cxn ang="0">
                  <a:pos x="387" y="80"/>
                </a:cxn>
                <a:cxn ang="0">
                  <a:pos x="377" y="70"/>
                </a:cxn>
                <a:cxn ang="0">
                  <a:pos x="377" y="70"/>
                </a:cxn>
                <a:cxn ang="0">
                  <a:pos x="397" y="90"/>
                </a:cxn>
                <a:cxn ang="0">
                  <a:pos x="417" y="90"/>
                </a:cxn>
                <a:cxn ang="0">
                  <a:pos x="407" y="99"/>
                </a:cxn>
                <a:cxn ang="0">
                  <a:pos x="367" y="99"/>
                </a:cxn>
              </a:cxnLst>
              <a:rect l="0" t="0" r="r" b="b"/>
              <a:pathLst>
                <a:path w="516" h="229">
                  <a:moveTo>
                    <a:pt x="357" y="99"/>
                  </a:moveTo>
                  <a:lnTo>
                    <a:pt x="318" y="99"/>
                  </a:lnTo>
                  <a:lnTo>
                    <a:pt x="298" y="110"/>
                  </a:lnTo>
                  <a:lnTo>
                    <a:pt x="288" y="110"/>
                  </a:lnTo>
                  <a:lnTo>
                    <a:pt x="278" y="119"/>
                  </a:lnTo>
                  <a:lnTo>
                    <a:pt x="278" y="119"/>
                  </a:lnTo>
                  <a:lnTo>
                    <a:pt x="258" y="139"/>
                  </a:lnTo>
                  <a:lnTo>
                    <a:pt x="248" y="149"/>
                  </a:lnTo>
                  <a:lnTo>
                    <a:pt x="248" y="149"/>
                  </a:lnTo>
                  <a:lnTo>
                    <a:pt x="238" y="149"/>
                  </a:lnTo>
                  <a:lnTo>
                    <a:pt x="228" y="149"/>
                  </a:lnTo>
                  <a:lnTo>
                    <a:pt x="228" y="159"/>
                  </a:lnTo>
                  <a:lnTo>
                    <a:pt x="218" y="159"/>
                  </a:lnTo>
                  <a:lnTo>
                    <a:pt x="208" y="149"/>
                  </a:lnTo>
                  <a:lnTo>
                    <a:pt x="208" y="159"/>
                  </a:lnTo>
                  <a:lnTo>
                    <a:pt x="199" y="159"/>
                  </a:lnTo>
                  <a:lnTo>
                    <a:pt x="189" y="169"/>
                  </a:lnTo>
                  <a:lnTo>
                    <a:pt x="189" y="169"/>
                  </a:lnTo>
                  <a:lnTo>
                    <a:pt x="189" y="169"/>
                  </a:lnTo>
                  <a:lnTo>
                    <a:pt x="179" y="169"/>
                  </a:lnTo>
                  <a:lnTo>
                    <a:pt x="179" y="179"/>
                  </a:lnTo>
                  <a:lnTo>
                    <a:pt x="179" y="179"/>
                  </a:lnTo>
                  <a:lnTo>
                    <a:pt x="169" y="169"/>
                  </a:lnTo>
                  <a:lnTo>
                    <a:pt x="159" y="169"/>
                  </a:lnTo>
                  <a:lnTo>
                    <a:pt x="159" y="169"/>
                  </a:lnTo>
                  <a:lnTo>
                    <a:pt x="149" y="169"/>
                  </a:lnTo>
                  <a:lnTo>
                    <a:pt x="139" y="169"/>
                  </a:lnTo>
                  <a:lnTo>
                    <a:pt x="139" y="169"/>
                  </a:lnTo>
                  <a:lnTo>
                    <a:pt x="129" y="179"/>
                  </a:lnTo>
                  <a:lnTo>
                    <a:pt x="119" y="189"/>
                  </a:lnTo>
                  <a:lnTo>
                    <a:pt x="109" y="179"/>
                  </a:lnTo>
                  <a:lnTo>
                    <a:pt x="99" y="189"/>
                  </a:lnTo>
                  <a:lnTo>
                    <a:pt x="89" y="189"/>
                  </a:lnTo>
                  <a:lnTo>
                    <a:pt x="79" y="199"/>
                  </a:lnTo>
                  <a:lnTo>
                    <a:pt x="79" y="209"/>
                  </a:lnTo>
                  <a:lnTo>
                    <a:pt x="79" y="209"/>
                  </a:lnTo>
                  <a:lnTo>
                    <a:pt x="79" y="209"/>
                  </a:lnTo>
                  <a:lnTo>
                    <a:pt x="69" y="209"/>
                  </a:lnTo>
                  <a:lnTo>
                    <a:pt x="50" y="219"/>
                  </a:lnTo>
                  <a:lnTo>
                    <a:pt x="59" y="219"/>
                  </a:lnTo>
                  <a:lnTo>
                    <a:pt x="50" y="229"/>
                  </a:lnTo>
                  <a:lnTo>
                    <a:pt x="40" y="229"/>
                  </a:lnTo>
                  <a:lnTo>
                    <a:pt x="20" y="229"/>
                  </a:lnTo>
                  <a:lnTo>
                    <a:pt x="10" y="209"/>
                  </a:lnTo>
                  <a:lnTo>
                    <a:pt x="0" y="209"/>
                  </a:lnTo>
                  <a:lnTo>
                    <a:pt x="0" y="209"/>
                  </a:lnTo>
                  <a:lnTo>
                    <a:pt x="0" y="199"/>
                  </a:lnTo>
                  <a:lnTo>
                    <a:pt x="10" y="189"/>
                  </a:lnTo>
                  <a:lnTo>
                    <a:pt x="30" y="159"/>
                  </a:lnTo>
                  <a:lnTo>
                    <a:pt x="50" y="129"/>
                  </a:lnTo>
                  <a:lnTo>
                    <a:pt x="50" y="129"/>
                  </a:lnTo>
                  <a:lnTo>
                    <a:pt x="69" y="119"/>
                  </a:lnTo>
                  <a:lnTo>
                    <a:pt x="89" y="110"/>
                  </a:lnTo>
                  <a:lnTo>
                    <a:pt x="129" y="99"/>
                  </a:lnTo>
                  <a:lnTo>
                    <a:pt x="189" y="90"/>
                  </a:lnTo>
                  <a:lnTo>
                    <a:pt x="208" y="90"/>
                  </a:lnTo>
                  <a:lnTo>
                    <a:pt x="268" y="70"/>
                  </a:lnTo>
                  <a:lnTo>
                    <a:pt x="318" y="50"/>
                  </a:lnTo>
                  <a:lnTo>
                    <a:pt x="427" y="10"/>
                  </a:lnTo>
                  <a:lnTo>
                    <a:pt x="457" y="10"/>
                  </a:lnTo>
                  <a:lnTo>
                    <a:pt x="487" y="0"/>
                  </a:lnTo>
                  <a:lnTo>
                    <a:pt x="496" y="10"/>
                  </a:lnTo>
                  <a:lnTo>
                    <a:pt x="506" y="10"/>
                  </a:lnTo>
                  <a:lnTo>
                    <a:pt x="516" y="20"/>
                  </a:lnTo>
                  <a:lnTo>
                    <a:pt x="516" y="20"/>
                  </a:lnTo>
                  <a:lnTo>
                    <a:pt x="516" y="40"/>
                  </a:lnTo>
                  <a:lnTo>
                    <a:pt x="516" y="50"/>
                  </a:lnTo>
                  <a:lnTo>
                    <a:pt x="516" y="50"/>
                  </a:lnTo>
                  <a:lnTo>
                    <a:pt x="516" y="40"/>
                  </a:lnTo>
                  <a:lnTo>
                    <a:pt x="516" y="30"/>
                  </a:lnTo>
                  <a:lnTo>
                    <a:pt x="506" y="20"/>
                  </a:lnTo>
                  <a:lnTo>
                    <a:pt x="506" y="20"/>
                  </a:lnTo>
                  <a:lnTo>
                    <a:pt x="506" y="30"/>
                  </a:lnTo>
                  <a:lnTo>
                    <a:pt x="496" y="40"/>
                  </a:lnTo>
                  <a:lnTo>
                    <a:pt x="496" y="40"/>
                  </a:lnTo>
                  <a:lnTo>
                    <a:pt x="487" y="50"/>
                  </a:lnTo>
                  <a:lnTo>
                    <a:pt x="467" y="50"/>
                  </a:lnTo>
                  <a:lnTo>
                    <a:pt x="457" y="50"/>
                  </a:lnTo>
                  <a:lnTo>
                    <a:pt x="437" y="60"/>
                  </a:lnTo>
                  <a:lnTo>
                    <a:pt x="437" y="60"/>
                  </a:lnTo>
                  <a:lnTo>
                    <a:pt x="437" y="60"/>
                  </a:lnTo>
                  <a:lnTo>
                    <a:pt x="427" y="50"/>
                  </a:lnTo>
                  <a:lnTo>
                    <a:pt x="427" y="50"/>
                  </a:lnTo>
                  <a:lnTo>
                    <a:pt x="427" y="50"/>
                  </a:lnTo>
                  <a:lnTo>
                    <a:pt x="427" y="50"/>
                  </a:lnTo>
                  <a:lnTo>
                    <a:pt x="427" y="60"/>
                  </a:lnTo>
                  <a:lnTo>
                    <a:pt x="437" y="60"/>
                  </a:lnTo>
                  <a:lnTo>
                    <a:pt x="427" y="70"/>
                  </a:lnTo>
                  <a:lnTo>
                    <a:pt x="417" y="70"/>
                  </a:lnTo>
                  <a:lnTo>
                    <a:pt x="417" y="70"/>
                  </a:lnTo>
                  <a:lnTo>
                    <a:pt x="407" y="70"/>
                  </a:lnTo>
                  <a:lnTo>
                    <a:pt x="407" y="60"/>
                  </a:lnTo>
                  <a:lnTo>
                    <a:pt x="397" y="60"/>
                  </a:lnTo>
                  <a:lnTo>
                    <a:pt x="397" y="60"/>
                  </a:lnTo>
                  <a:lnTo>
                    <a:pt x="407" y="70"/>
                  </a:lnTo>
                  <a:lnTo>
                    <a:pt x="407" y="80"/>
                  </a:lnTo>
                  <a:lnTo>
                    <a:pt x="397" y="80"/>
                  </a:lnTo>
                  <a:lnTo>
                    <a:pt x="387" y="80"/>
                  </a:lnTo>
                  <a:lnTo>
                    <a:pt x="387" y="80"/>
                  </a:lnTo>
                  <a:lnTo>
                    <a:pt x="377" y="70"/>
                  </a:lnTo>
                  <a:lnTo>
                    <a:pt x="377" y="70"/>
                  </a:lnTo>
                  <a:lnTo>
                    <a:pt x="377" y="70"/>
                  </a:lnTo>
                  <a:lnTo>
                    <a:pt x="387" y="80"/>
                  </a:lnTo>
                  <a:lnTo>
                    <a:pt x="397" y="90"/>
                  </a:lnTo>
                  <a:lnTo>
                    <a:pt x="407" y="90"/>
                  </a:lnTo>
                  <a:lnTo>
                    <a:pt x="417" y="90"/>
                  </a:lnTo>
                  <a:lnTo>
                    <a:pt x="417" y="90"/>
                  </a:lnTo>
                  <a:lnTo>
                    <a:pt x="407" y="99"/>
                  </a:lnTo>
                  <a:lnTo>
                    <a:pt x="387" y="99"/>
                  </a:lnTo>
                  <a:lnTo>
                    <a:pt x="367" y="99"/>
                  </a:lnTo>
                  <a:lnTo>
                    <a:pt x="357" y="9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1" name="Freeform 608">
              <a:extLst>
                <a:ext uri="{FF2B5EF4-FFF2-40B4-BE49-F238E27FC236}">
                  <a16:creationId xmlns:a16="http://schemas.microsoft.com/office/drawing/2014/main" id="{398BF9A4-C98F-6F12-48B9-56B1E52B5FA0}"/>
                </a:ext>
              </a:extLst>
            </p:cNvPr>
            <p:cNvSpPr>
              <a:spLocks/>
            </p:cNvSpPr>
            <p:nvPr/>
          </p:nvSpPr>
          <p:spPr bwMode="auto">
            <a:xfrm>
              <a:off x="11447361" y="3587330"/>
              <a:ext cx="80625" cy="39373"/>
            </a:xfrm>
            <a:custGeom>
              <a:avLst/>
              <a:gdLst/>
              <a:ahLst/>
              <a:cxnLst>
                <a:cxn ang="0">
                  <a:pos x="60" y="0"/>
                </a:cxn>
                <a:cxn ang="0">
                  <a:pos x="60" y="0"/>
                </a:cxn>
                <a:cxn ang="0">
                  <a:pos x="50" y="10"/>
                </a:cxn>
                <a:cxn ang="0">
                  <a:pos x="40" y="20"/>
                </a:cxn>
                <a:cxn ang="0">
                  <a:pos x="30" y="20"/>
                </a:cxn>
                <a:cxn ang="0">
                  <a:pos x="20" y="20"/>
                </a:cxn>
                <a:cxn ang="0">
                  <a:pos x="10" y="20"/>
                </a:cxn>
                <a:cxn ang="0">
                  <a:pos x="10" y="20"/>
                </a:cxn>
                <a:cxn ang="0">
                  <a:pos x="10" y="30"/>
                </a:cxn>
                <a:cxn ang="0">
                  <a:pos x="10" y="30"/>
                </a:cxn>
                <a:cxn ang="0">
                  <a:pos x="0" y="30"/>
                </a:cxn>
                <a:cxn ang="0">
                  <a:pos x="0" y="30"/>
                </a:cxn>
                <a:cxn ang="0">
                  <a:pos x="0" y="20"/>
                </a:cxn>
                <a:cxn ang="0">
                  <a:pos x="0" y="20"/>
                </a:cxn>
                <a:cxn ang="0">
                  <a:pos x="10" y="20"/>
                </a:cxn>
                <a:cxn ang="0">
                  <a:pos x="0" y="20"/>
                </a:cxn>
                <a:cxn ang="0">
                  <a:pos x="10" y="10"/>
                </a:cxn>
                <a:cxn ang="0">
                  <a:pos x="20" y="0"/>
                </a:cxn>
                <a:cxn ang="0">
                  <a:pos x="40" y="0"/>
                </a:cxn>
                <a:cxn ang="0">
                  <a:pos x="60" y="0"/>
                </a:cxn>
                <a:cxn ang="0">
                  <a:pos x="60" y="0"/>
                </a:cxn>
              </a:cxnLst>
              <a:rect l="0" t="0" r="r" b="b"/>
              <a:pathLst>
                <a:path w="60" h="30">
                  <a:moveTo>
                    <a:pt x="60" y="0"/>
                  </a:moveTo>
                  <a:lnTo>
                    <a:pt x="60" y="0"/>
                  </a:lnTo>
                  <a:lnTo>
                    <a:pt x="50" y="10"/>
                  </a:lnTo>
                  <a:lnTo>
                    <a:pt x="40" y="20"/>
                  </a:lnTo>
                  <a:lnTo>
                    <a:pt x="30" y="20"/>
                  </a:lnTo>
                  <a:lnTo>
                    <a:pt x="20" y="20"/>
                  </a:lnTo>
                  <a:lnTo>
                    <a:pt x="10" y="20"/>
                  </a:lnTo>
                  <a:lnTo>
                    <a:pt x="10" y="20"/>
                  </a:lnTo>
                  <a:lnTo>
                    <a:pt x="10" y="30"/>
                  </a:lnTo>
                  <a:lnTo>
                    <a:pt x="10" y="30"/>
                  </a:lnTo>
                  <a:lnTo>
                    <a:pt x="0" y="30"/>
                  </a:lnTo>
                  <a:lnTo>
                    <a:pt x="0" y="30"/>
                  </a:lnTo>
                  <a:lnTo>
                    <a:pt x="0" y="20"/>
                  </a:lnTo>
                  <a:lnTo>
                    <a:pt x="0" y="20"/>
                  </a:lnTo>
                  <a:lnTo>
                    <a:pt x="10" y="20"/>
                  </a:lnTo>
                  <a:lnTo>
                    <a:pt x="0" y="20"/>
                  </a:lnTo>
                  <a:lnTo>
                    <a:pt x="10" y="10"/>
                  </a:lnTo>
                  <a:lnTo>
                    <a:pt x="20" y="0"/>
                  </a:lnTo>
                  <a:lnTo>
                    <a:pt x="40" y="0"/>
                  </a:lnTo>
                  <a:lnTo>
                    <a:pt x="60" y="0"/>
                  </a:lnTo>
                  <a:lnTo>
                    <a:pt x="6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2" name="Freeform 609">
              <a:extLst>
                <a:ext uri="{FF2B5EF4-FFF2-40B4-BE49-F238E27FC236}">
                  <a16:creationId xmlns:a16="http://schemas.microsoft.com/office/drawing/2014/main" id="{7D8023D2-5CED-957F-CDF4-8AA39B933D8D}"/>
                </a:ext>
              </a:extLst>
            </p:cNvPr>
            <p:cNvSpPr>
              <a:spLocks/>
            </p:cNvSpPr>
            <p:nvPr/>
          </p:nvSpPr>
          <p:spPr bwMode="auto">
            <a:xfrm>
              <a:off x="10993172" y="3561081"/>
              <a:ext cx="427314" cy="287422"/>
            </a:xfrm>
            <a:custGeom>
              <a:avLst/>
              <a:gdLst/>
              <a:ahLst/>
              <a:cxnLst>
                <a:cxn ang="0">
                  <a:pos x="269" y="30"/>
                </a:cxn>
                <a:cxn ang="0">
                  <a:pos x="269" y="40"/>
                </a:cxn>
                <a:cxn ang="0">
                  <a:pos x="259" y="50"/>
                </a:cxn>
                <a:cxn ang="0">
                  <a:pos x="239" y="60"/>
                </a:cxn>
                <a:cxn ang="0">
                  <a:pos x="179" y="80"/>
                </a:cxn>
                <a:cxn ang="0">
                  <a:pos x="160" y="90"/>
                </a:cxn>
                <a:cxn ang="0">
                  <a:pos x="160" y="100"/>
                </a:cxn>
                <a:cxn ang="0">
                  <a:pos x="160" y="119"/>
                </a:cxn>
                <a:cxn ang="0">
                  <a:pos x="169" y="119"/>
                </a:cxn>
                <a:cxn ang="0">
                  <a:pos x="169" y="110"/>
                </a:cxn>
                <a:cxn ang="0">
                  <a:pos x="169" y="110"/>
                </a:cxn>
                <a:cxn ang="0">
                  <a:pos x="169" y="110"/>
                </a:cxn>
                <a:cxn ang="0">
                  <a:pos x="169" y="110"/>
                </a:cxn>
                <a:cxn ang="0">
                  <a:pos x="179" y="110"/>
                </a:cxn>
                <a:cxn ang="0">
                  <a:pos x="169" y="119"/>
                </a:cxn>
                <a:cxn ang="0">
                  <a:pos x="160" y="139"/>
                </a:cxn>
                <a:cxn ang="0">
                  <a:pos x="160" y="139"/>
                </a:cxn>
                <a:cxn ang="0">
                  <a:pos x="160" y="139"/>
                </a:cxn>
                <a:cxn ang="0">
                  <a:pos x="130" y="159"/>
                </a:cxn>
                <a:cxn ang="0">
                  <a:pos x="120" y="169"/>
                </a:cxn>
                <a:cxn ang="0">
                  <a:pos x="110" y="169"/>
                </a:cxn>
                <a:cxn ang="0">
                  <a:pos x="110" y="179"/>
                </a:cxn>
                <a:cxn ang="0">
                  <a:pos x="100" y="189"/>
                </a:cxn>
                <a:cxn ang="0">
                  <a:pos x="80" y="199"/>
                </a:cxn>
                <a:cxn ang="0">
                  <a:pos x="80" y="199"/>
                </a:cxn>
                <a:cxn ang="0">
                  <a:pos x="80" y="199"/>
                </a:cxn>
                <a:cxn ang="0">
                  <a:pos x="70" y="199"/>
                </a:cxn>
                <a:cxn ang="0">
                  <a:pos x="50" y="199"/>
                </a:cxn>
                <a:cxn ang="0">
                  <a:pos x="20" y="199"/>
                </a:cxn>
                <a:cxn ang="0">
                  <a:pos x="11" y="209"/>
                </a:cxn>
                <a:cxn ang="0">
                  <a:pos x="11" y="209"/>
                </a:cxn>
                <a:cxn ang="0">
                  <a:pos x="11" y="219"/>
                </a:cxn>
                <a:cxn ang="0">
                  <a:pos x="20" y="219"/>
                </a:cxn>
                <a:cxn ang="0">
                  <a:pos x="11" y="219"/>
                </a:cxn>
                <a:cxn ang="0">
                  <a:pos x="0" y="219"/>
                </a:cxn>
                <a:cxn ang="0">
                  <a:pos x="0" y="219"/>
                </a:cxn>
                <a:cxn ang="0">
                  <a:pos x="0" y="199"/>
                </a:cxn>
                <a:cxn ang="0">
                  <a:pos x="0" y="189"/>
                </a:cxn>
                <a:cxn ang="0">
                  <a:pos x="0" y="179"/>
                </a:cxn>
                <a:cxn ang="0">
                  <a:pos x="60" y="149"/>
                </a:cxn>
                <a:cxn ang="0">
                  <a:pos x="90" y="119"/>
                </a:cxn>
                <a:cxn ang="0">
                  <a:pos x="110" y="110"/>
                </a:cxn>
                <a:cxn ang="0">
                  <a:pos x="130" y="90"/>
                </a:cxn>
                <a:cxn ang="0">
                  <a:pos x="140" y="80"/>
                </a:cxn>
                <a:cxn ang="0">
                  <a:pos x="179" y="50"/>
                </a:cxn>
                <a:cxn ang="0">
                  <a:pos x="199" y="40"/>
                </a:cxn>
                <a:cxn ang="0">
                  <a:pos x="209" y="30"/>
                </a:cxn>
                <a:cxn ang="0">
                  <a:pos x="209" y="30"/>
                </a:cxn>
                <a:cxn ang="0">
                  <a:pos x="239" y="20"/>
                </a:cxn>
                <a:cxn ang="0">
                  <a:pos x="259" y="10"/>
                </a:cxn>
                <a:cxn ang="0">
                  <a:pos x="279" y="0"/>
                </a:cxn>
                <a:cxn ang="0">
                  <a:pos x="289" y="0"/>
                </a:cxn>
                <a:cxn ang="0">
                  <a:pos x="318" y="10"/>
                </a:cxn>
                <a:cxn ang="0">
                  <a:pos x="318" y="20"/>
                </a:cxn>
                <a:cxn ang="0">
                  <a:pos x="309" y="30"/>
                </a:cxn>
                <a:cxn ang="0">
                  <a:pos x="309" y="30"/>
                </a:cxn>
                <a:cxn ang="0">
                  <a:pos x="309" y="30"/>
                </a:cxn>
                <a:cxn ang="0">
                  <a:pos x="298" y="30"/>
                </a:cxn>
                <a:cxn ang="0">
                  <a:pos x="289" y="30"/>
                </a:cxn>
                <a:cxn ang="0">
                  <a:pos x="269" y="30"/>
                </a:cxn>
              </a:cxnLst>
              <a:rect l="0" t="0" r="r" b="b"/>
              <a:pathLst>
                <a:path w="318" h="219">
                  <a:moveTo>
                    <a:pt x="269" y="30"/>
                  </a:moveTo>
                  <a:lnTo>
                    <a:pt x="269" y="40"/>
                  </a:lnTo>
                  <a:lnTo>
                    <a:pt x="259" y="50"/>
                  </a:lnTo>
                  <a:lnTo>
                    <a:pt x="239" y="60"/>
                  </a:lnTo>
                  <a:lnTo>
                    <a:pt x="179" y="80"/>
                  </a:lnTo>
                  <a:lnTo>
                    <a:pt x="160" y="90"/>
                  </a:lnTo>
                  <a:lnTo>
                    <a:pt x="160" y="100"/>
                  </a:lnTo>
                  <a:lnTo>
                    <a:pt x="160" y="119"/>
                  </a:lnTo>
                  <a:lnTo>
                    <a:pt x="169" y="119"/>
                  </a:lnTo>
                  <a:lnTo>
                    <a:pt x="169" y="110"/>
                  </a:lnTo>
                  <a:lnTo>
                    <a:pt x="169" y="110"/>
                  </a:lnTo>
                  <a:lnTo>
                    <a:pt x="169" y="110"/>
                  </a:lnTo>
                  <a:lnTo>
                    <a:pt x="169" y="110"/>
                  </a:lnTo>
                  <a:lnTo>
                    <a:pt x="179" y="110"/>
                  </a:lnTo>
                  <a:lnTo>
                    <a:pt x="169" y="119"/>
                  </a:lnTo>
                  <a:lnTo>
                    <a:pt x="160" y="139"/>
                  </a:lnTo>
                  <a:lnTo>
                    <a:pt x="160" y="139"/>
                  </a:lnTo>
                  <a:lnTo>
                    <a:pt x="160" y="139"/>
                  </a:lnTo>
                  <a:lnTo>
                    <a:pt x="130" y="159"/>
                  </a:lnTo>
                  <a:lnTo>
                    <a:pt x="120" y="169"/>
                  </a:lnTo>
                  <a:lnTo>
                    <a:pt x="110" y="169"/>
                  </a:lnTo>
                  <a:lnTo>
                    <a:pt x="110" y="179"/>
                  </a:lnTo>
                  <a:lnTo>
                    <a:pt x="100" y="189"/>
                  </a:lnTo>
                  <a:lnTo>
                    <a:pt x="80" y="199"/>
                  </a:lnTo>
                  <a:lnTo>
                    <a:pt x="80" y="199"/>
                  </a:lnTo>
                  <a:lnTo>
                    <a:pt x="80" y="199"/>
                  </a:lnTo>
                  <a:lnTo>
                    <a:pt x="70" y="199"/>
                  </a:lnTo>
                  <a:lnTo>
                    <a:pt x="50" y="199"/>
                  </a:lnTo>
                  <a:lnTo>
                    <a:pt x="20" y="199"/>
                  </a:lnTo>
                  <a:lnTo>
                    <a:pt x="11" y="209"/>
                  </a:lnTo>
                  <a:lnTo>
                    <a:pt x="11" y="209"/>
                  </a:lnTo>
                  <a:lnTo>
                    <a:pt x="11" y="219"/>
                  </a:lnTo>
                  <a:lnTo>
                    <a:pt x="20" y="219"/>
                  </a:lnTo>
                  <a:lnTo>
                    <a:pt x="11" y="219"/>
                  </a:lnTo>
                  <a:lnTo>
                    <a:pt x="0" y="219"/>
                  </a:lnTo>
                  <a:lnTo>
                    <a:pt x="0" y="219"/>
                  </a:lnTo>
                  <a:lnTo>
                    <a:pt x="0" y="199"/>
                  </a:lnTo>
                  <a:lnTo>
                    <a:pt x="0" y="189"/>
                  </a:lnTo>
                  <a:lnTo>
                    <a:pt x="0" y="179"/>
                  </a:lnTo>
                  <a:lnTo>
                    <a:pt x="60" y="149"/>
                  </a:lnTo>
                  <a:lnTo>
                    <a:pt x="90" y="119"/>
                  </a:lnTo>
                  <a:lnTo>
                    <a:pt x="110" y="110"/>
                  </a:lnTo>
                  <a:lnTo>
                    <a:pt x="130" y="90"/>
                  </a:lnTo>
                  <a:lnTo>
                    <a:pt x="140" y="80"/>
                  </a:lnTo>
                  <a:lnTo>
                    <a:pt x="179" y="50"/>
                  </a:lnTo>
                  <a:lnTo>
                    <a:pt x="199" y="40"/>
                  </a:lnTo>
                  <a:lnTo>
                    <a:pt x="209" y="30"/>
                  </a:lnTo>
                  <a:lnTo>
                    <a:pt x="209" y="30"/>
                  </a:lnTo>
                  <a:lnTo>
                    <a:pt x="239" y="20"/>
                  </a:lnTo>
                  <a:lnTo>
                    <a:pt x="259" y="10"/>
                  </a:lnTo>
                  <a:lnTo>
                    <a:pt x="279" y="0"/>
                  </a:lnTo>
                  <a:lnTo>
                    <a:pt x="289" y="0"/>
                  </a:lnTo>
                  <a:lnTo>
                    <a:pt x="318" y="10"/>
                  </a:lnTo>
                  <a:lnTo>
                    <a:pt x="318" y="20"/>
                  </a:lnTo>
                  <a:lnTo>
                    <a:pt x="309" y="30"/>
                  </a:lnTo>
                  <a:lnTo>
                    <a:pt x="309" y="30"/>
                  </a:lnTo>
                  <a:lnTo>
                    <a:pt x="309" y="30"/>
                  </a:lnTo>
                  <a:lnTo>
                    <a:pt x="298" y="30"/>
                  </a:lnTo>
                  <a:lnTo>
                    <a:pt x="289" y="30"/>
                  </a:lnTo>
                  <a:lnTo>
                    <a:pt x="269"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3" name="Freeform 610">
              <a:extLst>
                <a:ext uri="{FF2B5EF4-FFF2-40B4-BE49-F238E27FC236}">
                  <a16:creationId xmlns:a16="http://schemas.microsoft.com/office/drawing/2014/main" id="{DB2BB5C5-8171-4730-6BF8-B03FA00CD441}"/>
                </a:ext>
              </a:extLst>
            </p:cNvPr>
            <p:cNvSpPr>
              <a:spLocks/>
            </p:cNvSpPr>
            <p:nvPr/>
          </p:nvSpPr>
          <p:spPr bwMode="auto">
            <a:xfrm>
              <a:off x="12675553" y="4578215"/>
              <a:ext cx="733690" cy="404229"/>
            </a:xfrm>
            <a:custGeom>
              <a:avLst/>
              <a:gdLst/>
              <a:ahLst/>
              <a:cxnLst>
                <a:cxn ang="0">
                  <a:pos x="298" y="229"/>
                </a:cxn>
                <a:cxn ang="0">
                  <a:pos x="308" y="249"/>
                </a:cxn>
                <a:cxn ang="0">
                  <a:pos x="298" y="258"/>
                </a:cxn>
                <a:cxn ang="0">
                  <a:pos x="268" y="258"/>
                </a:cxn>
                <a:cxn ang="0">
                  <a:pos x="228" y="278"/>
                </a:cxn>
                <a:cxn ang="0">
                  <a:pos x="219" y="268"/>
                </a:cxn>
                <a:cxn ang="0">
                  <a:pos x="199" y="239"/>
                </a:cxn>
                <a:cxn ang="0">
                  <a:pos x="199" y="219"/>
                </a:cxn>
                <a:cxn ang="0">
                  <a:pos x="179" y="239"/>
                </a:cxn>
                <a:cxn ang="0">
                  <a:pos x="159" y="239"/>
                </a:cxn>
                <a:cxn ang="0">
                  <a:pos x="129" y="249"/>
                </a:cxn>
                <a:cxn ang="0">
                  <a:pos x="119" y="278"/>
                </a:cxn>
                <a:cxn ang="0">
                  <a:pos x="99" y="298"/>
                </a:cxn>
                <a:cxn ang="0">
                  <a:pos x="79" y="308"/>
                </a:cxn>
                <a:cxn ang="0">
                  <a:pos x="50" y="308"/>
                </a:cxn>
                <a:cxn ang="0">
                  <a:pos x="30" y="298"/>
                </a:cxn>
                <a:cxn ang="0">
                  <a:pos x="20" y="298"/>
                </a:cxn>
                <a:cxn ang="0">
                  <a:pos x="0" y="288"/>
                </a:cxn>
                <a:cxn ang="0">
                  <a:pos x="0" y="268"/>
                </a:cxn>
                <a:cxn ang="0">
                  <a:pos x="10" y="249"/>
                </a:cxn>
                <a:cxn ang="0">
                  <a:pos x="20" y="219"/>
                </a:cxn>
                <a:cxn ang="0">
                  <a:pos x="50" y="169"/>
                </a:cxn>
                <a:cxn ang="0">
                  <a:pos x="59" y="149"/>
                </a:cxn>
                <a:cxn ang="0">
                  <a:pos x="79" y="119"/>
                </a:cxn>
                <a:cxn ang="0">
                  <a:pos x="89" y="109"/>
                </a:cxn>
                <a:cxn ang="0">
                  <a:pos x="139" y="80"/>
                </a:cxn>
                <a:cxn ang="0">
                  <a:pos x="159" y="50"/>
                </a:cxn>
                <a:cxn ang="0">
                  <a:pos x="179" y="40"/>
                </a:cxn>
                <a:cxn ang="0">
                  <a:pos x="219" y="40"/>
                </a:cxn>
                <a:cxn ang="0">
                  <a:pos x="238" y="30"/>
                </a:cxn>
                <a:cxn ang="0">
                  <a:pos x="298" y="50"/>
                </a:cxn>
                <a:cxn ang="0">
                  <a:pos x="338" y="20"/>
                </a:cxn>
                <a:cxn ang="0">
                  <a:pos x="377" y="70"/>
                </a:cxn>
                <a:cxn ang="0">
                  <a:pos x="407" y="40"/>
                </a:cxn>
                <a:cxn ang="0">
                  <a:pos x="447" y="20"/>
                </a:cxn>
                <a:cxn ang="0">
                  <a:pos x="487" y="0"/>
                </a:cxn>
                <a:cxn ang="0">
                  <a:pos x="497" y="20"/>
                </a:cxn>
                <a:cxn ang="0">
                  <a:pos x="546" y="50"/>
                </a:cxn>
                <a:cxn ang="0">
                  <a:pos x="526" y="70"/>
                </a:cxn>
                <a:cxn ang="0">
                  <a:pos x="477" y="129"/>
                </a:cxn>
                <a:cxn ang="0">
                  <a:pos x="387" y="189"/>
                </a:cxn>
                <a:cxn ang="0">
                  <a:pos x="348" y="219"/>
                </a:cxn>
                <a:cxn ang="0">
                  <a:pos x="308" y="229"/>
                </a:cxn>
              </a:cxnLst>
              <a:rect l="0" t="0" r="r" b="b"/>
              <a:pathLst>
                <a:path w="546" h="308">
                  <a:moveTo>
                    <a:pt x="308" y="229"/>
                  </a:moveTo>
                  <a:lnTo>
                    <a:pt x="298" y="229"/>
                  </a:lnTo>
                  <a:lnTo>
                    <a:pt x="298" y="229"/>
                  </a:lnTo>
                  <a:lnTo>
                    <a:pt x="298" y="229"/>
                  </a:lnTo>
                  <a:lnTo>
                    <a:pt x="308" y="249"/>
                  </a:lnTo>
                  <a:lnTo>
                    <a:pt x="308" y="249"/>
                  </a:lnTo>
                  <a:lnTo>
                    <a:pt x="308" y="258"/>
                  </a:lnTo>
                  <a:lnTo>
                    <a:pt x="308" y="258"/>
                  </a:lnTo>
                  <a:lnTo>
                    <a:pt x="298" y="258"/>
                  </a:lnTo>
                  <a:lnTo>
                    <a:pt x="288" y="268"/>
                  </a:lnTo>
                  <a:lnTo>
                    <a:pt x="268" y="278"/>
                  </a:lnTo>
                  <a:lnTo>
                    <a:pt x="268" y="258"/>
                  </a:lnTo>
                  <a:lnTo>
                    <a:pt x="238" y="268"/>
                  </a:lnTo>
                  <a:lnTo>
                    <a:pt x="228" y="278"/>
                  </a:lnTo>
                  <a:lnTo>
                    <a:pt x="228" y="278"/>
                  </a:lnTo>
                  <a:lnTo>
                    <a:pt x="228" y="268"/>
                  </a:lnTo>
                  <a:lnTo>
                    <a:pt x="219" y="268"/>
                  </a:lnTo>
                  <a:lnTo>
                    <a:pt x="219" y="268"/>
                  </a:lnTo>
                  <a:lnTo>
                    <a:pt x="219" y="268"/>
                  </a:lnTo>
                  <a:lnTo>
                    <a:pt x="208" y="258"/>
                  </a:lnTo>
                  <a:lnTo>
                    <a:pt x="199" y="239"/>
                  </a:lnTo>
                  <a:lnTo>
                    <a:pt x="199" y="219"/>
                  </a:lnTo>
                  <a:lnTo>
                    <a:pt x="199" y="219"/>
                  </a:lnTo>
                  <a:lnTo>
                    <a:pt x="199" y="219"/>
                  </a:lnTo>
                  <a:lnTo>
                    <a:pt x="179" y="229"/>
                  </a:lnTo>
                  <a:lnTo>
                    <a:pt x="179" y="229"/>
                  </a:lnTo>
                  <a:lnTo>
                    <a:pt x="179" y="239"/>
                  </a:lnTo>
                  <a:lnTo>
                    <a:pt x="179" y="239"/>
                  </a:lnTo>
                  <a:lnTo>
                    <a:pt x="159" y="229"/>
                  </a:lnTo>
                  <a:lnTo>
                    <a:pt x="159" y="239"/>
                  </a:lnTo>
                  <a:lnTo>
                    <a:pt x="139" y="239"/>
                  </a:lnTo>
                  <a:lnTo>
                    <a:pt x="139" y="239"/>
                  </a:lnTo>
                  <a:lnTo>
                    <a:pt x="129" y="249"/>
                  </a:lnTo>
                  <a:lnTo>
                    <a:pt x="129" y="258"/>
                  </a:lnTo>
                  <a:lnTo>
                    <a:pt x="119" y="268"/>
                  </a:lnTo>
                  <a:lnTo>
                    <a:pt x="119" y="278"/>
                  </a:lnTo>
                  <a:lnTo>
                    <a:pt x="109" y="288"/>
                  </a:lnTo>
                  <a:lnTo>
                    <a:pt x="99" y="288"/>
                  </a:lnTo>
                  <a:lnTo>
                    <a:pt x="99" y="298"/>
                  </a:lnTo>
                  <a:lnTo>
                    <a:pt x="89" y="298"/>
                  </a:lnTo>
                  <a:lnTo>
                    <a:pt x="79" y="308"/>
                  </a:lnTo>
                  <a:lnTo>
                    <a:pt x="79" y="308"/>
                  </a:lnTo>
                  <a:lnTo>
                    <a:pt x="70" y="308"/>
                  </a:lnTo>
                  <a:lnTo>
                    <a:pt x="59" y="308"/>
                  </a:lnTo>
                  <a:lnTo>
                    <a:pt x="50" y="308"/>
                  </a:lnTo>
                  <a:lnTo>
                    <a:pt x="40" y="298"/>
                  </a:lnTo>
                  <a:lnTo>
                    <a:pt x="40" y="298"/>
                  </a:lnTo>
                  <a:lnTo>
                    <a:pt x="30" y="298"/>
                  </a:lnTo>
                  <a:lnTo>
                    <a:pt x="30" y="298"/>
                  </a:lnTo>
                  <a:lnTo>
                    <a:pt x="20" y="298"/>
                  </a:lnTo>
                  <a:lnTo>
                    <a:pt x="20" y="298"/>
                  </a:lnTo>
                  <a:lnTo>
                    <a:pt x="20" y="288"/>
                  </a:lnTo>
                  <a:lnTo>
                    <a:pt x="10" y="288"/>
                  </a:lnTo>
                  <a:lnTo>
                    <a:pt x="0" y="288"/>
                  </a:lnTo>
                  <a:lnTo>
                    <a:pt x="0" y="278"/>
                  </a:lnTo>
                  <a:lnTo>
                    <a:pt x="0" y="278"/>
                  </a:lnTo>
                  <a:lnTo>
                    <a:pt x="0" y="268"/>
                  </a:lnTo>
                  <a:lnTo>
                    <a:pt x="0" y="268"/>
                  </a:lnTo>
                  <a:lnTo>
                    <a:pt x="10" y="258"/>
                  </a:lnTo>
                  <a:lnTo>
                    <a:pt x="10" y="249"/>
                  </a:lnTo>
                  <a:lnTo>
                    <a:pt x="20" y="229"/>
                  </a:lnTo>
                  <a:lnTo>
                    <a:pt x="20" y="219"/>
                  </a:lnTo>
                  <a:lnTo>
                    <a:pt x="20" y="219"/>
                  </a:lnTo>
                  <a:lnTo>
                    <a:pt x="30" y="199"/>
                  </a:lnTo>
                  <a:lnTo>
                    <a:pt x="40" y="179"/>
                  </a:lnTo>
                  <a:lnTo>
                    <a:pt x="50" y="169"/>
                  </a:lnTo>
                  <a:lnTo>
                    <a:pt x="50" y="159"/>
                  </a:lnTo>
                  <a:lnTo>
                    <a:pt x="50" y="159"/>
                  </a:lnTo>
                  <a:lnTo>
                    <a:pt x="59" y="149"/>
                  </a:lnTo>
                  <a:lnTo>
                    <a:pt x="70" y="129"/>
                  </a:lnTo>
                  <a:lnTo>
                    <a:pt x="79" y="119"/>
                  </a:lnTo>
                  <a:lnTo>
                    <a:pt x="79" y="119"/>
                  </a:lnTo>
                  <a:lnTo>
                    <a:pt x="79" y="119"/>
                  </a:lnTo>
                  <a:lnTo>
                    <a:pt x="79" y="109"/>
                  </a:lnTo>
                  <a:lnTo>
                    <a:pt x="89" y="109"/>
                  </a:lnTo>
                  <a:lnTo>
                    <a:pt x="109" y="100"/>
                  </a:lnTo>
                  <a:lnTo>
                    <a:pt x="139" y="90"/>
                  </a:lnTo>
                  <a:lnTo>
                    <a:pt x="139" y="80"/>
                  </a:lnTo>
                  <a:lnTo>
                    <a:pt x="149" y="70"/>
                  </a:lnTo>
                  <a:lnTo>
                    <a:pt x="159" y="60"/>
                  </a:lnTo>
                  <a:lnTo>
                    <a:pt x="159" y="50"/>
                  </a:lnTo>
                  <a:lnTo>
                    <a:pt x="169" y="40"/>
                  </a:lnTo>
                  <a:lnTo>
                    <a:pt x="179" y="40"/>
                  </a:lnTo>
                  <a:lnTo>
                    <a:pt x="179" y="40"/>
                  </a:lnTo>
                  <a:lnTo>
                    <a:pt x="189" y="40"/>
                  </a:lnTo>
                  <a:lnTo>
                    <a:pt x="199" y="40"/>
                  </a:lnTo>
                  <a:lnTo>
                    <a:pt x="219" y="40"/>
                  </a:lnTo>
                  <a:lnTo>
                    <a:pt x="228" y="30"/>
                  </a:lnTo>
                  <a:lnTo>
                    <a:pt x="228" y="20"/>
                  </a:lnTo>
                  <a:lnTo>
                    <a:pt x="238" y="30"/>
                  </a:lnTo>
                  <a:lnTo>
                    <a:pt x="278" y="60"/>
                  </a:lnTo>
                  <a:lnTo>
                    <a:pt x="288" y="60"/>
                  </a:lnTo>
                  <a:lnTo>
                    <a:pt x="298" y="50"/>
                  </a:lnTo>
                  <a:lnTo>
                    <a:pt x="308" y="40"/>
                  </a:lnTo>
                  <a:lnTo>
                    <a:pt x="328" y="30"/>
                  </a:lnTo>
                  <a:lnTo>
                    <a:pt x="338" y="20"/>
                  </a:lnTo>
                  <a:lnTo>
                    <a:pt x="357" y="40"/>
                  </a:lnTo>
                  <a:lnTo>
                    <a:pt x="368" y="60"/>
                  </a:lnTo>
                  <a:lnTo>
                    <a:pt x="377" y="70"/>
                  </a:lnTo>
                  <a:lnTo>
                    <a:pt x="377" y="60"/>
                  </a:lnTo>
                  <a:lnTo>
                    <a:pt x="397" y="50"/>
                  </a:lnTo>
                  <a:lnTo>
                    <a:pt x="407" y="40"/>
                  </a:lnTo>
                  <a:lnTo>
                    <a:pt x="417" y="40"/>
                  </a:lnTo>
                  <a:lnTo>
                    <a:pt x="437" y="30"/>
                  </a:lnTo>
                  <a:lnTo>
                    <a:pt x="447" y="20"/>
                  </a:lnTo>
                  <a:lnTo>
                    <a:pt x="467" y="20"/>
                  </a:lnTo>
                  <a:lnTo>
                    <a:pt x="477" y="10"/>
                  </a:lnTo>
                  <a:lnTo>
                    <a:pt x="487" y="0"/>
                  </a:lnTo>
                  <a:lnTo>
                    <a:pt x="497" y="10"/>
                  </a:lnTo>
                  <a:lnTo>
                    <a:pt x="487" y="10"/>
                  </a:lnTo>
                  <a:lnTo>
                    <a:pt x="497" y="20"/>
                  </a:lnTo>
                  <a:lnTo>
                    <a:pt x="506" y="40"/>
                  </a:lnTo>
                  <a:lnTo>
                    <a:pt x="546" y="40"/>
                  </a:lnTo>
                  <a:lnTo>
                    <a:pt x="546" y="50"/>
                  </a:lnTo>
                  <a:lnTo>
                    <a:pt x="546" y="60"/>
                  </a:lnTo>
                  <a:lnTo>
                    <a:pt x="526" y="70"/>
                  </a:lnTo>
                  <a:lnTo>
                    <a:pt x="526" y="70"/>
                  </a:lnTo>
                  <a:lnTo>
                    <a:pt x="497" y="109"/>
                  </a:lnTo>
                  <a:lnTo>
                    <a:pt x="487" y="119"/>
                  </a:lnTo>
                  <a:lnTo>
                    <a:pt x="477" y="129"/>
                  </a:lnTo>
                  <a:lnTo>
                    <a:pt x="437" y="149"/>
                  </a:lnTo>
                  <a:lnTo>
                    <a:pt x="417" y="169"/>
                  </a:lnTo>
                  <a:lnTo>
                    <a:pt x="387" y="189"/>
                  </a:lnTo>
                  <a:lnTo>
                    <a:pt x="387" y="189"/>
                  </a:lnTo>
                  <a:lnTo>
                    <a:pt x="357" y="209"/>
                  </a:lnTo>
                  <a:lnTo>
                    <a:pt x="348" y="219"/>
                  </a:lnTo>
                  <a:lnTo>
                    <a:pt x="338" y="229"/>
                  </a:lnTo>
                  <a:lnTo>
                    <a:pt x="338" y="229"/>
                  </a:lnTo>
                  <a:lnTo>
                    <a:pt x="308" y="2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4" name="Freeform 611">
              <a:extLst>
                <a:ext uri="{FF2B5EF4-FFF2-40B4-BE49-F238E27FC236}">
                  <a16:creationId xmlns:a16="http://schemas.microsoft.com/office/drawing/2014/main" id="{9070F146-48B6-4939-4399-6D016FE5A3E8}"/>
                </a:ext>
              </a:extLst>
            </p:cNvPr>
            <p:cNvSpPr>
              <a:spLocks/>
            </p:cNvSpPr>
            <p:nvPr/>
          </p:nvSpPr>
          <p:spPr bwMode="auto">
            <a:xfrm>
              <a:off x="11861238" y="4395787"/>
              <a:ext cx="360126" cy="456726"/>
            </a:xfrm>
            <a:custGeom>
              <a:avLst/>
              <a:gdLst/>
              <a:ahLst/>
              <a:cxnLst>
                <a:cxn ang="0">
                  <a:pos x="40" y="229"/>
                </a:cxn>
                <a:cxn ang="0">
                  <a:pos x="50" y="229"/>
                </a:cxn>
                <a:cxn ang="0">
                  <a:pos x="60" y="229"/>
                </a:cxn>
                <a:cxn ang="0">
                  <a:pos x="70" y="209"/>
                </a:cxn>
                <a:cxn ang="0">
                  <a:pos x="70" y="189"/>
                </a:cxn>
                <a:cxn ang="0">
                  <a:pos x="70" y="189"/>
                </a:cxn>
                <a:cxn ang="0">
                  <a:pos x="60" y="159"/>
                </a:cxn>
                <a:cxn ang="0">
                  <a:pos x="60" y="139"/>
                </a:cxn>
                <a:cxn ang="0">
                  <a:pos x="70" y="139"/>
                </a:cxn>
                <a:cxn ang="0">
                  <a:pos x="70" y="119"/>
                </a:cxn>
                <a:cxn ang="0">
                  <a:pos x="70" y="109"/>
                </a:cxn>
                <a:cxn ang="0">
                  <a:pos x="99" y="90"/>
                </a:cxn>
                <a:cxn ang="0">
                  <a:pos x="80" y="109"/>
                </a:cxn>
                <a:cxn ang="0">
                  <a:pos x="70" y="90"/>
                </a:cxn>
                <a:cxn ang="0">
                  <a:pos x="60" y="40"/>
                </a:cxn>
                <a:cxn ang="0">
                  <a:pos x="60" y="20"/>
                </a:cxn>
                <a:cxn ang="0">
                  <a:pos x="70" y="0"/>
                </a:cxn>
                <a:cxn ang="0">
                  <a:pos x="99" y="50"/>
                </a:cxn>
                <a:cxn ang="0">
                  <a:pos x="109" y="50"/>
                </a:cxn>
                <a:cxn ang="0">
                  <a:pos x="119" y="40"/>
                </a:cxn>
                <a:cxn ang="0">
                  <a:pos x="139" y="40"/>
                </a:cxn>
                <a:cxn ang="0">
                  <a:pos x="139" y="40"/>
                </a:cxn>
                <a:cxn ang="0">
                  <a:pos x="159" y="50"/>
                </a:cxn>
                <a:cxn ang="0">
                  <a:pos x="179" y="30"/>
                </a:cxn>
                <a:cxn ang="0">
                  <a:pos x="199" y="30"/>
                </a:cxn>
                <a:cxn ang="0">
                  <a:pos x="199" y="30"/>
                </a:cxn>
                <a:cxn ang="0">
                  <a:pos x="189" y="70"/>
                </a:cxn>
                <a:cxn ang="0">
                  <a:pos x="189" y="99"/>
                </a:cxn>
                <a:cxn ang="0">
                  <a:pos x="258" y="129"/>
                </a:cxn>
                <a:cxn ang="0">
                  <a:pos x="258" y="149"/>
                </a:cxn>
                <a:cxn ang="0">
                  <a:pos x="199" y="179"/>
                </a:cxn>
                <a:cxn ang="0">
                  <a:pos x="179" y="219"/>
                </a:cxn>
                <a:cxn ang="0">
                  <a:pos x="179" y="258"/>
                </a:cxn>
                <a:cxn ang="0">
                  <a:pos x="179" y="268"/>
                </a:cxn>
                <a:cxn ang="0">
                  <a:pos x="189" y="278"/>
                </a:cxn>
                <a:cxn ang="0">
                  <a:pos x="179" y="298"/>
                </a:cxn>
                <a:cxn ang="0">
                  <a:pos x="169" y="298"/>
                </a:cxn>
                <a:cxn ang="0">
                  <a:pos x="159" y="308"/>
                </a:cxn>
                <a:cxn ang="0">
                  <a:pos x="149" y="298"/>
                </a:cxn>
                <a:cxn ang="0">
                  <a:pos x="119" y="298"/>
                </a:cxn>
                <a:cxn ang="0">
                  <a:pos x="90" y="298"/>
                </a:cxn>
                <a:cxn ang="0">
                  <a:pos x="109" y="328"/>
                </a:cxn>
                <a:cxn ang="0">
                  <a:pos x="109" y="328"/>
                </a:cxn>
                <a:cxn ang="0">
                  <a:pos x="109" y="348"/>
                </a:cxn>
                <a:cxn ang="0">
                  <a:pos x="90" y="348"/>
                </a:cxn>
                <a:cxn ang="0">
                  <a:pos x="60" y="328"/>
                </a:cxn>
                <a:cxn ang="0">
                  <a:pos x="30" y="308"/>
                </a:cxn>
                <a:cxn ang="0">
                  <a:pos x="10" y="298"/>
                </a:cxn>
                <a:cxn ang="0">
                  <a:pos x="10" y="288"/>
                </a:cxn>
                <a:cxn ang="0">
                  <a:pos x="10" y="288"/>
                </a:cxn>
                <a:cxn ang="0">
                  <a:pos x="10" y="278"/>
                </a:cxn>
                <a:cxn ang="0">
                  <a:pos x="0" y="268"/>
                </a:cxn>
                <a:cxn ang="0">
                  <a:pos x="20" y="248"/>
                </a:cxn>
              </a:cxnLst>
              <a:rect l="0" t="0" r="r" b="b"/>
              <a:pathLst>
                <a:path w="268" h="348">
                  <a:moveTo>
                    <a:pt x="20" y="248"/>
                  </a:moveTo>
                  <a:lnTo>
                    <a:pt x="40" y="229"/>
                  </a:lnTo>
                  <a:lnTo>
                    <a:pt x="40" y="229"/>
                  </a:lnTo>
                  <a:lnTo>
                    <a:pt x="50" y="229"/>
                  </a:lnTo>
                  <a:lnTo>
                    <a:pt x="50" y="229"/>
                  </a:lnTo>
                  <a:lnTo>
                    <a:pt x="60" y="229"/>
                  </a:lnTo>
                  <a:lnTo>
                    <a:pt x="70" y="219"/>
                  </a:lnTo>
                  <a:lnTo>
                    <a:pt x="70" y="209"/>
                  </a:lnTo>
                  <a:lnTo>
                    <a:pt x="70" y="209"/>
                  </a:lnTo>
                  <a:lnTo>
                    <a:pt x="70" y="189"/>
                  </a:lnTo>
                  <a:lnTo>
                    <a:pt x="70" y="189"/>
                  </a:lnTo>
                  <a:lnTo>
                    <a:pt x="70" y="189"/>
                  </a:lnTo>
                  <a:lnTo>
                    <a:pt x="70" y="179"/>
                  </a:lnTo>
                  <a:lnTo>
                    <a:pt x="60" y="159"/>
                  </a:lnTo>
                  <a:lnTo>
                    <a:pt x="50" y="149"/>
                  </a:lnTo>
                  <a:lnTo>
                    <a:pt x="60" y="139"/>
                  </a:lnTo>
                  <a:lnTo>
                    <a:pt x="70" y="139"/>
                  </a:lnTo>
                  <a:lnTo>
                    <a:pt x="70" y="139"/>
                  </a:lnTo>
                  <a:lnTo>
                    <a:pt x="70" y="139"/>
                  </a:lnTo>
                  <a:lnTo>
                    <a:pt x="70" y="119"/>
                  </a:lnTo>
                  <a:lnTo>
                    <a:pt x="70" y="109"/>
                  </a:lnTo>
                  <a:lnTo>
                    <a:pt x="70" y="109"/>
                  </a:lnTo>
                  <a:lnTo>
                    <a:pt x="99" y="90"/>
                  </a:lnTo>
                  <a:lnTo>
                    <a:pt x="99" y="90"/>
                  </a:lnTo>
                  <a:lnTo>
                    <a:pt x="99" y="90"/>
                  </a:lnTo>
                  <a:lnTo>
                    <a:pt x="80" y="109"/>
                  </a:lnTo>
                  <a:lnTo>
                    <a:pt x="80" y="99"/>
                  </a:lnTo>
                  <a:lnTo>
                    <a:pt x="70" y="90"/>
                  </a:lnTo>
                  <a:lnTo>
                    <a:pt x="70" y="70"/>
                  </a:lnTo>
                  <a:lnTo>
                    <a:pt x="60" y="40"/>
                  </a:lnTo>
                  <a:lnTo>
                    <a:pt x="60" y="20"/>
                  </a:lnTo>
                  <a:lnTo>
                    <a:pt x="60" y="20"/>
                  </a:lnTo>
                  <a:lnTo>
                    <a:pt x="70" y="10"/>
                  </a:lnTo>
                  <a:lnTo>
                    <a:pt x="70" y="0"/>
                  </a:lnTo>
                  <a:lnTo>
                    <a:pt x="80" y="10"/>
                  </a:lnTo>
                  <a:lnTo>
                    <a:pt x="99" y="50"/>
                  </a:lnTo>
                  <a:lnTo>
                    <a:pt x="109" y="50"/>
                  </a:lnTo>
                  <a:lnTo>
                    <a:pt x="109" y="50"/>
                  </a:lnTo>
                  <a:lnTo>
                    <a:pt x="109" y="40"/>
                  </a:lnTo>
                  <a:lnTo>
                    <a:pt x="119" y="40"/>
                  </a:lnTo>
                  <a:lnTo>
                    <a:pt x="139" y="40"/>
                  </a:lnTo>
                  <a:lnTo>
                    <a:pt x="139" y="40"/>
                  </a:lnTo>
                  <a:lnTo>
                    <a:pt x="149" y="40"/>
                  </a:lnTo>
                  <a:lnTo>
                    <a:pt x="139" y="40"/>
                  </a:lnTo>
                  <a:lnTo>
                    <a:pt x="159" y="50"/>
                  </a:lnTo>
                  <a:lnTo>
                    <a:pt x="159" y="50"/>
                  </a:lnTo>
                  <a:lnTo>
                    <a:pt x="169" y="40"/>
                  </a:lnTo>
                  <a:lnTo>
                    <a:pt x="179" y="30"/>
                  </a:lnTo>
                  <a:lnTo>
                    <a:pt x="199" y="30"/>
                  </a:lnTo>
                  <a:lnTo>
                    <a:pt x="199" y="30"/>
                  </a:lnTo>
                  <a:lnTo>
                    <a:pt x="199" y="30"/>
                  </a:lnTo>
                  <a:lnTo>
                    <a:pt x="199" y="30"/>
                  </a:lnTo>
                  <a:lnTo>
                    <a:pt x="209" y="40"/>
                  </a:lnTo>
                  <a:lnTo>
                    <a:pt x="189" y="70"/>
                  </a:lnTo>
                  <a:lnTo>
                    <a:pt x="179" y="90"/>
                  </a:lnTo>
                  <a:lnTo>
                    <a:pt x="189" y="99"/>
                  </a:lnTo>
                  <a:lnTo>
                    <a:pt x="248" y="119"/>
                  </a:lnTo>
                  <a:lnTo>
                    <a:pt x="258" y="129"/>
                  </a:lnTo>
                  <a:lnTo>
                    <a:pt x="268" y="139"/>
                  </a:lnTo>
                  <a:lnTo>
                    <a:pt x="258" y="149"/>
                  </a:lnTo>
                  <a:lnTo>
                    <a:pt x="238" y="159"/>
                  </a:lnTo>
                  <a:lnTo>
                    <a:pt x="199" y="179"/>
                  </a:lnTo>
                  <a:lnTo>
                    <a:pt x="179" y="209"/>
                  </a:lnTo>
                  <a:lnTo>
                    <a:pt x="179" y="219"/>
                  </a:lnTo>
                  <a:lnTo>
                    <a:pt x="159" y="239"/>
                  </a:lnTo>
                  <a:lnTo>
                    <a:pt x="179" y="258"/>
                  </a:lnTo>
                  <a:lnTo>
                    <a:pt x="179" y="268"/>
                  </a:lnTo>
                  <a:lnTo>
                    <a:pt x="179" y="268"/>
                  </a:lnTo>
                  <a:lnTo>
                    <a:pt x="179" y="278"/>
                  </a:lnTo>
                  <a:lnTo>
                    <a:pt x="189" y="278"/>
                  </a:lnTo>
                  <a:lnTo>
                    <a:pt x="189" y="288"/>
                  </a:lnTo>
                  <a:lnTo>
                    <a:pt x="179" y="298"/>
                  </a:lnTo>
                  <a:lnTo>
                    <a:pt x="179" y="298"/>
                  </a:lnTo>
                  <a:lnTo>
                    <a:pt x="169" y="298"/>
                  </a:lnTo>
                  <a:lnTo>
                    <a:pt x="159" y="308"/>
                  </a:lnTo>
                  <a:lnTo>
                    <a:pt x="159" y="308"/>
                  </a:lnTo>
                  <a:lnTo>
                    <a:pt x="159" y="298"/>
                  </a:lnTo>
                  <a:lnTo>
                    <a:pt x="149" y="298"/>
                  </a:lnTo>
                  <a:lnTo>
                    <a:pt x="139" y="298"/>
                  </a:lnTo>
                  <a:lnTo>
                    <a:pt x="119" y="298"/>
                  </a:lnTo>
                  <a:lnTo>
                    <a:pt x="99" y="298"/>
                  </a:lnTo>
                  <a:lnTo>
                    <a:pt x="90" y="298"/>
                  </a:lnTo>
                  <a:lnTo>
                    <a:pt x="99" y="308"/>
                  </a:lnTo>
                  <a:lnTo>
                    <a:pt x="109" y="328"/>
                  </a:lnTo>
                  <a:lnTo>
                    <a:pt x="109" y="328"/>
                  </a:lnTo>
                  <a:lnTo>
                    <a:pt x="109" y="328"/>
                  </a:lnTo>
                  <a:lnTo>
                    <a:pt x="109" y="348"/>
                  </a:lnTo>
                  <a:lnTo>
                    <a:pt x="109" y="348"/>
                  </a:lnTo>
                  <a:lnTo>
                    <a:pt x="99" y="348"/>
                  </a:lnTo>
                  <a:lnTo>
                    <a:pt x="90" y="348"/>
                  </a:lnTo>
                  <a:lnTo>
                    <a:pt x="80" y="348"/>
                  </a:lnTo>
                  <a:lnTo>
                    <a:pt x="60" y="328"/>
                  </a:lnTo>
                  <a:lnTo>
                    <a:pt x="40" y="308"/>
                  </a:lnTo>
                  <a:lnTo>
                    <a:pt x="30" y="308"/>
                  </a:lnTo>
                  <a:lnTo>
                    <a:pt x="30" y="298"/>
                  </a:lnTo>
                  <a:lnTo>
                    <a:pt x="10" y="298"/>
                  </a:lnTo>
                  <a:lnTo>
                    <a:pt x="10" y="298"/>
                  </a:lnTo>
                  <a:lnTo>
                    <a:pt x="10" y="288"/>
                  </a:lnTo>
                  <a:lnTo>
                    <a:pt x="10" y="288"/>
                  </a:lnTo>
                  <a:lnTo>
                    <a:pt x="10" y="288"/>
                  </a:lnTo>
                  <a:lnTo>
                    <a:pt x="10" y="288"/>
                  </a:lnTo>
                  <a:lnTo>
                    <a:pt x="10" y="278"/>
                  </a:lnTo>
                  <a:lnTo>
                    <a:pt x="0" y="268"/>
                  </a:lnTo>
                  <a:lnTo>
                    <a:pt x="0" y="268"/>
                  </a:lnTo>
                  <a:lnTo>
                    <a:pt x="10" y="258"/>
                  </a:lnTo>
                  <a:lnTo>
                    <a:pt x="20" y="24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5" name="Freeform 617">
              <a:extLst>
                <a:ext uri="{FF2B5EF4-FFF2-40B4-BE49-F238E27FC236}">
                  <a16:creationId xmlns:a16="http://schemas.microsoft.com/office/drawing/2014/main" id="{FB70F01E-41AB-F79A-F846-E3516E878E1F}"/>
                </a:ext>
              </a:extLst>
            </p:cNvPr>
            <p:cNvSpPr>
              <a:spLocks/>
            </p:cNvSpPr>
            <p:nvPr/>
          </p:nvSpPr>
          <p:spPr bwMode="auto">
            <a:xfrm>
              <a:off x="12155520" y="3912812"/>
              <a:ext cx="413876" cy="326795"/>
            </a:xfrm>
            <a:custGeom>
              <a:avLst/>
              <a:gdLst/>
              <a:ahLst/>
              <a:cxnLst>
                <a:cxn ang="0">
                  <a:pos x="10" y="179"/>
                </a:cxn>
                <a:cxn ang="0">
                  <a:pos x="0" y="160"/>
                </a:cxn>
                <a:cxn ang="0">
                  <a:pos x="10" y="140"/>
                </a:cxn>
                <a:cxn ang="0">
                  <a:pos x="19" y="140"/>
                </a:cxn>
                <a:cxn ang="0">
                  <a:pos x="29" y="120"/>
                </a:cxn>
                <a:cxn ang="0">
                  <a:pos x="29" y="110"/>
                </a:cxn>
                <a:cxn ang="0">
                  <a:pos x="29" y="100"/>
                </a:cxn>
                <a:cxn ang="0">
                  <a:pos x="39" y="110"/>
                </a:cxn>
                <a:cxn ang="0">
                  <a:pos x="49" y="110"/>
                </a:cxn>
                <a:cxn ang="0">
                  <a:pos x="69" y="110"/>
                </a:cxn>
                <a:cxn ang="0">
                  <a:pos x="79" y="110"/>
                </a:cxn>
                <a:cxn ang="0">
                  <a:pos x="79" y="100"/>
                </a:cxn>
                <a:cxn ang="0">
                  <a:pos x="99" y="90"/>
                </a:cxn>
                <a:cxn ang="0">
                  <a:pos x="99" y="70"/>
                </a:cxn>
                <a:cxn ang="0">
                  <a:pos x="89" y="50"/>
                </a:cxn>
                <a:cxn ang="0">
                  <a:pos x="69" y="40"/>
                </a:cxn>
                <a:cxn ang="0">
                  <a:pos x="79" y="20"/>
                </a:cxn>
                <a:cxn ang="0">
                  <a:pos x="99" y="0"/>
                </a:cxn>
                <a:cxn ang="0">
                  <a:pos x="129" y="20"/>
                </a:cxn>
                <a:cxn ang="0">
                  <a:pos x="129" y="30"/>
                </a:cxn>
                <a:cxn ang="0">
                  <a:pos x="159" y="30"/>
                </a:cxn>
                <a:cxn ang="0">
                  <a:pos x="178" y="20"/>
                </a:cxn>
                <a:cxn ang="0">
                  <a:pos x="198" y="10"/>
                </a:cxn>
                <a:cxn ang="0">
                  <a:pos x="218" y="10"/>
                </a:cxn>
                <a:cxn ang="0">
                  <a:pos x="228" y="20"/>
                </a:cxn>
                <a:cxn ang="0">
                  <a:pos x="248" y="20"/>
                </a:cxn>
                <a:cxn ang="0">
                  <a:pos x="268" y="30"/>
                </a:cxn>
                <a:cxn ang="0">
                  <a:pos x="308" y="20"/>
                </a:cxn>
                <a:cxn ang="0">
                  <a:pos x="308" y="60"/>
                </a:cxn>
                <a:cxn ang="0">
                  <a:pos x="308" y="90"/>
                </a:cxn>
                <a:cxn ang="0">
                  <a:pos x="297" y="130"/>
                </a:cxn>
                <a:cxn ang="0">
                  <a:pos x="258" y="179"/>
                </a:cxn>
                <a:cxn ang="0">
                  <a:pos x="238" y="199"/>
                </a:cxn>
                <a:cxn ang="0">
                  <a:pos x="198" y="239"/>
                </a:cxn>
                <a:cxn ang="0">
                  <a:pos x="168" y="249"/>
                </a:cxn>
                <a:cxn ang="0">
                  <a:pos x="159" y="249"/>
                </a:cxn>
                <a:cxn ang="0">
                  <a:pos x="139" y="239"/>
                </a:cxn>
                <a:cxn ang="0">
                  <a:pos x="109" y="239"/>
                </a:cxn>
                <a:cxn ang="0">
                  <a:pos x="99" y="249"/>
                </a:cxn>
                <a:cxn ang="0">
                  <a:pos x="89" y="239"/>
                </a:cxn>
                <a:cxn ang="0">
                  <a:pos x="89" y="219"/>
                </a:cxn>
                <a:cxn ang="0">
                  <a:pos x="59" y="209"/>
                </a:cxn>
                <a:cxn ang="0">
                  <a:pos x="39" y="179"/>
                </a:cxn>
              </a:cxnLst>
              <a:rect l="0" t="0" r="r" b="b"/>
              <a:pathLst>
                <a:path w="308" h="249">
                  <a:moveTo>
                    <a:pt x="29" y="179"/>
                  </a:moveTo>
                  <a:lnTo>
                    <a:pt x="19" y="179"/>
                  </a:lnTo>
                  <a:lnTo>
                    <a:pt x="10" y="179"/>
                  </a:lnTo>
                  <a:lnTo>
                    <a:pt x="0" y="169"/>
                  </a:lnTo>
                  <a:lnTo>
                    <a:pt x="0" y="169"/>
                  </a:lnTo>
                  <a:lnTo>
                    <a:pt x="0" y="160"/>
                  </a:lnTo>
                  <a:lnTo>
                    <a:pt x="0" y="149"/>
                  </a:lnTo>
                  <a:lnTo>
                    <a:pt x="10" y="140"/>
                  </a:lnTo>
                  <a:lnTo>
                    <a:pt x="10" y="140"/>
                  </a:lnTo>
                  <a:lnTo>
                    <a:pt x="10" y="140"/>
                  </a:lnTo>
                  <a:lnTo>
                    <a:pt x="19" y="149"/>
                  </a:lnTo>
                  <a:lnTo>
                    <a:pt x="19" y="140"/>
                  </a:lnTo>
                  <a:lnTo>
                    <a:pt x="19" y="130"/>
                  </a:lnTo>
                  <a:lnTo>
                    <a:pt x="29" y="120"/>
                  </a:lnTo>
                  <a:lnTo>
                    <a:pt x="29" y="120"/>
                  </a:lnTo>
                  <a:lnTo>
                    <a:pt x="39" y="120"/>
                  </a:lnTo>
                  <a:lnTo>
                    <a:pt x="39" y="110"/>
                  </a:lnTo>
                  <a:lnTo>
                    <a:pt x="29" y="110"/>
                  </a:lnTo>
                  <a:lnTo>
                    <a:pt x="29" y="110"/>
                  </a:lnTo>
                  <a:lnTo>
                    <a:pt x="29" y="110"/>
                  </a:lnTo>
                  <a:lnTo>
                    <a:pt x="29" y="100"/>
                  </a:lnTo>
                  <a:lnTo>
                    <a:pt x="39" y="110"/>
                  </a:lnTo>
                  <a:lnTo>
                    <a:pt x="39" y="110"/>
                  </a:lnTo>
                  <a:lnTo>
                    <a:pt x="39" y="110"/>
                  </a:lnTo>
                  <a:lnTo>
                    <a:pt x="49" y="110"/>
                  </a:lnTo>
                  <a:lnTo>
                    <a:pt x="49" y="110"/>
                  </a:lnTo>
                  <a:lnTo>
                    <a:pt x="49" y="110"/>
                  </a:lnTo>
                  <a:lnTo>
                    <a:pt x="49" y="120"/>
                  </a:lnTo>
                  <a:lnTo>
                    <a:pt x="59" y="110"/>
                  </a:lnTo>
                  <a:lnTo>
                    <a:pt x="69" y="110"/>
                  </a:lnTo>
                  <a:lnTo>
                    <a:pt x="69" y="110"/>
                  </a:lnTo>
                  <a:lnTo>
                    <a:pt x="79" y="110"/>
                  </a:lnTo>
                  <a:lnTo>
                    <a:pt x="79" y="110"/>
                  </a:lnTo>
                  <a:lnTo>
                    <a:pt x="89" y="110"/>
                  </a:lnTo>
                  <a:lnTo>
                    <a:pt x="89" y="110"/>
                  </a:lnTo>
                  <a:lnTo>
                    <a:pt x="79" y="100"/>
                  </a:lnTo>
                  <a:lnTo>
                    <a:pt x="79" y="100"/>
                  </a:lnTo>
                  <a:lnTo>
                    <a:pt x="89" y="90"/>
                  </a:lnTo>
                  <a:lnTo>
                    <a:pt x="99" y="90"/>
                  </a:lnTo>
                  <a:lnTo>
                    <a:pt x="109" y="80"/>
                  </a:lnTo>
                  <a:lnTo>
                    <a:pt x="99" y="70"/>
                  </a:lnTo>
                  <a:lnTo>
                    <a:pt x="99" y="70"/>
                  </a:lnTo>
                  <a:lnTo>
                    <a:pt x="99" y="70"/>
                  </a:lnTo>
                  <a:lnTo>
                    <a:pt x="89" y="70"/>
                  </a:lnTo>
                  <a:lnTo>
                    <a:pt x="89" y="50"/>
                  </a:lnTo>
                  <a:lnTo>
                    <a:pt x="79" y="50"/>
                  </a:lnTo>
                  <a:lnTo>
                    <a:pt x="69" y="40"/>
                  </a:lnTo>
                  <a:lnTo>
                    <a:pt x="69" y="40"/>
                  </a:lnTo>
                  <a:lnTo>
                    <a:pt x="69" y="30"/>
                  </a:lnTo>
                  <a:lnTo>
                    <a:pt x="79" y="20"/>
                  </a:lnTo>
                  <a:lnTo>
                    <a:pt x="79" y="20"/>
                  </a:lnTo>
                  <a:lnTo>
                    <a:pt x="89" y="10"/>
                  </a:lnTo>
                  <a:lnTo>
                    <a:pt x="99" y="0"/>
                  </a:lnTo>
                  <a:lnTo>
                    <a:pt x="99" y="0"/>
                  </a:lnTo>
                  <a:lnTo>
                    <a:pt x="109" y="0"/>
                  </a:lnTo>
                  <a:lnTo>
                    <a:pt x="109" y="10"/>
                  </a:lnTo>
                  <a:lnTo>
                    <a:pt x="129" y="20"/>
                  </a:lnTo>
                  <a:lnTo>
                    <a:pt x="119" y="20"/>
                  </a:lnTo>
                  <a:lnTo>
                    <a:pt x="119" y="20"/>
                  </a:lnTo>
                  <a:lnTo>
                    <a:pt x="129" y="30"/>
                  </a:lnTo>
                  <a:lnTo>
                    <a:pt x="139" y="30"/>
                  </a:lnTo>
                  <a:lnTo>
                    <a:pt x="149" y="30"/>
                  </a:lnTo>
                  <a:lnTo>
                    <a:pt x="159" y="30"/>
                  </a:lnTo>
                  <a:lnTo>
                    <a:pt x="168" y="40"/>
                  </a:lnTo>
                  <a:lnTo>
                    <a:pt x="178" y="30"/>
                  </a:lnTo>
                  <a:lnTo>
                    <a:pt x="178" y="20"/>
                  </a:lnTo>
                  <a:lnTo>
                    <a:pt x="188" y="20"/>
                  </a:lnTo>
                  <a:lnTo>
                    <a:pt x="188" y="20"/>
                  </a:lnTo>
                  <a:lnTo>
                    <a:pt x="198" y="10"/>
                  </a:lnTo>
                  <a:lnTo>
                    <a:pt x="198" y="10"/>
                  </a:lnTo>
                  <a:lnTo>
                    <a:pt x="208" y="0"/>
                  </a:lnTo>
                  <a:lnTo>
                    <a:pt x="218" y="10"/>
                  </a:lnTo>
                  <a:lnTo>
                    <a:pt x="228" y="10"/>
                  </a:lnTo>
                  <a:lnTo>
                    <a:pt x="228" y="20"/>
                  </a:lnTo>
                  <a:lnTo>
                    <a:pt x="228" y="20"/>
                  </a:lnTo>
                  <a:lnTo>
                    <a:pt x="238" y="20"/>
                  </a:lnTo>
                  <a:lnTo>
                    <a:pt x="238" y="20"/>
                  </a:lnTo>
                  <a:lnTo>
                    <a:pt x="248" y="20"/>
                  </a:lnTo>
                  <a:lnTo>
                    <a:pt x="248" y="30"/>
                  </a:lnTo>
                  <a:lnTo>
                    <a:pt x="258" y="40"/>
                  </a:lnTo>
                  <a:lnTo>
                    <a:pt x="268" y="30"/>
                  </a:lnTo>
                  <a:lnTo>
                    <a:pt x="278" y="20"/>
                  </a:lnTo>
                  <a:lnTo>
                    <a:pt x="278" y="20"/>
                  </a:lnTo>
                  <a:lnTo>
                    <a:pt x="308" y="20"/>
                  </a:lnTo>
                  <a:lnTo>
                    <a:pt x="308" y="30"/>
                  </a:lnTo>
                  <a:lnTo>
                    <a:pt x="308" y="50"/>
                  </a:lnTo>
                  <a:lnTo>
                    <a:pt x="308" y="60"/>
                  </a:lnTo>
                  <a:lnTo>
                    <a:pt x="308" y="60"/>
                  </a:lnTo>
                  <a:lnTo>
                    <a:pt x="308" y="70"/>
                  </a:lnTo>
                  <a:lnTo>
                    <a:pt x="308" y="90"/>
                  </a:lnTo>
                  <a:lnTo>
                    <a:pt x="297" y="110"/>
                  </a:lnTo>
                  <a:lnTo>
                    <a:pt x="297" y="130"/>
                  </a:lnTo>
                  <a:lnTo>
                    <a:pt x="297" y="130"/>
                  </a:lnTo>
                  <a:lnTo>
                    <a:pt x="297" y="140"/>
                  </a:lnTo>
                  <a:lnTo>
                    <a:pt x="268" y="169"/>
                  </a:lnTo>
                  <a:lnTo>
                    <a:pt x="258" y="179"/>
                  </a:lnTo>
                  <a:lnTo>
                    <a:pt x="258" y="189"/>
                  </a:lnTo>
                  <a:lnTo>
                    <a:pt x="248" y="199"/>
                  </a:lnTo>
                  <a:lnTo>
                    <a:pt x="238" y="199"/>
                  </a:lnTo>
                  <a:lnTo>
                    <a:pt x="228" y="229"/>
                  </a:lnTo>
                  <a:lnTo>
                    <a:pt x="228" y="219"/>
                  </a:lnTo>
                  <a:lnTo>
                    <a:pt x="198" y="239"/>
                  </a:lnTo>
                  <a:lnTo>
                    <a:pt x="198" y="229"/>
                  </a:lnTo>
                  <a:lnTo>
                    <a:pt x="178" y="239"/>
                  </a:lnTo>
                  <a:lnTo>
                    <a:pt x="168" y="249"/>
                  </a:lnTo>
                  <a:lnTo>
                    <a:pt x="168" y="249"/>
                  </a:lnTo>
                  <a:lnTo>
                    <a:pt x="168" y="249"/>
                  </a:lnTo>
                  <a:lnTo>
                    <a:pt x="159" y="249"/>
                  </a:lnTo>
                  <a:lnTo>
                    <a:pt x="149" y="249"/>
                  </a:lnTo>
                  <a:lnTo>
                    <a:pt x="149" y="249"/>
                  </a:lnTo>
                  <a:lnTo>
                    <a:pt x="139" y="239"/>
                  </a:lnTo>
                  <a:lnTo>
                    <a:pt x="129" y="239"/>
                  </a:lnTo>
                  <a:lnTo>
                    <a:pt x="129" y="229"/>
                  </a:lnTo>
                  <a:lnTo>
                    <a:pt x="109" y="239"/>
                  </a:lnTo>
                  <a:lnTo>
                    <a:pt x="109" y="239"/>
                  </a:lnTo>
                  <a:lnTo>
                    <a:pt x="99" y="249"/>
                  </a:lnTo>
                  <a:lnTo>
                    <a:pt x="99" y="249"/>
                  </a:lnTo>
                  <a:lnTo>
                    <a:pt x="99" y="239"/>
                  </a:lnTo>
                  <a:lnTo>
                    <a:pt x="89" y="239"/>
                  </a:lnTo>
                  <a:lnTo>
                    <a:pt x="89" y="239"/>
                  </a:lnTo>
                  <a:lnTo>
                    <a:pt x="79" y="229"/>
                  </a:lnTo>
                  <a:lnTo>
                    <a:pt x="89" y="229"/>
                  </a:lnTo>
                  <a:lnTo>
                    <a:pt x="89" y="219"/>
                  </a:lnTo>
                  <a:lnTo>
                    <a:pt x="79" y="209"/>
                  </a:lnTo>
                  <a:lnTo>
                    <a:pt x="69" y="209"/>
                  </a:lnTo>
                  <a:lnTo>
                    <a:pt x="59" y="209"/>
                  </a:lnTo>
                  <a:lnTo>
                    <a:pt x="49" y="199"/>
                  </a:lnTo>
                  <a:lnTo>
                    <a:pt x="49" y="179"/>
                  </a:lnTo>
                  <a:lnTo>
                    <a:pt x="39" y="179"/>
                  </a:lnTo>
                  <a:lnTo>
                    <a:pt x="29" y="17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6" name="Freeform 844">
              <a:extLst>
                <a:ext uri="{FF2B5EF4-FFF2-40B4-BE49-F238E27FC236}">
                  <a16:creationId xmlns:a16="http://schemas.microsoft.com/office/drawing/2014/main" id="{AECCD953-D84A-F030-79AC-FD3FF0ECB211}"/>
                </a:ext>
              </a:extLst>
            </p:cNvPr>
            <p:cNvSpPr>
              <a:spLocks/>
            </p:cNvSpPr>
            <p:nvPr/>
          </p:nvSpPr>
          <p:spPr bwMode="auto">
            <a:xfrm>
              <a:off x="11982176" y="4578215"/>
              <a:ext cx="412533" cy="326795"/>
            </a:xfrm>
            <a:custGeom>
              <a:avLst/>
              <a:gdLst/>
              <a:ahLst/>
              <a:cxnLst>
                <a:cxn ang="0">
                  <a:pos x="49" y="159"/>
                </a:cxn>
                <a:cxn ang="0">
                  <a:pos x="69" y="159"/>
                </a:cxn>
                <a:cxn ang="0">
                  <a:pos x="69" y="169"/>
                </a:cxn>
                <a:cxn ang="0">
                  <a:pos x="89" y="159"/>
                </a:cxn>
                <a:cxn ang="0">
                  <a:pos x="99" y="149"/>
                </a:cxn>
                <a:cxn ang="0">
                  <a:pos x="89" y="139"/>
                </a:cxn>
                <a:cxn ang="0">
                  <a:pos x="89" y="129"/>
                </a:cxn>
                <a:cxn ang="0">
                  <a:pos x="69" y="100"/>
                </a:cxn>
                <a:cxn ang="0">
                  <a:pos x="89" y="70"/>
                </a:cxn>
                <a:cxn ang="0">
                  <a:pos x="148" y="20"/>
                </a:cxn>
                <a:cxn ang="0">
                  <a:pos x="178" y="0"/>
                </a:cxn>
                <a:cxn ang="0">
                  <a:pos x="198" y="10"/>
                </a:cxn>
                <a:cxn ang="0">
                  <a:pos x="198" y="30"/>
                </a:cxn>
                <a:cxn ang="0">
                  <a:pos x="218" y="70"/>
                </a:cxn>
                <a:cxn ang="0">
                  <a:pos x="278" y="50"/>
                </a:cxn>
                <a:cxn ang="0">
                  <a:pos x="297" y="80"/>
                </a:cxn>
                <a:cxn ang="0">
                  <a:pos x="297" y="100"/>
                </a:cxn>
                <a:cxn ang="0">
                  <a:pos x="307" y="129"/>
                </a:cxn>
                <a:cxn ang="0">
                  <a:pos x="297" y="129"/>
                </a:cxn>
                <a:cxn ang="0">
                  <a:pos x="288" y="149"/>
                </a:cxn>
                <a:cxn ang="0">
                  <a:pos x="288" y="169"/>
                </a:cxn>
                <a:cxn ang="0">
                  <a:pos x="288" y="189"/>
                </a:cxn>
                <a:cxn ang="0">
                  <a:pos x="278" y="189"/>
                </a:cxn>
                <a:cxn ang="0">
                  <a:pos x="248" y="209"/>
                </a:cxn>
                <a:cxn ang="0">
                  <a:pos x="228" y="199"/>
                </a:cxn>
                <a:cxn ang="0">
                  <a:pos x="208" y="209"/>
                </a:cxn>
                <a:cxn ang="0">
                  <a:pos x="198" y="229"/>
                </a:cxn>
                <a:cxn ang="0">
                  <a:pos x="188" y="239"/>
                </a:cxn>
                <a:cxn ang="0">
                  <a:pos x="158" y="249"/>
                </a:cxn>
                <a:cxn ang="0">
                  <a:pos x="139" y="239"/>
                </a:cxn>
                <a:cxn ang="0">
                  <a:pos x="89" y="209"/>
                </a:cxn>
                <a:cxn ang="0">
                  <a:pos x="39" y="199"/>
                </a:cxn>
                <a:cxn ang="0">
                  <a:pos x="29" y="199"/>
                </a:cxn>
                <a:cxn ang="0">
                  <a:pos x="39" y="199"/>
                </a:cxn>
                <a:cxn ang="0">
                  <a:pos x="19" y="209"/>
                </a:cxn>
                <a:cxn ang="0">
                  <a:pos x="19" y="189"/>
                </a:cxn>
                <a:cxn ang="0">
                  <a:pos x="9" y="169"/>
                </a:cxn>
                <a:cxn ang="0">
                  <a:pos x="9" y="159"/>
                </a:cxn>
              </a:cxnLst>
              <a:rect l="0" t="0" r="r" b="b"/>
              <a:pathLst>
                <a:path w="307" h="249">
                  <a:moveTo>
                    <a:pt x="29" y="159"/>
                  </a:moveTo>
                  <a:lnTo>
                    <a:pt x="49" y="159"/>
                  </a:lnTo>
                  <a:lnTo>
                    <a:pt x="59" y="159"/>
                  </a:lnTo>
                  <a:lnTo>
                    <a:pt x="69" y="159"/>
                  </a:lnTo>
                  <a:lnTo>
                    <a:pt x="69" y="169"/>
                  </a:lnTo>
                  <a:lnTo>
                    <a:pt x="69" y="169"/>
                  </a:lnTo>
                  <a:lnTo>
                    <a:pt x="79" y="159"/>
                  </a:lnTo>
                  <a:lnTo>
                    <a:pt x="89" y="159"/>
                  </a:lnTo>
                  <a:lnTo>
                    <a:pt x="89" y="159"/>
                  </a:lnTo>
                  <a:lnTo>
                    <a:pt x="99" y="149"/>
                  </a:lnTo>
                  <a:lnTo>
                    <a:pt x="99" y="139"/>
                  </a:lnTo>
                  <a:lnTo>
                    <a:pt x="89" y="139"/>
                  </a:lnTo>
                  <a:lnTo>
                    <a:pt x="89" y="129"/>
                  </a:lnTo>
                  <a:lnTo>
                    <a:pt x="89" y="129"/>
                  </a:lnTo>
                  <a:lnTo>
                    <a:pt x="89" y="119"/>
                  </a:lnTo>
                  <a:lnTo>
                    <a:pt x="69" y="100"/>
                  </a:lnTo>
                  <a:lnTo>
                    <a:pt x="89" y="80"/>
                  </a:lnTo>
                  <a:lnTo>
                    <a:pt x="89" y="70"/>
                  </a:lnTo>
                  <a:lnTo>
                    <a:pt x="109" y="40"/>
                  </a:lnTo>
                  <a:lnTo>
                    <a:pt x="148" y="20"/>
                  </a:lnTo>
                  <a:lnTo>
                    <a:pt x="168" y="10"/>
                  </a:lnTo>
                  <a:lnTo>
                    <a:pt x="178" y="0"/>
                  </a:lnTo>
                  <a:lnTo>
                    <a:pt x="188" y="0"/>
                  </a:lnTo>
                  <a:lnTo>
                    <a:pt x="198" y="10"/>
                  </a:lnTo>
                  <a:lnTo>
                    <a:pt x="198" y="20"/>
                  </a:lnTo>
                  <a:lnTo>
                    <a:pt x="198" y="30"/>
                  </a:lnTo>
                  <a:lnTo>
                    <a:pt x="208" y="40"/>
                  </a:lnTo>
                  <a:lnTo>
                    <a:pt x="218" y="70"/>
                  </a:lnTo>
                  <a:lnTo>
                    <a:pt x="258" y="60"/>
                  </a:lnTo>
                  <a:lnTo>
                    <a:pt x="278" y="50"/>
                  </a:lnTo>
                  <a:lnTo>
                    <a:pt x="288" y="70"/>
                  </a:lnTo>
                  <a:lnTo>
                    <a:pt x="297" y="80"/>
                  </a:lnTo>
                  <a:lnTo>
                    <a:pt x="288" y="90"/>
                  </a:lnTo>
                  <a:lnTo>
                    <a:pt x="297" y="100"/>
                  </a:lnTo>
                  <a:lnTo>
                    <a:pt x="297" y="109"/>
                  </a:lnTo>
                  <a:lnTo>
                    <a:pt x="307" y="129"/>
                  </a:lnTo>
                  <a:lnTo>
                    <a:pt x="297" y="129"/>
                  </a:lnTo>
                  <a:lnTo>
                    <a:pt x="297" y="129"/>
                  </a:lnTo>
                  <a:lnTo>
                    <a:pt x="297" y="139"/>
                  </a:lnTo>
                  <a:lnTo>
                    <a:pt x="288" y="149"/>
                  </a:lnTo>
                  <a:lnTo>
                    <a:pt x="288" y="159"/>
                  </a:lnTo>
                  <a:lnTo>
                    <a:pt x="288" y="169"/>
                  </a:lnTo>
                  <a:lnTo>
                    <a:pt x="288" y="179"/>
                  </a:lnTo>
                  <a:lnTo>
                    <a:pt x="288" y="189"/>
                  </a:lnTo>
                  <a:lnTo>
                    <a:pt x="278" y="189"/>
                  </a:lnTo>
                  <a:lnTo>
                    <a:pt x="278" y="189"/>
                  </a:lnTo>
                  <a:lnTo>
                    <a:pt x="258" y="199"/>
                  </a:lnTo>
                  <a:lnTo>
                    <a:pt x="248" y="209"/>
                  </a:lnTo>
                  <a:lnTo>
                    <a:pt x="248" y="209"/>
                  </a:lnTo>
                  <a:lnTo>
                    <a:pt x="228" y="199"/>
                  </a:lnTo>
                  <a:lnTo>
                    <a:pt x="208" y="209"/>
                  </a:lnTo>
                  <a:lnTo>
                    <a:pt x="208" y="209"/>
                  </a:lnTo>
                  <a:lnTo>
                    <a:pt x="208" y="219"/>
                  </a:lnTo>
                  <a:lnTo>
                    <a:pt x="198" y="229"/>
                  </a:lnTo>
                  <a:lnTo>
                    <a:pt x="198" y="239"/>
                  </a:lnTo>
                  <a:lnTo>
                    <a:pt x="188" y="239"/>
                  </a:lnTo>
                  <a:lnTo>
                    <a:pt x="178" y="249"/>
                  </a:lnTo>
                  <a:lnTo>
                    <a:pt x="158" y="249"/>
                  </a:lnTo>
                  <a:lnTo>
                    <a:pt x="158" y="239"/>
                  </a:lnTo>
                  <a:lnTo>
                    <a:pt x="139" y="239"/>
                  </a:lnTo>
                  <a:lnTo>
                    <a:pt x="99" y="219"/>
                  </a:lnTo>
                  <a:lnTo>
                    <a:pt x="89" y="209"/>
                  </a:lnTo>
                  <a:lnTo>
                    <a:pt x="69" y="209"/>
                  </a:lnTo>
                  <a:lnTo>
                    <a:pt x="39" y="199"/>
                  </a:lnTo>
                  <a:lnTo>
                    <a:pt x="39" y="199"/>
                  </a:lnTo>
                  <a:lnTo>
                    <a:pt x="29" y="199"/>
                  </a:lnTo>
                  <a:lnTo>
                    <a:pt x="29" y="199"/>
                  </a:lnTo>
                  <a:lnTo>
                    <a:pt x="39" y="199"/>
                  </a:lnTo>
                  <a:lnTo>
                    <a:pt x="39" y="209"/>
                  </a:lnTo>
                  <a:lnTo>
                    <a:pt x="19" y="209"/>
                  </a:lnTo>
                  <a:lnTo>
                    <a:pt x="19" y="189"/>
                  </a:lnTo>
                  <a:lnTo>
                    <a:pt x="19" y="189"/>
                  </a:lnTo>
                  <a:lnTo>
                    <a:pt x="19" y="189"/>
                  </a:lnTo>
                  <a:lnTo>
                    <a:pt x="9" y="169"/>
                  </a:lnTo>
                  <a:lnTo>
                    <a:pt x="0" y="159"/>
                  </a:lnTo>
                  <a:lnTo>
                    <a:pt x="9" y="159"/>
                  </a:lnTo>
                  <a:lnTo>
                    <a:pt x="29" y="15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7" name="Freeform 853">
              <a:extLst>
                <a:ext uri="{FF2B5EF4-FFF2-40B4-BE49-F238E27FC236}">
                  <a16:creationId xmlns:a16="http://schemas.microsoft.com/office/drawing/2014/main" id="{CC9879DF-1F40-54CE-CABC-E77D8DE0815A}"/>
                </a:ext>
              </a:extLst>
            </p:cNvPr>
            <p:cNvSpPr>
              <a:spLocks/>
            </p:cNvSpPr>
            <p:nvPr/>
          </p:nvSpPr>
          <p:spPr bwMode="auto">
            <a:xfrm>
              <a:off x="12101770" y="4200235"/>
              <a:ext cx="440752" cy="469850"/>
            </a:xfrm>
            <a:custGeom>
              <a:avLst/>
              <a:gdLst/>
              <a:ahLst/>
              <a:cxnLst>
                <a:cxn ang="0">
                  <a:pos x="10" y="248"/>
                </a:cxn>
                <a:cxn ang="0">
                  <a:pos x="30" y="189"/>
                </a:cxn>
                <a:cxn ang="0">
                  <a:pos x="20" y="179"/>
                </a:cxn>
                <a:cxn ang="0">
                  <a:pos x="10" y="149"/>
                </a:cxn>
                <a:cxn ang="0">
                  <a:pos x="10" y="139"/>
                </a:cxn>
                <a:cxn ang="0">
                  <a:pos x="20" y="129"/>
                </a:cxn>
                <a:cxn ang="0">
                  <a:pos x="40" y="129"/>
                </a:cxn>
                <a:cxn ang="0">
                  <a:pos x="50" y="90"/>
                </a:cxn>
                <a:cxn ang="0">
                  <a:pos x="59" y="70"/>
                </a:cxn>
                <a:cxn ang="0">
                  <a:pos x="69" y="70"/>
                </a:cxn>
                <a:cxn ang="0">
                  <a:pos x="79" y="50"/>
                </a:cxn>
                <a:cxn ang="0">
                  <a:pos x="89" y="40"/>
                </a:cxn>
                <a:cxn ang="0">
                  <a:pos x="129" y="30"/>
                </a:cxn>
                <a:cxn ang="0">
                  <a:pos x="139" y="30"/>
                </a:cxn>
                <a:cxn ang="0">
                  <a:pos x="169" y="10"/>
                </a:cxn>
                <a:cxn ang="0">
                  <a:pos x="189" y="30"/>
                </a:cxn>
                <a:cxn ang="0">
                  <a:pos x="208" y="30"/>
                </a:cxn>
                <a:cxn ang="0">
                  <a:pos x="218" y="20"/>
                </a:cxn>
                <a:cxn ang="0">
                  <a:pos x="268" y="0"/>
                </a:cxn>
                <a:cxn ang="0">
                  <a:pos x="268" y="20"/>
                </a:cxn>
                <a:cxn ang="0">
                  <a:pos x="268" y="30"/>
                </a:cxn>
                <a:cxn ang="0">
                  <a:pos x="288" y="40"/>
                </a:cxn>
                <a:cxn ang="0">
                  <a:pos x="308" y="60"/>
                </a:cxn>
                <a:cxn ang="0">
                  <a:pos x="278" y="90"/>
                </a:cxn>
                <a:cxn ang="0">
                  <a:pos x="258" y="70"/>
                </a:cxn>
                <a:cxn ang="0">
                  <a:pos x="238" y="60"/>
                </a:cxn>
                <a:cxn ang="0">
                  <a:pos x="208" y="60"/>
                </a:cxn>
                <a:cxn ang="0">
                  <a:pos x="189" y="50"/>
                </a:cxn>
                <a:cxn ang="0">
                  <a:pos x="179" y="60"/>
                </a:cxn>
                <a:cxn ang="0">
                  <a:pos x="169" y="70"/>
                </a:cxn>
                <a:cxn ang="0">
                  <a:pos x="159" y="99"/>
                </a:cxn>
                <a:cxn ang="0">
                  <a:pos x="179" y="119"/>
                </a:cxn>
                <a:cxn ang="0">
                  <a:pos x="189" y="129"/>
                </a:cxn>
                <a:cxn ang="0">
                  <a:pos x="208" y="159"/>
                </a:cxn>
                <a:cxn ang="0">
                  <a:pos x="238" y="159"/>
                </a:cxn>
                <a:cxn ang="0">
                  <a:pos x="258" y="139"/>
                </a:cxn>
                <a:cxn ang="0">
                  <a:pos x="278" y="139"/>
                </a:cxn>
                <a:cxn ang="0">
                  <a:pos x="308" y="139"/>
                </a:cxn>
                <a:cxn ang="0">
                  <a:pos x="328" y="159"/>
                </a:cxn>
                <a:cxn ang="0">
                  <a:pos x="318" y="169"/>
                </a:cxn>
                <a:cxn ang="0">
                  <a:pos x="288" y="189"/>
                </a:cxn>
                <a:cxn ang="0">
                  <a:pos x="278" y="209"/>
                </a:cxn>
                <a:cxn ang="0">
                  <a:pos x="258" y="199"/>
                </a:cxn>
                <a:cxn ang="0">
                  <a:pos x="248" y="209"/>
                </a:cxn>
                <a:cxn ang="0">
                  <a:pos x="258" y="288"/>
                </a:cxn>
                <a:cxn ang="0">
                  <a:pos x="238" y="318"/>
                </a:cxn>
                <a:cxn ang="0">
                  <a:pos x="199" y="308"/>
                </a:cxn>
                <a:cxn ang="0">
                  <a:pos x="129" y="358"/>
                </a:cxn>
                <a:cxn ang="0">
                  <a:pos x="109" y="308"/>
                </a:cxn>
                <a:cxn ang="0">
                  <a:pos x="89" y="288"/>
                </a:cxn>
              </a:cxnLst>
              <a:rect l="0" t="0" r="r" b="b"/>
              <a:pathLst>
                <a:path w="328" h="358">
                  <a:moveTo>
                    <a:pt x="79" y="278"/>
                  </a:moveTo>
                  <a:lnTo>
                    <a:pt x="69" y="268"/>
                  </a:lnTo>
                  <a:lnTo>
                    <a:pt x="10" y="248"/>
                  </a:lnTo>
                  <a:lnTo>
                    <a:pt x="0" y="239"/>
                  </a:lnTo>
                  <a:lnTo>
                    <a:pt x="10" y="219"/>
                  </a:lnTo>
                  <a:lnTo>
                    <a:pt x="30" y="189"/>
                  </a:lnTo>
                  <a:lnTo>
                    <a:pt x="20" y="179"/>
                  </a:lnTo>
                  <a:lnTo>
                    <a:pt x="20" y="179"/>
                  </a:lnTo>
                  <a:lnTo>
                    <a:pt x="20" y="179"/>
                  </a:lnTo>
                  <a:lnTo>
                    <a:pt x="10" y="169"/>
                  </a:lnTo>
                  <a:lnTo>
                    <a:pt x="20" y="159"/>
                  </a:lnTo>
                  <a:lnTo>
                    <a:pt x="10" y="149"/>
                  </a:lnTo>
                  <a:lnTo>
                    <a:pt x="10" y="149"/>
                  </a:lnTo>
                  <a:lnTo>
                    <a:pt x="10" y="139"/>
                  </a:lnTo>
                  <a:lnTo>
                    <a:pt x="10" y="139"/>
                  </a:lnTo>
                  <a:lnTo>
                    <a:pt x="10" y="139"/>
                  </a:lnTo>
                  <a:lnTo>
                    <a:pt x="20" y="129"/>
                  </a:lnTo>
                  <a:lnTo>
                    <a:pt x="20" y="129"/>
                  </a:lnTo>
                  <a:lnTo>
                    <a:pt x="30" y="119"/>
                  </a:lnTo>
                  <a:lnTo>
                    <a:pt x="30" y="129"/>
                  </a:lnTo>
                  <a:lnTo>
                    <a:pt x="40" y="129"/>
                  </a:lnTo>
                  <a:lnTo>
                    <a:pt x="50" y="119"/>
                  </a:lnTo>
                  <a:lnTo>
                    <a:pt x="50" y="109"/>
                  </a:lnTo>
                  <a:lnTo>
                    <a:pt x="50" y="90"/>
                  </a:lnTo>
                  <a:lnTo>
                    <a:pt x="50" y="79"/>
                  </a:lnTo>
                  <a:lnTo>
                    <a:pt x="50" y="79"/>
                  </a:lnTo>
                  <a:lnTo>
                    <a:pt x="59" y="70"/>
                  </a:lnTo>
                  <a:lnTo>
                    <a:pt x="59" y="79"/>
                  </a:lnTo>
                  <a:lnTo>
                    <a:pt x="69" y="70"/>
                  </a:lnTo>
                  <a:lnTo>
                    <a:pt x="69" y="70"/>
                  </a:lnTo>
                  <a:lnTo>
                    <a:pt x="79" y="60"/>
                  </a:lnTo>
                  <a:lnTo>
                    <a:pt x="79" y="60"/>
                  </a:lnTo>
                  <a:lnTo>
                    <a:pt x="79" y="50"/>
                  </a:lnTo>
                  <a:lnTo>
                    <a:pt x="79" y="50"/>
                  </a:lnTo>
                  <a:lnTo>
                    <a:pt x="79" y="50"/>
                  </a:lnTo>
                  <a:lnTo>
                    <a:pt x="89" y="40"/>
                  </a:lnTo>
                  <a:lnTo>
                    <a:pt x="99" y="40"/>
                  </a:lnTo>
                  <a:lnTo>
                    <a:pt x="119" y="30"/>
                  </a:lnTo>
                  <a:lnTo>
                    <a:pt x="129" y="30"/>
                  </a:lnTo>
                  <a:lnTo>
                    <a:pt x="129" y="30"/>
                  </a:lnTo>
                  <a:lnTo>
                    <a:pt x="139" y="30"/>
                  </a:lnTo>
                  <a:lnTo>
                    <a:pt x="139" y="30"/>
                  </a:lnTo>
                  <a:lnTo>
                    <a:pt x="149" y="20"/>
                  </a:lnTo>
                  <a:lnTo>
                    <a:pt x="149" y="20"/>
                  </a:lnTo>
                  <a:lnTo>
                    <a:pt x="169" y="10"/>
                  </a:lnTo>
                  <a:lnTo>
                    <a:pt x="169" y="20"/>
                  </a:lnTo>
                  <a:lnTo>
                    <a:pt x="179" y="20"/>
                  </a:lnTo>
                  <a:lnTo>
                    <a:pt x="189" y="30"/>
                  </a:lnTo>
                  <a:lnTo>
                    <a:pt x="189" y="30"/>
                  </a:lnTo>
                  <a:lnTo>
                    <a:pt x="199" y="30"/>
                  </a:lnTo>
                  <a:lnTo>
                    <a:pt x="208" y="30"/>
                  </a:lnTo>
                  <a:lnTo>
                    <a:pt x="208" y="30"/>
                  </a:lnTo>
                  <a:lnTo>
                    <a:pt x="208" y="30"/>
                  </a:lnTo>
                  <a:lnTo>
                    <a:pt x="218" y="20"/>
                  </a:lnTo>
                  <a:lnTo>
                    <a:pt x="238" y="10"/>
                  </a:lnTo>
                  <a:lnTo>
                    <a:pt x="238" y="20"/>
                  </a:lnTo>
                  <a:lnTo>
                    <a:pt x="268" y="0"/>
                  </a:lnTo>
                  <a:lnTo>
                    <a:pt x="268" y="10"/>
                  </a:lnTo>
                  <a:lnTo>
                    <a:pt x="278" y="10"/>
                  </a:lnTo>
                  <a:lnTo>
                    <a:pt x="268" y="20"/>
                  </a:lnTo>
                  <a:lnTo>
                    <a:pt x="268" y="20"/>
                  </a:lnTo>
                  <a:lnTo>
                    <a:pt x="268" y="30"/>
                  </a:lnTo>
                  <a:lnTo>
                    <a:pt x="268" y="30"/>
                  </a:lnTo>
                  <a:lnTo>
                    <a:pt x="278" y="30"/>
                  </a:lnTo>
                  <a:lnTo>
                    <a:pt x="278" y="40"/>
                  </a:lnTo>
                  <a:lnTo>
                    <a:pt x="288" y="40"/>
                  </a:lnTo>
                  <a:lnTo>
                    <a:pt x="288" y="40"/>
                  </a:lnTo>
                  <a:lnTo>
                    <a:pt x="288" y="40"/>
                  </a:lnTo>
                  <a:lnTo>
                    <a:pt x="308" y="60"/>
                  </a:lnTo>
                  <a:lnTo>
                    <a:pt x="298" y="70"/>
                  </a:lnTo>
                  <a:lnTo>
                    <a:pt x="278" y="90"/>
                  </a:lnTo>
                  <a:lnTo>
                    <a:pt x="278" y="90"/>
                  </a:lnTo>
                  <a:lnTo>
                    <a:pt x="268" y="79"/>
                  </a:lnTo>
                  <a:lnTo>
                    <a:pt x="268" y="79"/>
                  </a:lnTo>
                  <a:lnTo>
                    <a:pt x="258" y="70"/>
                  </a:lnTo>
                  <a:lnTo>
                    <a:pt x="248" y="60"/>
                  </a:lnTo>
                  <a:lnTo>
                    <a:pt x="248" y="60"/>
                  </a:lnTo>
                  <a:lnTo>
                    <a:pt x="238" y="60"/>
                  </a:lnTo>
                  <a:lnTo>
                    <a:pt x="228" y="50"/>
                  </a:lnTo>
                  <a:lnTo>
                    <a:pt x="228" y="50"/>
                  </a:lnTo>
                  <a:lnTo>
                    <a:pt x="208" y="60"/>
                  </a:lnTo>
                  <a:lnTo>
                    <a:pt x="199" y="40"/>
                  </a:lnTo>
                  <a:lnTo>
                    <a:pt x="189" y="40"/>
                  </a:lnTo>
                  <a:lnTo>
                    <a:pt x="189" y="50"/>
                  </a:lnTo>
                  <a:lnTo>
                    <a:pt x="189" y="50"/>
                  </a:lnTo>
                  <a:lnTo>
                    <a:pt x="179" y="50"/>
                  </a:lnTo>
                  <a:lnTo>
                    <a:pt x="179" y="60"/>
                  </a:lnTo>
                  <a:lnTo>
                    <a:pt x="179" y="70"/>
                  </a:lnTo>
                  <a:lnTo>
                    <a:pt x="169" y="70"/>
                  </a:lnTo>
                  <a:lnTo>
                    <a:pt x="169" y="70"/>
                  </a:lnTo>
                  <a:lnTo>
                    <a:pt x="169" y="79"/>
                  </a:lnTo>
                  <a:lnTo>
                    <a:pt x="159" y="90"/>
                  </a:lnTo>
                  <a:lnTo>
                    <a:pt x="159" y="99"/>
                  </a:lnTo>
                  <a:lnTo>
                    <a:pt x="159" y="99"/>
                  </a:lnTo>
                  <a:lnTo>
                    <a:pt x="169" y="109"/>
                  </a:lnTo>
                  <a:lnTo>
                    <a:pt x="179" y="119"/>
                  </a:lnTo>
                  <a:lnTo>
                    <a:pt x="179" y="129"/>
                  </a:lnTo>
                  <a:lnTo>
                    <a:pt x="189" y="129"/>
                  </a:lnTo>
                  <a:lnTo>
                    <a:pt x="189" y="129"/>
                  </a:lnTo>
                  <a:lnTo>
                    <a:pt x="199" y="149"/>
                  </a:lnTo>
                  <a:lnTo>
                    <a:pt x="208" y="159"/>
                  </a:lnTo>
                  <a:lnTo>
                    <a:pt x="208" y="159"/>
                  </a:lnTo>
                  <a:lnTo>
                    <a:pt x="218" y="169"/>
                  </a:lnTo>
                  <a:lnTo>
                    <a:pt x="238" y="159"/>
                  </a:lnTo>
                  <a:lnTo>
                    <a:pt x="238" y="159"/>
                  </a:lnTo>
                  <a:lnTo>
                    <a:pt x="238" y="149"/>
                  </a:lnTo>
                  <a:lnTo>
                    <a:pt x="248" y="139"/>
                  </a:lnTo>
                  <a:lnTo>
                    <a:pt x="258" y="139"/>
                  </a:lnTo>
                  <a:lnTo>
                    <a:pt x="268" y="139"/>
                  </a:lnTo>
                  <a:lnTo>
                    <a:pt x="278" y="139"/>
                  </a:lnTo>
                  <a:lnTo>
                    <a:pt x="278" y="139"/>
                  </a:lnTo>
                  <a:lnTo>
                    <a:pt x="298" y="139"/>
                  </a:lnTo>
                  <a:lnTo>
                    <a:pt x="298" y="139"/>
                  </a:lnTo>
                  <a:lnTo>
                    <a:pt x="308" y="139"/>
                  </a:lnTo>
                  <a:lnTo>
                    <a:pt x="318" y="139"/>
                  </a:lnTo>
                  <a:lnTo>
                    <a:pt x="328" y="159"/>
                  </a:lnTo>
                  <a:lnTo>
                    <a:pt x="328" y="159"/>
                  </a:lnTo>
                  <a:lnTo>
                    <a:pt x="328" y="169"/>
                  </a:lnTo>
                  <a:lnTo>
                    <a:pt x="318" y="169"/>
                  </a:lnTo>
                  <a:lnTo>
                    <a:pt x="318" y="169"/>
                  </a:lnTo>
                  <a:lnTo>
                    <a:pt x="308" y="169"/>
                  </a:lnTo>
                  <a:lnTo>
                    <a:pt x="298" y="179"/>
                  </a:lnTo>
                  <a:lnTo>
                    <a:pt x="288" y="189"/>
                  </a:lnTo>
                  <a:lnTo>
                    <a:pt x="288" y="189"/>
                  </a:lnTo>
                  <a:lnTo>
                    <a:pt x="288" y="199"/>
                  </a:lnTo>
                  <a:lnTo>
                    <a:pt x="278" y="209"/>
                  </a:lnTo>
                  <a:lnTo>
                    <a:pt x="278" y="209"/>
                  </a:lnTo>
                  <a:lnTo>
                    <a:pt x="268" y="199"/>
                  </a:lnTo>
                  <a:lnTo>
                    <a:pt x="258" y="199"/>
                  </a:lnTo>
                  <a:lnTo>
                    <a:pt x="258" y="199"/>
                  </a:lnTo>
                  <a:lnTo>
                    <a:pt x="258" y="199"/>
                  </a:lnTo>
                  <a:lnTo>
                    <a:pt x="248" y="209"/>
                  </a:lnTo>
                  <a:lnTo>
                    <a:pt x="258" y="228"/>
                  </a:lnTo>
                  <a:lnTo>
                    <a:pt x="258" y="248"/>
                  </a:lnTo>
                  <a:lnTo>
                    <a:pt x="258" y="288"/>
                  </a:lnTo>
                  <a:lnTo>
                    <a:pt x="248" y="308"/>
                  </a:lnTo>
                  <a:lnTo>
                    <a:pt x="258" y="318"/>
                  </a:lnTo>
                  <a:lnTo>
                    <a:pt x="238" y="318"/>
                  </a:lnTo>
                  <a:lnTo>
                    <a:pt x="218" y="318"/>
                  </a:lnTo>
                  <a:lnTo>
                    <a:pt x="208" y="318"/>
                  </a:lnTo>
                  <a:lnTo>
                    <a:pt x="199" y="308"/>
                  </a:lnTo>
                  <a:lnTo>
                    <a:pt x="189" y="338"/>
                  </a:lnTo>
                  <a:lnTo>
                    <a:pt x="169" y="348"/>
                  </a:lnTo>
                  <a:lnTo>
                    <a:pt x="129" y="358"/>
                  </a:lnTo>
                  <a:lnTo>
                    <a:pt x="119" y="328"/>
                  </a:lnTo>
                  <a:lnTo>
                    <a:pt x="109" y="318"/>
                  </a:lnTo>
                  <a:lnTo>
                    <a:pt x="109" y="308"/>
                  </a:lnTo>
                  <a:lnTo>
                    <a:pt x="109" y="298"/>
                  </a:lnTo>
                  <a:lnTo>
                    <a:pt x="99" y="288"/>
                  </a:lnTo>
                  <a:lnTo>
                    <a:pt x="89" y="288"/>
                  </a:lnTo>
                  <a:lnTo>
                    <a:pt x="79" y="278"/>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8" name="Freeform 860">
              <a:extLst>
                <a:ext uri="{FF2B5EF4-FFF2-40B4-BE49-F238E27FC236}">
                  <a16:creationId xmlns:a16="http://schemas.microsoft.com/office/drawing/2014/main" id="{B4913EB0-FD00-47CA-EF8D-6DF46C7F1462}"/>
                </a:ext>
              </a:extLst>
            </p:cNvPr>
            <p:cNvSpPr>
              <a:spLocks/>
            </p:cNvSpPr>
            <p:nvPr/>
          </p:nvSpPr>
          <p:spPr bwMode="auto">
            <a:xfrm>
              <a:off x="11874675" y="4213359"/>
              <a:ext cx="53750" cy="65622"/>
            </a:xfrm>
            <a:custGeom>
              <a:avLst/>
              <a:gdLst/>
              <a:ahLst/>
              <a:cxnLst>
                <a:cxn ang="0">
                  <a:pos x="10" y="30"/>
                </a:cxn>
                <a:cxn ang="0">
                  <a:pos x="10" y="20"/>
                </a:cxn>
                <a:cxn ang="0">
                  <a:pos x="0" y="0"/>
                </a:cxn>
                <a:cxn ang="0">
                  <a:pos x="0" y="0"/>
                </a:cxn>
                <a:cxn ang="0">
                  <a:pos x="10" y="0"/>
                </a:cxn>
                <a:cxn ang="0">
                  <a:pos x="10" y="10"/>
                </a:cxn>
                <a:cxn ang="0">
                  <a:pos x="20" y="10"/>
                </a:cxn>
                <a:cxn ang="0">
                  <a:pos x="30" y="10"/>
                </a:cxn>
                <a:cxn ang="0">
                  <a:pos x="30" y="20"/>
                </a:cxn>
                <a:cxn ang="0">
                  <a:pos x="30" y="30"/>
                </a:cxn>
                <a:cxn ang="0">
                  <a:pos x="40" y="30"/>
                </a:cxn>
                <a:cxn ang="0">
                  <a:pos x="40" y="40"/>
                </a:cxn>
                <a:cxn ang="0">
                  <a:pos x="40" y="40"/>
                </a:cxn>
                <a:cxn ang="0">
                  <a:pos x="40" y="50"/>
                </a:cxn>
                <a:cxn ang="0">
                  <a:pos x="30" y="50"/>
                </a:cxn>
                <a:cxn ang="0">
                  <a:pos x="20" y="40"/>
                </a:cxn>
                <a:cxn ang="0">
                  <a:pos x="10" y="30"/>
                </a:cxn>
              </a:cxnLst>
              <a:rect l="0" t="0" r="r" b="b"/>
              <a:pathLst>
                <a:path w="40" h="50">
                  <a:moveTo>
                    <a:pt x="10" y="30"/>
                  </a:moveTo>
                  <a:lnTo>
                    <a:pt x="10" y="20"/>
                  </a:lnTo>
                  <a:lnTo>
                    <a:pt x="0" y="0"/>
                  </a:lnTo>
                  <a:lnTo>
                    <a:pt x="0" y="0"/>
                  </a:lnTo>
                  <a:lnTo>
                    <a:pt x="10" y="0"/>
                  </a:lnTo>
                  <a:lnTo>
                    <a:pt x="10" y="10"/>
                  </a:lnTo>
                  <a:lnTo>
                    <a:pt x="20" y="10"/>
                  </a:lnTo>
                  <a:lnTo>
                    <a:pt x="30" y="10"/>
                  </a:lnTo>
                  <a:lnTo>
                    <a:pt x="30" y="20"/>
                  </a:lnTo>
                  <a:lnTo>
                    <a:pt x="30" y="30"/>
                  </a:lnTo>
                  <a:lnTo>
                    <a:pt x="40" y="30"/>
                  </a:lnTo>
                  <a:lnTo>
                    <a:pt x="40" y="40"/>
                  </a:lnTo>
                  <a:lnTo>
                    <a:pt x="40" y="40"/>
                  </a:lnTo>
                  <a:lnTo>
                    <a:pt x="40" y="50"/>
                  </a:lnTo>
                  <a:lnTo>
                    <a:pt x="30" y="50"/>
                  </a:lnTo>
                  <a:lnTo>
                    <a:pt x="20" y="40"/>
                  </a:lnTo>
                  <a:lnTo>
                    <a:pt x="10" y="3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09" name="Freeform 862">
              <a:extLst>
                <a:ext uri="{FF2B5EF4-FFF2-40B4-BE49-F238E27FC236}">
                  <a16:creationId xmlns:a16="http://schemas.microsoft.com/office/drawing/2014/main" id="{69270BCC-6C47-AB25-E1F6-DBB15A58FC07}"/>
                </a:ext>
              </a:extLst>
            </p:cNvPr>
            <p:cNvSpPr>
              <a:spLocks/>
            </p:cNvSpPr>
            <p:nvPr/>
          </p:nvSpPr>
          <p:spPr bwMode="auto">
            <a:xfrm>
              <a:off x="11820925" y="3991558"/>
              <a:ext cx="467627" cy="469850"/>
            </a:xfrm>
            <a:custGeom>
              <a:avLst/>
              <a:gdLst/>
              <a:ahLst/>
              <a:cxnLst>
                <a:cxn ang="0">
                  <a:pos x="90" y="219"/>
                </a:cxn>
                <a:cxn ang="0">
                  <a:pos x="80" y="189"/>
                </a:cxn>
                <a:cxn ang="0">
                  <a:pos x="70" y="149"/>
                </a:cxn>
                <a:cxn ang="0">
                  <a:pos x="20" y="179"/>
                </a:cxn>
                <a:cxn ang="0">
                  <a:pos x="0" y="169"/>
                </a:cxn>
                <a:cxn ang="0">
                  <a:pos x="60" y="129"/>
                </a:cxn>
                <a:cxn ang="0">
                  <a:pos x="70" y="100"/>
                </a:cxn>
                <a:cxn ang="0">
                  <a:pos x="100" y="60"/>
                </a:cxn>
                <a:cxn ang="0">
                  <a:pos x="110" y="10"/>
                </a:cxn>
                <a:cxn ang="0">
                  <a:pos x="159" y="10"/>
                </a:cxn>
                <a:cxn ang="0">
                  <a:pos x="169" y="20"/>
                </a:cxn>
                <a:cxn ang="0">
                  <a:pos x="189" y="20"/>
                </a:cxn>
                <a:cxn ang="0">
                  <a:pos x="189" y="40"/>
                </a:cxn>
                <a:cxn ang="0">
                  <a:pos x="219" y="30"/>
                </a:cxn>
                <a:cxn ang="0">
                  <a:pos x="239" y="40"/>
                </a:cxn>
                <a:cxn ang="0">
                  <a:pos x="229" y="20"/>
                </a:cxn>
                <a:cxn ang="0">
                  <a:pos x="268" y="20"/>
                </a:cxn>
                <a:cxn ang="0">
                  <a:pos x="278" y="50"/>
                </a:cxn>
                <a:cxn ang="0">
                  <a:pos x="278" y="60"/>
                </a:cxn>
                <a:cxn ang="0">
                  <a:pos x="268" y="89"/>
                </a:cxn>
                <a:cxn ang="0">
                  <a:pos x="249" y="89"/>
                </a:cxn>
                <a:cxn ang="0">
                  <a:pos x="259" y="119"/>
                </a:cxn>
                <a:cxn ang="0">
                  <a:pos x="298" y="119"/>
                </a:cxn>
                <a:cxn ang="0">
                  <a:pos x="328" y="149"/>
                </a:cxn>
                <a:cxn ang="0">
                  <a:pos x="338" y="179"/>
                </a:cxn>
                <a:cxn ang="0">
                  <a:pos x="338" y="189"/>
                </a:cxn>
                <a:cxn ang="0">
                  <a:pos x="298" y="199"/>
                </a:cxn>
                <a:cxn ang="0">
                  <a:pos x="288" y="179"/>
                </a:cxn>
                <a:cxn ang="0">
                  <a:pos x="259" y="179"/>
                </a:cxn>
                <a:cxn ang="0">
                  <a:pos x="219" y="159"/>
                </a:cxn>
                <a:cxn ang="0">
                  <a:pos x="219" y="189"/>
                </a:cxn>
                <a:cxn ang="0">
                  <a:pos x="229" y="219"/>
                </a:cxn>
                <a:cxn ang="0">
                  <a:pos x="249" y="219"/>
                </a:cxn>
                <a:cxn ang="0">
                  <a:pos x="259" y="238"/>
                </a:cxn>
                <a:cxn ang="0">
                  <a:pos x="259" y="278"/>
                </a:cxn>
                <a:cxn ang="0">
                  <a:pos x="229" y="288"/>
                </a:cxn>
                <a:cxn ang="0">
                  <a:pos x="219" y="298"/>
                </a:cxn>
                <a:cxn ang="0">
                  <a:pos x="219" y="328"/>
                </a:cxn>
                <a:cxn ang="0">
                  <a:pos x="199" y="348"/>
                </a:cxn>
                <a:cxn ang="0">
                  <a:pos x="179" y="348"/>
                </a:cxn>
                <a:cxn ang="0">
                  <a:pos x="139" y="348"/>
                </a:cxn>
                <a:cxn ang="0">
                  <a:pos x="110" y="318"/>
                </a:cxn>
                <a:cxn ang="0">
                  <a:pos x="100" y="288"/>
                </a:cxn>
                <a:cxn ang="0">
                  <a:pos x="90" y="278"/>
                </a:cxn>
                <a:cxn ang="0">
                  <a:pos x="90" y="268"/>
                </a:cxn>
                <a:cxn ang="0">
                  <a:pos x="100" y="238"/>
                </a:cxn>
                <a:cxn ang="0">
                  <a:pos x="90" y="258"/>
                </a:cxn>
                <a:cxn ang="0">
                  <a:pos x="80" y="238"/>
                </a:cxn>
                <a:cxn ang="0">
                  <a:pos x="60" y="238"/>
                </a:cxn>
                <a:cxn ang="0">
                  <a:pos x="60" y="219"/>
                </a:cxn>
                <a:cxn ang="0">
                  <a:pos x="80" y="219"/>
                </a:cxn>
              </a:cxnLst>
              <a:rect l="0" t="0" r="r" b="b"/>
              <a:pathLst>
                <a:path w="348" h="358">
                  <a:moveTo>
                    <a:pt x="90" y="229"/>
                  </a:moveTo>
                  <a:lnTo>
                    <a:pt x="90" y="229"/>
                  </a:lnTo>
                  <a:lnTo>
                    <a:pt x="80" y="219"/>
                  </a:lnTo>
                  <a:lnTo>
                    <a:pt x="90" y="219"/>
                  </a:lnTo>
                  <a:lnTo>
                    <a:pt x="90" y="219"/>
                  </a:lnTo>
                  <a:lnTo>
                    <a:pt x="90" y="219"/>
                  </a:lnTo>
                  <a:lnTo>
                    <a:pt x="80" y="199"/>
                  </a:lnTo>
                  <a:lnTo>
                    <a:pt x="80" y="189"/>
                  </a:lnTo>
                  <a:lnTo>
                    <a:pt x="80" y="189"/>
                  </a:lnTo>
                  <a:lnTo>
                    <a:pt x="80" y="179"/>
                  </a:lnTo>
                  <a:lnTo>
                    <a:pt x="80" y="169"/>
                  </a:lnTo>
                  <a:lnTo>
                    <a:pt x="70" y="149"/>
                  </a:lnTo>
                  <a:lnTo>
                    <a:pt x="60" y="139"/>
                  </a:lnTo>
                  <a:lnTo>
                    <a:pt x="50" y="139"/>
                  </a:lnTo>
                  <a:lnTo>
                    <a:pt x="30" y="169"/>
                  </a:lnTo>
                  <a:lnTo>
                    <a:pt x="20" y="179"/>
                  </a:lnTo>
                  <a:lnTo>
                    <a:pt x="10" y="179"/>
                  </a:lnTo>
                  <a:lnTo>
                    <a:pt x="10" y="189"/>
                  </a:lnTo>
                  <a:lnTo>
                    <a:pt x="10" y="179"/>
                  </a:lnTo>
                  <a:lnTo>
                    <a:pt x="0" y="169"/>
                  </a:lnTo>
                  <a:lnTo>
                    <a:pt x="10" y="169"/>
                  </a:lnTo>
                  <a:lnTo>
                    <a:pt x="10" y="169"/>
                  </a:lnTo>
                  <a:lnTo>
                    <a:pt x="20" y="169"/>
                  </a:lnTo>
                  <a:lnTo>
                    <a:pt x="60" y="129"/>
                  </a:lnTo>
                  <a:lnTo>
                    <a:pt x="60" y="119"/>
                  </a:lnTo>
                  <a:lnTo>
                    <a:pt x="70" y="109"/>
                  </a:lnTo>
                  <a:lnTo>
                    <a:pt x="60" y="100"/>
                  </a:lnTo>
                  <a:lnTo>
                    <a:pt x="70" y="100"/>
                  </a:lnTo>
                  <a:lnTo>
                    <a:pt x="90" y="89"/>
                  </a:lnTo>
                  <a:lnTo>
                    <a:pt x="90" y="80"/>
                  </a:lnTo>
                  <a:lnTo>
                    <a:pt x="100" y="70"/>
                  </a:lnTo>
                  <a:lnTo>
                    <a:pt x="100" y="60"/>
                  </a:lnTo>
                  <a:lnTo>
                    <a:pt x="100" y="40"/>
                  </a:lnTo>
                  <a:lnTo>
                    <a:pt x="100" y="10"/>
                  </a:lnTo>
                  <a:lnTo>
                    <a:pt x="110" y="10"/>
                  </a:lnTo>
                  <a:lnTo>
                    <a:pt x="110" y="10"/>
                  </a:lnTo>
                  <a:lnTo>
                    <a:pt x="120" y="10"/>
                  </a:lnTo>
                  <a:lnTo>
                    <a:pt x="120" y="0"/>
                  </a:lnTo>
                  <a:lnTo>
                    <a:pt x="139" y="0"/>
                  </a:lnTo>
                  <a:lnTo>
                    <a:pt x="159" y="10"/>
                  </a:lnTo>
                  <a:lnTo>
                    <a:pt x="159" y="20"/>
                  </a:lnTo>
                  <a:lnTo>
                    <a:pt x="159" y="20"/>
                  </a:lnTo>
                  <a:lnTo>
                    <a:pt x="169" y="20"/>
                  </a:lnTo>
                  <a:lnTo>
                    <a:pt x="169" y="20"/>
                  </a:lnTo>
                  <a:lnTo>
                    <a:pt x="179" y="30"/>
                  </a:lnTo>
                  <a:lnTo>
                    <a:pt x="179" y="30"/>
                  </a:lnTo>
                  <a:lnTo>
                    <a:pt x="179" y="20"/>
                  </a:lnTo>
                  <a:lnTo>
                    <a:pt x="189" y="20"/>
                  </a:lnTo>
                  <a:lnTo>
                    <a:pt x="189" y="30"/>
                  </a:lnTo>
                  <a:lnTo>
                    <a:pt x="199" y="30"/>
                  </a:lnTo>
                  <a:lnTo>
                    <a:pt x="199" y="40"/>
                  </a:lnTo>
                  <a:lnTo>
                    <a:pt x="189" y="40"/>
                  </a:lnTo>
                  <a:lnTo>
                    <a:pt x="199" y="40"/>
                  </a:lnTo>
                  <a:lnTo>
                    <a:pt x="199" y="40"/>
                  </a:lnTo>
                  <a:lnTo>
                    <a:pt x="209" y="30"/>
                  </a:lnTo>
                  <a:lnTo>
                    <a:pt x="219" y="30"/>
                  </a:lnTo>
                  <a:lnTo>
                    <a:pt x="219" y="40"/>
                  </a:lnTo>
                  <a:lnTo>
                    <a:pt x="219" y="40"/>
                  </a:lnTo>
                  <a:lnTo>
                    <a:pt x="229" y="40"/>
                  </a:lnTo>
                  <a:lnTo>
                    <a:pt x="239" y="40"/>
                  </a:lnTo>
                  <a:lnTo>
                    <a:pt x="239" y="30"/>
                  </a:lnTo>
                  <a:lnTo>
                    <a:pt x="239" y="30"/>
                  </a:lnTo>
                  <a:lnTo>
                    <a:pt x="239" y="30"/>
                  </a:lnTo>
                  <a:lnTo>
                    <a:pt x="229" y="20"/>
                  </a:lnTo>
                  <a:lnTo>
                    <a:pt x="229" y="20"/>
                  </a:lnTo>
                  <a:lnTo>
                    <a:pt x="249" y="20"/>
                  </a:lnTo>
                  <a:lnTo>
                    <a:pt x="259" y="20"/>
                  </a:lnTo>
                  <a:lnTo>
                    <a:pt x="268" y="20"/>
                  </a:lnTo>
                  <a:lnTo>
                    <a:pt x="268" y="30"/>
                  </a:lnTo>
                  <a:lnTo>
                    <a:pt x="278" y="40"/>
                  </a:lnTo>
                  <a:lnTo>
                    <a:pt x="278" y="50"/>
                  </a:lnTo>
                  <a:lnTo>
                    <a:pt x="278" y="50"/>
                  </a:lnTo>
                  <a:lnTo>
                    <a:pt x="278" y="50"/>
                  </a:lnTo>
                  <a:lnTo>
                    <a:pt x="288" y="50"/>
                  </a:lnTo>
                  <a:lnTo>
                    <a:pt x="288" y="60"/>
                  </a:lnTo>
                  <a:lnTo>
                    <a:pt x="278" y="60"/>
                  </a:lnTo>
                  <a:lnTo>
                    <a:pt x="278" y="60"/>
                  </a:lnTo>
                  <a:lnTo>
                    <a:pt x="268" y="70"/>
                  </a:lnTo>
                  <a:lnTo>
                    <a:pt x="268" y="80"/>
                  </a:lnTo>
                  <a:lnTo>
                    <a:pt x="268" y="89"/>
                  </a:lnTo>
                  <a:lnTo>
                    <a:pt x="259" y="80"/>
                  </a:lnTo>
                  <a:lnTo>
                    <a:pt x="259" y="80"/>
                  </a:lnTo>
                  <a:lnTo>
                    <a:pt x="259" y="80"/>
                  </a:lnTo>
                  <a:lnTo>
                    <a:pt x="249" y="89"/>
                  </a:lnTo>
                  <a:lnTo>
                    <a:pt x="249" y="100"/>
                  </a:lnTo>
                  <a:lnTo>
                    <a:pt x="249" y="109"/>
                  </a:lnTo>
                  <a:lnTo>
                    <a:pt x="249" y="109"/>
                  </a:lnTo>
                  <a:lnTo>
                    <a:pt x="259" y="119"/>
                  </a:lnTo>
                  <a:lnTo>
                    <a:pt x="268" y="119"/>
                  </a:lnTo>
                  <a:lnTo>
                    <a:pt x="278" y="119"/>
                  </a:lnTo>
                  <a:lnTo>
                    <a:pt x="288" y="119"/>
                  </a:lnTo>
                  <a:lnTo>
                    <a:pt x="298" y="119"/>
                  </a:lnTo>
                  <a:lnTo>
                    <a:pt x="298" y="139"/>
                  </a:lnTo>
                  <a:lnTo>
                    <a:pt x="308" y="149"/>
                  </a:lnTo>
                  <a:lnTo>
                    <a:pt x="318" y="149"/>
                  </a:lnTo>
                  <a:lnTo>
                    <a:pt x="328" y="149"/>
                  </a:lnTo>
                  <a:lnTo>
                    <a:pt x="338" y="159"/>
                  </a:lnTo>
                  <a:lnTo>
                    <a:pt x="338" y="169"/>
                  </a:lnTo>
                  <a:lnTo>
                    <a:pt x="328" y="169"/>
                  </a:lnTo>
                  <a:lnTo>
                    <a:pt x="338" y="179"/>
                  </a:lnTo>
                  <a:lnTo>
                    <a:pt x="338" y="179"/>
                  </a:lnTo>
                  <a:lnTo>
                    <a:pt x="348" y="179"/>
                  </a:lnTo>
                  <a:lnTo>
                    <a:pt x="348" y="189"/>
                  </a:lnTo>
                  <a:lnTo>
                    <a:pt x="338" y="189"/>
                  </a:lnTo>
                  <a:lnTo>
                    <a:pt x="338" y="189"/>
                  </a:lnTo>
                  <a:lnTo>
                    <a:pt x="328" y="189"/>
                  </a:lnTo>
                  <a:lnTo>
                    <a:pt x="308" y="199"/>
                  </a:lnTo>
                  <a:lnTo>
                    <a:pt x="298" y="199"/>
                  </a:lnTo>
                  <a:lnTo>
                    <a:pt x="288" y="209"/>
                  </a:lnTo>
                  <a:lnTo>
                    <a:pt x="288" y="209"/>
                  </a:lnTo>
                  <a:lnTo>
                    <a:pt x="278" y="209"/>
                  </a:lnTo>
                  <a:lnTo>
                    <a:pt x="288" y="179"/>
                  </a:lnTo>
                  <a:lnTo>
                    <a:pt x="288" y="179"/>
                  </a:lnTo>
                  <a:lnTo>
                    <a:pt x="288" y="179"/>
                  </a:lnTo>
                  <a:lnTo>
                    <a:pt x="268" y="179"/>
                  </a:lnTo>
                  <a:lnTo>
                    <a:pt x="259" y="179"/>
                  </a:lnTo>
                  <a:lnTo>
                    <a:pt x="249" y="169"/>
                  </a:lnTo>
                  <a:lnTo>
                    <a:pt x="249" y="169"/>
                  </a:lnTo>
                  <a:lnTo>
                    <a:pt x="219" y="159"/>
                  </a:lnTo>
                  <a:lnTo>
                    <a:pt x="219" y="159"/>
                  </a:lnTo>
                  <a:lnTo>
                    <a:pt x="219" y="169"/>
                  </a:lnTo>
                  <a:lnTo>
                    <a:pt x="209" y="179"/>
                  </a:lnTo>
                  <a:lnTo>
                    <a:pt x="219" y="189"/>
                  </a:lnTo>
                  <a:lnTo>
                    <a:pt x="219" y="189"/>
                  </a:lnTo>
                  <a:lnTo>
                    <a:pt x="219" y="209"/>
                  </a:lnTo>
                  <a:lnTo>
                    <a:pt x="219" y="219"/>
                  </a:lnTo>
                  <a:lnTo>
                    <a:pt x="219" y="219"/>
                  </a:lnTo>
                  <a:lnTo>
                    <a:pt x="229" y="219"/>
                  </a:lnTo>
                  <a:lnTo>
                    <a:pt x="239" y="219"/>
                  </a:lnTo>
                  <a:lnTo>
                    <a:pt x="239" y="209"/>
                  </a:lnTo>
                  <a:lnTo>
                    <a:pt x="249" y="209"/>
                  </a:lnTo>
                  <a:lnTo>
                    <a:pt x="249" y="219"/>
                  </a:lnTo>
                  <a:lnTo>
                    <a:pt x="249" y="219"/>
                  </a:lnTo>
                  <a:lnTo>
                    <a:pt x="259" y="229"/>
                  </a:lnTo>
                  <a:lnTo>
                    <a:pt x="268" y="229"/>
                  </a:lnTo>
                  <a:lnTo>
                    <a:pt x="259" y="238"/>
                  </a:lnTo>
                  <a:lnTo>
                    <a:pt x="259" y="238"/>
                  </a:lnTo>
                  <a:lnTo>
                    <a:pt x="259" y="249"/>
                  </a:lnTo>
                  <a:lnTo>
                    <a:pt x="259" y="268"/>
                  </a:lnTo>
                  <a:lnTo>
                    <a:pt x="259" y="278"/>
                  </a:lnTo>
                  <a:lnTo>
                    <a:pt x="249" y="288"/>
                  </a:lnTo>
                  <a:lnTo>
                    <a:pt x="239" y="288"/>
                  </a:lnTo>
                  <a:lnTo>
                    <a:pt x="239" y="278"/>
                  </a:lnTo>
                  <a:lnTo>
                    <a:pt x="229" y="288"/>
                  </a:lnTo>
                  <a:lnTo>
                    <a:pt x="229" y="288"/>
                  </a:lnTo>
                  <a:lnTo>
                    <a:pt x="219" y="298"/>
                  </a:lnTo>
                  <a:lnTo>
                    <a:pt x="219" y="298"/>
                  </a:lnTo>
                  <a:lnTo>
                    <a:pt x="219" y="298"/>
                  </a:lnTo>
                  <a:lnTo>
                    <a:pt x="219" y="308"/>
                  </a:lnTo>
                  <a:lnTo>
                    <a:pt x="219" y="308"/>
                  </a:lnTo>
                  <a:lnTo>
                    <a:pt x="229" y="318"/>
                  </a:lnTo>
                  <a:lnTo>
                    <a:pt x="219" y="328"/>
                  </a:lnTo>
                  <a:lnTo>
                    <a:pt x="229" y="338"/>
                  </a:lnTo>
                  <a:lnTo>
                    <a:pt x="229" y="338"/>
                  </a:lnTo>
                  <a:lnTo>
                    <a:pt x="209" y="338"/>
                  </a:lnTo>
                  <a:lnTo>
                    <a:pt x="199" y="348"/>
                  </a:lnTo>
                  <a:lnTo>
                    <a:pt x="189" y="358"/>
                  </a:lnTo>
                  <a:lnTo>
                    <a:pt x="189" y="358"/>
                  </a:lnTo>
                  <a:lnTo>
                    <a:pt x="169" y="348"/>
                  </a:lnTo>
                  <a:lnTo>
                    <a:pt x="179" y="348"/>
                  </a:lnTo>
                  <a:lnTo>
                    <a:pt x="169" y="348"/>
                  </a:lnTo>
                  <a:lnTo>
                    <a:pt x="169" y="348"/>
                  </a:lnTo>
                  <a:lnTo>
                    <a:pt x="149" y="348"/>
                  </a:lnTo>
                  <a:lnTo>
                    <a:pt x="139" y="348"/>
                  </a:lnTo>
                  <a:lnTo>
                    <a:pt x="139" y="358"/>
                  </a:lnTo>
                  <a:lnTo>
                    <a:pt x="139" y="358"/>
                  </a:lnTo>
                  <a:lnTo>
                    <a:pt x="129" y="358"/>
                  </a:lnTo>
                  <a:lnTo>
                    <a:pt x="110" y="318"/>
                  </a:lnTo>
                  <a:lnTo>
                    <a:pt x="100" y="308"/>
                  </a:lnTo>
                  <a:lnTo>
                    <a:pt x="100" y="308"/>
                  </a:lnTo>
                  <a:lnTo>
                    <a:pt x="100" y="298"/>
                  </a:lnTo>
                  <a:lnTo>
                    <a:pt x="100" y="288"/>
                  </a:lnTo>
                  <a:lnTo>
                    <a:pt x="100" y="288"/>
                  </a:lnTo>
                  <a:lnTo>
                    <a:pt x="100" y="288"/>
                  </a:lnTo>
                  <a:lnTo>
                    <a:pt x="90" y="278"/>
                  </a:lnTo>
                  <a:lnTo>
                    <a:pt x="90" y="278"/>
                  </a:lnTo>
                  <a:lnTo>
                    <a:pt x="80" y="278"/>
                  </a:lnTo>
                  <a:lnTo>
                    <a:pt x="80" y="268"/>
                  </a:lnTo>
                  <a:lnTo>
                    <a:pt x="90" y="268"/>
                  </a:lnTo>
                  <a:lnTo>
                    <a:pt x="90" y="268"/>
                  </a:lnTo>
                  <a:lnTo>
                    <a:pt x="90" y="258"/>
                  </a:lnTo>
                  <a:lnTo>
                    <a:pt x="90" y="249"/>
                  </a:lnTo>
                  <a:lnTo>
                    <a:pt x="100" y="238"/>
                  </a:lnTo>
                  <a:lnTo>
                    <a:pt x="100" y="238"/>
                  </a:lnTo>
                  <a:lnTo>
                    <a:pt x="90" y="238"/>
                  </a:lnTo>
                  <a:lnTo>
                    <a:pt x="90" y="249"/>
                  </a:lnTo>
                  <a:lnTo>
                    <a:pt x="90" y="258"/>
                  </a:lnTo>
                  <a:lnTo>
                    <a:pt x="90" y="258"/>
                  </a:lnTo>
                  <a:lnTo>
                    <a:pt x="80" y="268"/>
                  </a:lnTo>
                  <a:lnTo>
                    <a:pt x="80" y="258"/>
                  </a:lnTo>
                  <a:lnTo>
                    <a:pt x="80" y="258"/>
                  </a:lnTo>
                  <a:lnTo>
                    <a:pt x="80" y="238"/>
                  </a:lnTo>
                  <a:lnTo>
                    <a:pt x="70" y="238"/>
                  </a:lnTo>
                  <a:lnTo>
                    <a:pt x="70" y="238"/>
                  </a:lnTo>
                  <a:lnTo>
                    <a:pt x="60" y="238"/>
                  </a:lnTo>
                  <a:lnTo>
                    <a:pt x="60" y="238"/>
                  </a:lnTo>
                  <a:lnTo>
                    <a:pt x="60" y="238"/>
                  </a:lnTo>
                  <a:lnTo>
                    <a:pt x="60" y="229"/>
                  </a:lnTo>
                  <a:lnTo>
                    <a:pt x="60" y="219"/>
                  </a:lnTo>
                  <a:lnTo>
                    <a:pt x="60" y="219"/>
                  </a:lnTo>
                  <a:lnTo>
                    <a:pt x="50" y="219"/>
                  </a:lnTo>
                  <a:lnTo>
                    <a:pt x="50" y="219"/>
                  </a:lnTo>
                  <a:lnTo>
                    <a:pt x="80" y="219"/>
                  </a:lnTo>
                  <a:lnTo>
                    <a:pt x="80" y="219"/>
                  </a:lnTo>
                  <a:lnTo>
                    <a:pt x="80" y="229"/>
                  </a:lnTo>
                  <a:lnTo>
                    <a:pt x="80" y="229"/>
                  </a:lnTo>
                  <a:lnTo>
                    <a:pt x="90" y="229"/>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0" name="Freeform 873">
              <a:extLst>
                <a:ext uri="{FF2B5EF4-FFF2-40B4-BE49-F238E27FC236}">
                  <a16:creationId xmlns:a16="http://schemas.microsoft.com/office/drawing/2014/main" id="{6307EA49-8941-A9A6-521C-540C826933FC}"/>
                </a:ext>
              </a:extLst>
            </p:cNvPr>
            <p:cNvSpPr>
              <a:spLocks/>
            </p:cNvSpPr>
            <p:nvPr/>
          </p:nvSpPr>
          <p:spPr bwMode="auto">
            <a:xfrm>
              <a:off x="12688991" y="3613578"/>
              <a:ext cx="493158" cy="469850"/>
            </a:xfrm>
            <a:custGeom>
              <a:avLst/>
              <a:gdLst/>
              <a:ahLst/>
              <a:cxnLst>
                <a:cxn ang="0">
                  <a:pos x="248" y="119"/>
                </a:cxn>
                <a:cxn ang="0">
                  <a:pos x="268" y="129"/>
                </a:cxn>
                <a:cxn ang="0">
                  <a:pos x="318" y="169"/>
                </a:cxn>
                <a:cxn ang="0">
                  <a:pos x="318" y="179"/>
                </a:cxn>
                <a:cxn ang="0">
                  <a:pos x="318" y="189"/>
                </a:cxn>
                <a:cxn ang="0">
                  <a:pos x="338" y="219"/>
                </a:cxn>
                <a:cxn ang="0">
                  <a:pos x="358" y="238"/>
                </a:cxn>
                <a:cxn ang="0">
                  <a:pos x="367" y="238"/>
                </a:cxn>
                <a:cxn ang="0">
                  <a:pos x="347" y="288"/>
                </a:cxn>
                <a:cxn ang="0">
                  <a:pos x="338" y="278"/>
                </a:cxn>
                <a:cxn ang="0">
                  <a:pos x="298" y="278"/>
                </a:cxn>
                <a:cxn ang="0">
                  <a:pos x="278" y="278"/>
                </a:cxn>
                <a:cxn ang="0">
                  <a:pos x="218" y="298"/>
                </a:cxn>
                <a:cxn ang="0">
                  <a:pos x="198" y="318"/>
                </a:cxn>
                <a:cxn ang="0">
                  <a:pos x="169" y="338"/>
                </a:cxn>
                <a:cxn ang="0">
                  <a:pos x="139" y="358"/>
                </a:cxn>
                <a:cxn ang="0">
                  <a:pos x="139" y="348"/>
                </a:cxn>
                <a:cxn ang="0">
                  <a:pos x="119" y="338"/>
                </a:cxn>
                <a:cxn ang="0">
                  <a:pos x="109" y="298"/>
                </a:cxn>
                <a:cxn ang="0">
                  <a:pos x="129" y="278"/>
                </a:cxn>
                <a:cxn ang="0">
                  <a:pos x="129" y="258"/>
                </a:cxn>
                <a:cxn ang="0">
                  <a:pos x="109" y="258"/>
                </a:cxn>
                <a:cxn ang="0">
                  <a:pos x="40" y="248"/>
                </a:cxn>
                <a:cxn ang="0">
                  <a:pos x="30" y="219"/>
                </a:cxn>
                <a:cxn ang="0">
                  <a:pos x="40" y="199"/>
                </a:cxn>
                <a:cxn ang="0">
                  <a:pos x="30" y="179"/>
                </a:cxn>
                <a:cxn ang="0">
                  <a:pos x="79" y="169"/>
                </a:cxn>
                <a:cxn ang="0">
                  <a:pos x="89" y="159"/>
                </a:cxn>
                <a:cxn ang="0">
                  <a:pos x="79" y="159"/>
                </a:cxn>
                <a:cxn ang="0">
                  <a:pos x="69" y="149"/>
                </a:cxn>
                <a:cxn ang="0">
                  <a:pos x="79" y="149"/>
                </a:cxn>
                <a:cxn ang="0">
                  <a:pos x="69" y="139"/>
                </a:cxn>
                <a:cxn ang="0">
                  <a:pos x="60" y="119"/>
                </a:cxn>
                <a:cxn ang="0">
                  <a:pos x="30" y="129"/>
                </a:cxn>
                <a:cxn ang="0">
                  <a:pos x="0" y="99"/>
                </a:cxn>
                <a:cxn ang="0">
                  <a:pos x="0" y="89"/>
                </a:cxn>
                <a:cxn ang="0">
                  <a:pos x="0" y="79"/>
                </a:cxn>
                <a:cxn ang="0">
                  <a:pos x="0" y="60"/>
                </a:cxn>
                <a:cxn ang="0">
                  <a:pos x="10" y="30"/>
                </a:cxn>
                <a:cxn ang="0">
                  <a:pos x="30" y="0"/>
                </a:cxn>
                <a:cxn ang="0">
                  <a:pos x="40" y="10"/>
                </a:cxn>
                <a:cxn ang="0">
                  <a:pos x="60" y="20"/>
                </a:cxn>
                <a:cxn ang="0">
                  <a:pos x="60" y="30"/>
                </a:cxn>
                <a:cxn ang="0">
                  <a:pos x="79" y="40"/>
                </a:cxn>
                <a:cxn ang="0">
                  <a:pos x="99" y="70"/>
                </a:cxn>
                <a:cxn ang="0">
                  <a:pos x="119" y="70"/>
                </a:cxn>
                <a:cxn ang="0">
                  <a:pos x="139" y="79"/>
                </a:cxn>
                <a:cxn ang="0">
                  <a:pos x="159" y="119"/>
                </a:cxn>
                <a:cxn ang="0">
                  <a:pos x="169" y="129"/>
                </a:cxn>
                <a:cxn ang="0">
                  <a:pos x="189" y="129"/>
                </a:cxn>
                <a:cxn ang="0">
                  <a:pos x="228" y="109"/>
                </a:cxn>
                <a:cxn ang="0">
                  <a:pos x="238" y="99"/>
                </a:cxn>
              </a:cxnLst>
              <a:rect l="0" t="0" r="r" b="b"/>
              <a:pathLst>
                <a:path w="367" h="358">
                  <a:moveTo>
                    <a:pt x="238" y="99"/>
                  </a:moveTo>
                  <a:lnTo>
                    <a:pt x="248" y="119"/>
                  </a:lnTo>
                  <a:lnTo>
                    <a:pt x="248" y="129"/>
                  </a:lnTo>
                  <a:lnTo>
                    <a:pt x="268" y="129"/>
                  </a:lnTo>
                  <a:lnTo>
                    <a:pt x="328" y="159"/>
                  </a:lnTo>
                  <a:lnTo>
                    <a:pt x="318" y="169"/>
                  </a:lnTo>
                  <a:lnTo>
                    <a:pt x="318" y="179"/>
                  </a:lnTo>
                  <a:lnTo>
                    <a:pt x="318" y="179"/>
                  </a:lnTo>
                  <a:lnTo>
                    <a:pt x="318" y="189"/>
                  </a:lnTo>
                  <a:lnTo>
                    <a:pt x="318" y="189"/>
                  </a:lnTo>
                  <a:lnTo>
                    <a:pt x="328" y="199"/>
                  </a:lnTo>
                  <a:lnTo>
                    <a:pt x="338" y="219"/>
                  </a:lnTo>
                  <a:lnTo>
                    <a:pt x="347" y="228"/>
                  </a:lnTo>
                  <a:lnTo>
                    <a:pt x="358" y="238"/>
                  </a:lnTo>
                  <a:lnTo>
                    <a:pt x="358" y="238"/>
                  </a:lnTo>
                  <a:lnTo>
                    <a:pt x="367" y="238"/>
                  </a:lnTo>
                  <a:lnTo>
                    <a:pt x="358" y="248"/>
                  </a:lnTo>
                  <a:lnTo>
                    <a:pt x="347" y="288"/>
                  </a:lnTo>
                  <a:lnTo>
                    <a:pt x="347" y="298"/>
                  </a:lnTo>
                  <a:lnTo>
                    <a:pt x="338" y="278"/>
                  </a:lnTo>
                  <a:lnTo>
                    <a:pt x="318" y="278"/>
                  </a:lnTo>
                  <a:lnTo>
                    <a:pt x="298" y="278"/>
                  </a:lnTo>
                  <a:lnTo>
                    <a:pt x="278" y="278"/>
                  </a:lnTo>
                  <a:lnTo>
                    <a:pt x="278" y="278"/>
                  </a:lnTo>
                  <a:lnTo>
                    <a:pt x="228" y="288"/>
                  </a:lnTo>
                  <a:lnTo>
                    <a:pt x="218" y="298"/>
                  </a:lnTo>
                  <a:lnTo>
                    <a:pt x="218" y="298"/>
                  </a:lnTo>
                  <a:lnTo>
                    <a:pt x="198" y="318"/>
                  </a:lnTo>
                  <a:lnTo>
                    <a:pt x="179" y="328"/>
                  </a:lnTo>
                  <a:lnTo>
                    <a:pt x="169" y="338"/>
                  </a:lnTo>
                  <a:lnTo>
                    <a:pt x="139" y="348"/>
                  </a:lnTo>
                  <a:lnTo>
                    <a:pt x="139" y="358"/>
                  </a:lnTo>
                  <a:lnTo>
                    <a:pt x="139" y="358"/>
                  </a:lnTo>
                  <a:lnTo>
                    <a:pt x="139" y="348"/>
                  </a:lnTo>
                  <a:lnTo>
                    <a:pt x="129" y="348"/>
                  </a:lnTo>
                  <a:lnTo>
                    <a:pt x="119" y="338"/>
                  </a:lnTo>
                  <a:lnTo>
                    <a:pt x="99" y="308"/>
                  </a:lnTo>
                  <a:lnTo>
                    <a:pt x="109" y="298"/>
                  </a:lnTo>
                  <a:lnTo>
                    <a:pt x="119" y="288"/>
                  </a:lnTo>
                  <a:lnTo>
                    <a:pt x="129" y="278"/>
                  </a:lnTo>
                  <a:lnTo>
                    <a:pt x="129" y="258"/>
                  </a:lnTo>
                  <a:lnTo>
                    <a:pt x="129" y="258"/>
                  </a:lnTo>
                  <a:lnTo>
                    <a:pt x="119" y="258"/>
                  </a:lnTo>
                  <a:lnTo>
                    <a:pt x="109" y="258"/>
                  </a:lnTo>
                  <a:lnTo>
                    <a:pt x="60" y="258"/>
                  </a:lnTo>
                  <a:lnTo>
                    <a:pt x="40" y="248"/>
                  </a:lnTo>
                  <a:lnTo>
                    <a:pt x="30" y="228"/>
                  </a:lnTo>
                  <a:lnTo>
                    <a:pt x="30" y="219"/>
                  </a:lnTo>
                  <a:lnTo>
                    <a:pt x="20" y="209"/>
                  </a:lnTo>
                  <a:lnTo>
                    <a:pt x="40" y="199"/>
                  </a:lnTo>
                  <a:lnTo>
                    <a:pt x="30" y="189"/>
                  </a:lnTo>
                  <a:lnTo>
                    <a:pt x="30" y="179"/>
                  </a:lnTo>
                  <a:lnTo>
                    <a:pt x="30" y="179"/>
                  </a:lnTo>
                  <a:lnTo>
                    <a:pt x="79" y="169"/>
                  </a:lnTo>
                  <a:lnTo>
                    <a:pt x="99" y="169"/>
                  </a:lnTo>
                  <a:lnTo>
                    <a:pt x="89" y="159"/>
                  </a:lnTo>
                  <a:lnTo>
                    <a:pt x="79" y="159"/>
                  </a:lnTo>
                  <a:lnTo>
                    <a:pt x="79" y="159"/>
                  </a:lnTo>
                  <a:lnTo>
                    <a:pt x="69" y="149"/>
                  </a:lnTo>
                  <a:lnTo>
                    <a:pt x="69" y="149"/>
                  </a:lnTo>
                  <a:lnTo>
                    <a:pt x="69" y="149"/>
                  </a:lnTo>
                  <a:lnTo>
                    <a:pt x="79" y="149"/>
                  </a:lnTo>
                  <a:lnTo>
                    <a:pt x="79" y="139"/>
                  </a:lnTo>
                  <a:lnTo>
                    <a:pt x="69" y="139"/>
                  </a:lnTo>
                  <a:lnTo>
                    <a:pt x="60" y="139"/>
                  </a:lnTo>
                  <a:lnTo>
                    <a:pt x="60" y="119"/>
                  </a:lnTo>
                  <a:lnTo>
                    <a:pt x="49" y="119"/>
                  </a:lnTo>
                  <a:lnTo>
                    <a:pt x="30" y="129"/>
                  </a:lnTo>
                  <a:lnTo>
                    <a:pt x="30" y="99"/>
                  </a:lnTo>
                  <a:lnTo>
                    <a:pt x="0" y="99"/>
                  </a:lnTo>
                  <a:lnTo>
                    <a:pt x="0" y="99"/>
                  </a:lnTo>
                  <a:lnTo>
                    <a:pt x="0" y="89"/>
                  </a:lnTo>
                  <a:lnTo>
                    <a:pt x="0" y="89"/>
                  </a:lnTo>
                  <a:lnTo>
                    <a:pt x="0" y="79"/>
                  </a:lnTo>
                  <a:lnTo>
                    <a:pt x="0" y="70"/>
                  </a:lnTo>
                  <a:lnTo>
                    <a:pt x="0" y="60"/>
                  </a:lnTo>
                  <a:lnTo>
                    <a:pt x="0" y="40"/>
                  </a:lnTo>
                  <a:lnTo>
                    <a:pt x="10" y="30"/>
                  </a:lnTo>
                  <a:lnTo>
                    <a:pt x="20" y="10"/>
                  </a:lnTo>
                  <a:lnTo>
                    <a:pt x="30" y="0"/>
                  </a:lnTo>
                  <a:lnTo>
                    <a:pt x="40" y="0"/>
                  </a:lnTo>
                  <a:lnTo>
                    <a:pt x="40" y="10"/>
                  </a:lnTo>
                  <a:lnTo>
                    <a:pt x="49" y="10"/>
                  </a:lnTo>
                  <a:lnTo>
                    <a:pt x="60" y="20"/>
                  </a:lnTo>
                  <a:lnTo>
                    <a:pt x="60" y="20"/>
                  </a:lnTo>
                  <a:lnTo>
                    <a:pt x="60" y="30"/>
                  </a:lnTo>
                  <a:lnTo>
                    <a:pt x="69" y="40"/>
                  </a:lnTo>
                  <a:lnTo>
                    <a:pt x="79" y="40"/>
                  </a:lnTo>
                  <a:lnTo>
                    <a:pt x="89" y="50"/>
                  </a:lnTo>
                  <a:lnTo>
                    <a:pt x="99" y="70"/>
                  </a:lnTo>
                  <a:lnTo>
                    <a:pt x="119" y="70"/>
                  </a:lnTo>
                  <a:lnTo>
                    <a:pt x="119" y="70"/>
                  </a:lnTo>
                  <a:lnTo>
                    <a:pt x="119" y="79"/>
                  </a:lnTo>
                  <a:lnTo>
                    <a:pt x="139" y="79"/>
                  </a:lnTo>
                  <a:lnTo>
                    <a:pt x="149" y="109"/>
                  </a:lnTo>
                  <a:lnTo>
                    <a:pt x="159" y="119"/>
                  </a:lnTo>
                  <a:lnTo>
                    <a:pt x="159" y="129"/>
                  </a:lnTo>
                  <a:lnTo>
                    <a:pt x="169" y="129"/>
                  </a:lnTo>
                  <a:lnTo>
                    <a:pt x="179" y="129"/>
                  </a:lnTo>
                  <a:lnTo>
                    <a:pt x="189" y="129"/>
                  </a:lnTo>
                  <a:lnTo>
                    <a:pt x="198" y="119"/>
                  </a:lnTo>
                  <a:lnTo>
                    <a:pt x="228" y="109"/>
                  </a:lnTo>
                  <a:lnTo>
                    <a:pt x="238" y="99"/>
                  </a:lnTo>
                  <a:lnTo>
                    <a:pt x="238" y="99"/>
                  </a:lnTo>
                  <a:close/>
                </a:path>
              </a:pathLst>
            </a:custGeom>
            <a:solidFill>
              <a:schemeClr val="accent1"/>
            </a:solidFill>
            <a:ln w="12700" cap="flat" cmpd="sng">
              <a:solidFill>
                <a:schemeClr val="tx1"/>
              </a:solidFill>
              <a:prstDash val="solid"/>
              <a:bevel/>
              <a:headEnd/>
              <a:tailEnd/>
            </a:ln>
          </p:spPr>
          <p:txBody>
            <a:bodyPr/>
            <a:lstStyle/>
            <a:p>
              <a:endParaRPr lang="nl-NL"/>
            </a:p>
          </p:txBody>
        </p:sp>
        <p:sp>
          <p:nvSpPr>
            <p:cNvPr id="111" name="Freeform 966">
              <a:extLst>
                <a:ext uri="{FF2B5EF4-FFF2-40B4-BE49-F238E27FC236}">
                  <a16:creationId xmlns:a16="http://schemas.microsoft.com/office/drawing/2014/main" id="{7EDB7644-B328-C8C6-E1EA-C41625D05797}"/>
                </a:ext>
              </a:extLst>
            </p:cNvPr>
            <p:cNvSpPr>
              <a:spLocks/>
            </p:cNvSpPr>
            <p:nvPr/>
          </p:nvSpPr>
          <p:spPr bwMode="auto">
            <a:xfrm>
              <a:off x="13569150" y="2987549"/>
              <a:ext cx="26875" cy="26249"/>
            </a:xfrm>
            <a:custGeom>
              <a:avLst/>
              <a:gdLst/>
              <a:ahLst/>
              <a:cxnLst>
                <a:cxn ang="0">
                  <a:pos x="0" y="0"/>
                </a:cxn>
                <a:cxn ang="0">
                  <a:pos x="20" y="0"/>
                </a:cxn>
                <a:cxn ang="0">
                  <a:pos x="20" y="0"/>
                </a:cxn>
                <a:cxn ang="0">
                  <a:pos x="20" y="10"/>
                </a:cxn>
                <a:cxn ang="0">
                  <a:pos x="20" y="10"/>
                </a:cxn>
                <a:cxn ang="0">
                  <a:pos x="0" y="20"/>
                </a:cxn>
                <a:cxn ang="0">
                  <a:pos x="0" y="0"/>
                </a:cxn>
              </a:cxnLst>
              <a:rect l="0" t="0" r="r" b="b"/>
              <a:pathLst>
                <a:path w="20" h="20">
                  <a:moveTo>
                    <a:pt x="0" y="0"/>
                  </a:moveTo>
                  <a:lnTo>
                    <a:pt x="20" y="0"/>
                  </a:lnTo>
                  <a:lnTo>
                    <a:pt x="20" y="0"/>
                  </a:lnTo>
                  <a:lnTo>
                    <a:pt x="20" y="10"/>
                  </a:lnTo>
                  <a:lnTo>
                    <a:pt x="20" y="10"/>
                  </a:lnTo>
                  <a:lnTo>
                    <a:pt x="0" y="20"/>
                  </a:lnTo>
                  <a:lnTo>
                    <a:pt x="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2" name="Freeform 967">
              <a:extLst>
                <a:ext uri="{FF2B5EF4-FFF2-40B4-BE49-F238E27FC236}">
                  <a16:creationId xmlns:a16="http://schemas.microsoft.com/office/drawing/2014/main" id="{4BEB1F1F-5235-6F94-2ECD-0F8C7ED37245}"/>
                </a:ext>
              </a:extLst>
            </p:cNvPr>
            <p:cNvSpPr>
              <a:spLocks/>
            </p:cNvSpPr>
            <p:nvPr/>
          </p:nvSpPr>
          <p:spPr bwMode="auto">
            <a:xfrm>
              <a:off x="13742495" y="2857618"/>
              <a:ext cx="107500" cy="103682"/>
            </a:xfrm>
            <a:custGeom>
              <a:avLst/>
              <a:gdLst/>
              <a:ahLst/>
              <a:cxnLst>
                <a:cxn ang="0">
                  <a:pos x="50" y="10"/>
                </a:cxn>
                <a:cxn ang="0">
                  <a:pos x="50" y="20"/>
                </a:cxn>
                <a:cxn ang="0">
                  <a:pos x="50" y="20"/>
                </a:cxn>
                <a:cxn ang="0">
                  <a:pos x="60" y="29"/>
                </a:cxn>
                <a:cxn ang="0">
                  <a:pos x="70" y="40"/>
                </a:cxn>
                <a:cxn ang="0">
                  <a:pos x="80" y="49"/>
                </a:cxn>
                <a:cxn ang="0">
                  <a:pos x="70" y="40"/>
                </a:cxn>
                <a:cxn ang="0">
                  <a:pos x="60" y="40"/>
                </a:cxn>
                <a:cxn ang="0">
                  <a:pos x="40" y="40"/>
                </a:cxn>
                <a:cxn ang="0">
                  <a:pos x="30" y="40"/>
                </a:cxn>
                <a:cxn ang="0">
                  <a:pos x="30" y="40"/>
                </a:cxn>
                <a:cxn ang="0">
                  <a:pos x="30" y="49"/>
                </a:cxn>
                <a:cxn ang="0">
                  <a:pos x="30" y="59"/>
                </a:cxn>
                <a:cxn ang="0">
                  <a:pos x="40" y="59"/>
                </a:cxn>
                <a:cxn ang="0">
                  <a:pos x="40" y="59"/>
                </a:cxn>
                <a:cxn ang="0">
                  <a:pos x="30" y="79"/>
                </a:cxn>
                <a:cxn ang="0">
                  <a:pos x="20" y="69"/>
                </a:cxn>
                <a:cxn ang="0">
                  <a:pos x="10" y="40"/>
                </a:cxn>
                <a:cxn ang="0">
                  <a:pos x="0" y="29"/>
                </a:cxn>
                <a:cxn ang="0">
                  <a:pos x="0" y="20"/>
                </a:cxn>
                <a:cxn ang="0">
                  <a:pos x="10" y="0"/>
                </a:cxn>
                <a:cxn ang="0">
                  <a:pos x="20" y="0"/>
                </a:cxn>
                <a:cxn ang="0">
                  <a:pos x="30" y="0"/>
                </a:cxn>
                <a:cxn ang="0">
                  <a:pos x="40" y="0"/>
                </a:cxn>
                <a:cxn ang="0">
                  <a:pos x="50" y="10"/>
                </a:cxn>
                <a:cxn ang="0">
                  <a:pos x="50" y="10"/>
                </a:cxn>
                <a:cxn ang="0">
                  <a:pos x="50" y="10"/>
                </a:cxn>
              </a:cxnLst>
              <a:rect l="0" t="0" r="r" b="b"/>
              <a:pathLst>
                <a:path w="80" h="79">
                  <a:moveTo>
                    <a:pt x="50" y="10"/>
                  </a:moveTo>
                  <a:lnTo>
                    <a:pt x="50" y="20"/>
                  </a:lnTo>
                  <a:lnTo>
                    <a:pt x="50" y="20"/>
                  </a:lnTo>
                  <a:lnTo>
                    <a:pt x="60" y="29"/>
                  </a:lnTo>
                  <a:lnTo>
                    <a:pt x="70" y="40"/>
                  </a:lnTo>
                  <a:lnTo>
                    <a:pt x="80" y="49"/>
                  </a:lnTo>
                  <a:lnTo>
                    <a:pt x="70" y="40"/>
                  </a:lnTo>
                  <a:lnTo>
                    <a:pt x="60" y="40"/>
                  </a:lnTo>
                  <a:lnTo>
                    <a:pt x="40" y="40"/>
                  </a:lnTo>
                  <a:lnTo>
                    <a:pt x="30" y="40"/>
                  </a:lnTo>
                  <a:lnTo>
                    <a:pt x="30" y="40"/>
                  </a:lnTo>
                  <a:lnTo>
                    <a:pt x="30" y="49"/>
                  </a:lnTo>
                  <a:lnTo>
                    <a:pt x="30" y="59"/>
                  </a:lnTo>
                  <a:lnTo>
                    <a:pt x="40" y="59"/>
                  </a:lnTo>
                  <a:lnTo>
                    <a:pt x="40" y="59"/>
                  </a:lnTo>
                  <a:lnTo>
                    <a:pt x="30" y="79"/>
                  </a:lnTo>
                  <a:lnTo>
                    <a:pt x="20" y="69"/>
                  </a:lnTo>
                  <a:lnTo>
                    <a:pt x="10" y="40"/>
                  </a:lnTo>
                  <a:lnTo>
                    <a:pt x="0" y="29"/>
                  </a:lnTo>
                  <a:lnTo>
                    <a:pt x="0" y="20"/>
                  </a:lnTo>
                  <a:lnTo>
                    <a:pt x="10" y="0"/>
                  </a:lnTo>
                  <a:lnTo>
                    <a:pt x="20" y="0"/>
                  </a:lnTo>
                  <a:lnTo>
                    <a:pt x="30" y="0"/>
                  </a:lnTo>
                  <a:lnTo>
                    <a:pt x="40" y="0"/>
                  </a:lnTo>
                  <a:lnTo>
                    <a:pt x="50" y="10"/>
                  </a:lnTo>
                  <a:lnTo>
                    <a:pt x="50" y="10"/>
                  </a:lnTo>
                  <a:lnTo>
                    <a:pt x="50" y="1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3" name="Freeform 968">
              <a:extLst>
                <a:ext uri="{FF2B5EF4-FFF2-40B4-BE49-F238E27FC236}">
                  <a16:creationId xmlns:a16="http://schemas.microsoft.com/office/drawing/2014/main" id="{89FD6739-B771-B318-CF98-00C19540FA60}"/>
                </a:ext>
              </a:extLst>
            </p:cNvPr>
            <p:cNvSpPr>
              <a:spLocks/>
            </p:cNvSpPr>
            <p:nvPr/>
          </p:nvSpPr>
          <p:spPr bwMode="auto">
            <a:xfrm>
              <a:off x="13930620" y="2883867"/>
              <a:ext cx="92719" cy="26249"/>
            </a:xfrm>
            <a:custGeom>
              <a:avLst/>
              <a:gdLst/>
              <a:ahLst/>
              <a:cxnLst>
                <a:cxn ang="0">
                  <a:pos x="9" y="0"/>
                </a:cxn>
                <a:cxn ang="0">
                  <a:pos x="29" y="0"/>
                </a:cxn>
                <a:cxn ang="0">
                  <a:pos x="49" y="0"/>
                </a:cxn>
                <a:cxn ang="0">
                  <a:pos x="69" y="9"/>
                </a:cxn>
                <a:cxn ang="0">
                  <a:pos x="69" y="20"/>
                </a:cxn>
                <a:cxn ang="0">
                  <a:pos x="69" y="9"/>
                </a:cxn>
                <a:cxn ang="0">
                  <a:pos x="49" y="9"/>
                </a:cxn>
                <a:cxn ang="0">
                  <a:pos x="29" y="9"/>
                </a:cxn>
                <a:cxn ang="0">
                  <a:pos x="19" y="9"/>
                </a:cxn>
                <a:cxn ang="0">
                  <a:pos x="19" y="9"/>
                </a:cxn>
                <a:cxn ang="0">
                  <a:pos x="9" y="9"/>
                </a:cxn>
                <a:cxn ang="0">
                  <a:pos x="0" y="20"/>
                </a:cxn>
                <a:cxn ang="0">
                  <a:pos x="0" y="20"/>
                </a:cxn>
                <a:cxn ang="0">
                  <a:pos x="0" y="9"/>
                </a:cxn>
                <a:cxn ang="0">
                  <a:pos x="9" y="0"/>
                </a:cxn>
                <a:cxn ang="0">
                  <a:pos x="9" y="0"/>
                </a:cxn>
              </a:cxnLst>
              <a:rect l="0" t="0" r="r" b="b"/>
              <a:pathLst>
                <a:path w="69" h="20">
                  <a:moveTo>
                    <a:pt x="9" y="0"/>
                  </a:moveTo>
                  <a:lnTo>
                    <a:pt x="29" y="0"/>
                  </a:lnTo>
                  <a:lnTo>
                    <a:pt x="49" y="0"/>
                  </a:lnTo>
                  <a:lnTo>
                    <a:pt x="69" y="9"/>
                  </a:lnTo>
                  <a:lnTo>
                    <a:pt x="69" y="20"/>
                  </a:lnTo>
                  <a:lnTo>
                    <a:pt x="69" y="9"/>
                  </a:lnTo>
                  <a:lnTo>
                    <a:pt x="49" y="9"/>
                  </a:lnTo>
                  <a:lnTo>
                    <a:pt x="29" y="9"/>
                  </a:lnTo>
                  <a:lnTo>
                    <a:pt x="19" y="9"/>
                  </a:lnTo>
                  <a:lnTo>
                    <a:pt x="19" y="9"/>
                  </a:lnTo>
                  <a:lnTo>
                    <a:pt x="9" y="9"/>
                  </a:lnTo>
                  <a:lnTo>
                    <a:pt x="0" y="20"/>
                  </a:lnTo>
                  <a:lnTo>
                    <a:pt x="0" y="20"/>
                  </a:lnTo>
                  <a:lnTo>
                    <a:pt x="0" y="9"/>
                  </a:lnTo>
                  <a:lnTo>
                    <a:pt x="9" y="0"/>
                  </a:lnTo>
                  <a:lnTo>
                    <a:pt x="9"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4" name="Freeform 975">
              <a:extLst>
                <a:ext uri="{FF2B5EF4-FFF2-40B4-BE49-F238E27FC236}">
                  <a16:creationId xmlns:a16="http://schemas.microsoft.com/office/drawing/2014/main" id="{4A769F6F-E16F-EB09-469D-524114191FFB}"/>
                </a:ext>
              </a:extLst>
            </p:cNvPr>
            <p:cNvSpPr>
              <a:spLocks/>
            </p:cNvSpPr>
            <p:nvPr/>
          </p:nvSpPr>
          <p:spPr bwMode="auto">
            <a:xfrm>
              <a:off x="13289649" y="3365529"/>
              <a:ext cx="40313" cy="26249"/>
            </a:xfrm>
            <a:custGeom>
              <a:avLst/>
              <a:gdLst/>
              <a:ahLst/>
              <a:cxnLst>
                <a:cxn ang="0">
                  <a:pos x="0" y="0"/>
                </a:cxn>
                <a:cxn ang="0">
                  <a:pos x="10" y="10"/>
                </a:cxn>
                <a:cxn ang="0">
                  <a:pos x="10" y="0"/>
                </a:cxn>
                <a:cxn ang="0">
                  <a:pos x="10" y="0"/>
                </a:cxn>
                <a:cxn ang="0">
                  <a:pos x="30" y="10"/>
                </a:cxn>
                <a:cxn ang="0">
                  <a:pos x="30" y="10"/>
                </a:cxn>
                <a:cxn ang="0">
                  <a:pos x="30" y="20"/>
                </a:cxn>
                <a:cxn ang="0">
                  <a:pos x="30" y="20"/>
                </a:cxn>
                <a:cxn ang="0">
                  <a:pos x="20" y="20"/>
                </a:cxn>
                <a:cxn ang="0">
                  <a:pos x="10" y="20"/>
                </a:cxn>
                <a:cxn ang="0">
                  <a:pos x="0" y="10"/>
                </a:cxn>
                <a:cxn ang="0">
                  <a:pos x="0" y="0"/>
                </a:cxn>
                <a:cxn ang="0">
                  <a:pos x="0" y="0"/>
                </a:cxn>
              </a:cxnLst>
              <a:rect l="0" t="0" r="r" b="b"/>
              <a:pathLst>
                <a:path w="30" h="20">
                  <a:moveTo>
                    <a:pt x="0" y="0"/>
                  </a:moveTo>
                  <a:lnTo>
                    <a:pt x="10" y="10"/>
                  </a:lnTo>
                  <a:lnTo>
                    <a:pt x="10" y="0"/>
                  </a:lnTo>
                  <a:lnTo>
                    <a:pt x="10" y="0"/>
                  </a:lnTo>
                  <a:lnTo>
                    <a:pt x="30" y="10"/>
                  </a:lnTo>
                  <a:lnTo>
                    <a:pt x="30" y="10"/>
                  </a:lnTo>
                  <a:lnTo>
                    <a:pt x="30" y="20"/>
                  </a:lnTo>
                  <a:lnTo>
                    <a:pt x="30" y="20"/>
                  </a:lnTo>
                  <a:lnTo>
                    <a:pt x="20" y="20"/>
                  </a:lnTo>
                  <a:lnTo>
                    <a:pt x="10" y="20"/>
                  </a:lnTo>
                  <a:lnTo>
                    <a:pt x="0" y="10"/>
                  </a:lnTo>
                  <a:lnTo>
                    <a:pt x="0" y="0"/>
                  </a:lnTo>
                  <a:lnTo>
                    <a:pt x="0" y="0"/>
                  </a:lnTo>
                  <a:close/>
                </a:path>
              </a:pathLst>
            </a:custGeom>
            <a:solidFill>
              <a:schemeClr val="bg1"/>
            </a:solidFill>
            <a:ln w="12700" cap="flat" cmpd="sng">
              <a:solidFill>
                <a:schemeClr val="tx1"/>
              </a:solidFill>
              <a:prstDash val="solid"/>
              <a:bevel/>
              <a:headEnd/>
              <a:tailEnd/>
            </a:ln>
          </p:spPr>
          <p:txBody>
            <a:bodyPr/>
            <a:lstStyle/>
            <a:p>
              <a:endParaRPr lang="nl-NL"/>
            </a:p>
          </p:txBody>
        </p:sp>
        <p:sp>
          <p:nvSpPr>
            <p:cNvPr id="115" name="Freeform 1009">
              <a:extLst>
                <a:ext uri="{FF2B5EF4-FFF2-40B4-BE49-F238E27FC236}">
                  <a16:creationId xmlns:a16="http://schemas.microsoft.com/office/drawing/2014/main" id="{06D984D9-FFB2-9561-1C64-84731B242E22}"/>
                </a:ext>
              </a:extLst>
            </p:cNvPr>
            <p:cNvSpPr>
              <a:spLocks/>
            </p:cNvSpPr>
            <p:nvPr/>
          </p:nvSpPr>
          <p:spPr bwMode="auto">
            <a:xfrm>
              <a:off x="12488771" y="3365529"/>
              <a:ext cx="373564" cy="287422"/>
            </a:xfrm>
            <a:custGeom>
              <a:avLst/>
              <a:gdLst/>
              <a:ahLst/>
              <a:cxnLst>
                <a:cxn ang="0">
                  <a:pos x="159" y="10"/>
                </a:cxn>
                <a:cxn ang="0">
                  <a:pos x="189" y="30"/>
                </a:cxn>
                <a:cxn ang="0">
                  <a:pos x="198" y="30"/>
                </a:cxn>
                <a:cxn ang="0">
                  <a:pos x="209" y="50"/>
                </a:cxn>
                <a:cxn ang="0">
                  <a:pos x="209" y="60"/>
                </a:cxn>
                <a:cxn ang="0">
                  <a:pos x="218" y="60"/>
                </a:cxn>
                <a:cxn ang="0">
                  <a:pos x="258" y="90"/>
                </a:cxn>
                <a:cxn ang="0">
                  <a:pos x="248" y="90"/>
                </a:cxn>
                <a:cxn ang="0">
                  <a:pos x="258" y="100"/>
                </a:cxn>
                <a:cxn ang="0">
                  <a:pos x="268" y="109"/>
                </a:cxn>
                <a:cxn ang="0">
                  <a:pos x="268" y="119"/>
                </a:cxn>
                <a:cxn ang="0">
                  <a:pos x="278" y="109"/>
                </a:cxn>
                <a:cxn ang="0">
                  <a:pos x="278" y="129"/>
                </a:cxn>
                <a:cxn ang="0">
                  <a:pos x="268" y="139"/>
                </a:cxn>
                <a:cxn ang="0">
                  <a:pos x="228" y="159"/>
                </a:cxn>
                <a:cxn ang="0">
                  <a:pos x="238" y="189"/>
                </a:cxn>
                <a:cxn ang="0">
                  <a:pos x="228" y="209"/>
                </a:cxn>
                <a:cxn ang="0">
                  <a:pos x="209" y="209"/>
                </a:cxn>
                <a:cxn ang="0">
                  <a:pos x="198" y="199"/>
                </a:cxn>
                <a:cxn ang="0">
                  <a:pos x="189" y="189"/>
                </a:cxn>
                <a:cxn ang="0">
                  <a:pos x="169" y="199"/>
                </a:cxn>
                <a:cxn ang="0">
                  <a:pos x="149" y="219"/>
                </a:cxn>
                <a:cxn ang="0">
                  <a:pos x="119" y="219"/>
                </a:cxn>
                <a:cxn ang="0">
                  <a:pos x="119" y="219"/>
                </a:cxn>
                <a:cxn ang="0">
                  <a:pos x="119" y="209"/>
                </a:cxn>
                <a:cxn ang="0">
                  <a:pos x="69" y="189"/>
                </a:cxn>
                <a:cxn ang="0">
                  <a:pos x="49" y="179"/>
                </a:cxn>
                <a:cxn ang="0">
                  <a:pos x="20" y="179"/>
                </a:cxn>
                <a:cxn ang="0">
                  <a:pos x="40" y="149"/>
                </a:cxn>
                <a:cxn ang="0">
                  <a:pos x="20" y="129"/>
                </a:cxn>
                <a:cxn ang="0">
                  <a:pos x="10" y="129"/>
                </a:cxn>
                <a:cxn ang="0">
                  <a:pos x="0" y="90"/>
                </a:cxn>
                <a:cxn ang="0">
                  <a:pos x="60" y="60"/>
                </a:cxn>
                <a:cxn ang="0">
                  <a:pos x="89" y="40"/>
                </a:cxn>
                <a:cxn ang="0">
                  <a:pos x="129" y="30"/>
                </a:cxn>
                <a:cxn ang="0">
                  <a:pos x="139" y="20"/>
                </a:cxn>
              </a:cxnLst>
              <a:rect l="0" t="0" r="r" b="b"/>
              <a:pathLst>
                <a:path w="278" h="219">
                  <a:moveTo>
                    <a:pt x="139" y="20"/>
                  </a:moveTo>
                  <a:lnTo>
                    <a:pt x="159" y="10"/>
                  </a:lnTo>
                  <a:lnTo>
                    <a:pt x="169" y="0"/>
                  </a:lnTo>
                  <a:lnTo>
                    <a:pt x="189" y="30"/>
                  </a:lnTo>
                  <a:lnTo>
                    <a:pt x="198" y="30"/>
                  </a:lnTo>
                  <a:lnTo>
                    <a:pt x="198" y="30"/>
                  </a:lnTo>
                  <a:lnTo>
                    <a:pt x="209" y="40"/>
                  </a:lnTo>
                  <a:lnTo>
                    <a:pt x="209" y="50"/>
                  </a:lnTo>
                  <a:lnTo>
                    <a:pt x="209" y="50"/>
                  </a:lnTo>
                  <a:lnTo>
                    <a:pt x="209" y="60"/>
                  </a:lnTo>
                  <a:lnTo>
                    <a:pt x="218" y="60"/>
                  </a:lnTo>
                  <a:lnTo>
                    <a:pt x="218" y="60"/>
                  </a:lnTo>
                  <a:lnTo>
                    <a:pt x="238" y="70"/>
                  </a:lnTo>
                  <a:lnTo>
                    <a:pt x="258" y="90"/>
                  </a:lnTo>
                  <a:lnTo>
                    <a:pt x="248" y="90"/>
                  </a:lnTo>
                  <a:lnTo>
                    <a:pt x="248" y="90"/>
                  </a:lnTo>
                  <a:lnTo>
                    <a:pt x="258" y="100"/>
                  </a:lnTo>
                  <a:lnTo>
                    <a:pt x="258" y="100"/>
                  </a:lnTo>
                  <a:lnTo>
                    <a:pt x="268" y="100"/>
                  </a:lnTo>
                  <a:lnTo>
                    <a:pt x="268" y="109"/>
                  </a:lnTo>
                  <a:lnTo>
                    <a:pt x="268" y="109"/>
                  </a:lnTo>
                  <a:lnTo>
                    <a:pt x="268" y="119"/>
                  </a:lnTo>
                  <a:lnTo>
                    <a:pt x="278" y="109"/>
                  </a:lnTo>
                  <a:lnTo>
                    <a:pt x="278" y="109"/>
                  </a:lnTo>
                  <a:lnTo>
                    <a:pt x="278" y="119"/>
                  </a:lnTo>
                  <a:lnTo>
                    <a:pt x="278" y="129"/>
                  </a:lnTo>
                  <a:lnTo>
                    <a:pt x="278" y="129"/>
                  </a:lnTo>
                  <a:lnTo>
                    <a:pt x="268" y="139"/>
                  </a:lnTo>
                  <a:lnTo>
                    <a:pt x="228" y="159"/>
                  </a:lnTo>
                  <a:lnTo>
                    <a:pt x="228" y="159"/>
                  </a:lnTo>
                  <a:lnTo>
                    <a:pt x="238" y="179"/>
                  </a:lnTo>
                  <a:lnTo>
                    <a:pt x="238" y="189"/>
                  </a:lnTo>
                  <a:lnTo>
                    <a:pt x="228" y="199"/>
                  </a:lnTo>
                  <a:lnTo>
                    <a:pt x="228" y="209"/>
                  </a:lnTo>
                  <a:lnTo>
                    <a:pt x="209" y="219"/>
                  </a:lnTo>
                  <a:lnTo>
                    <a:pt x="209" y="209"/>
                  </a:lnTo>
                  <a:lnTo>
                    <a:pt x="209" y="209"/>
                  </a:lnTo>
                  <a:lnTo>
                    <a:pt x="198" y="199"/>
                  </a:lnTo>
                  <a:lnTo>
                    <a:pt x="189" y="199"/>
                  </a:lnTo>
                  <a:lnTo>
                    <a:pt x="189" y="189"/>
                  </a:lnTo>
                  <a:lnTo>
                    <a:pt x="179" y="189"/>
                  </a:lnTo>
                  <a:lnTo>
                    <a:pt x="169" y="199"/>
                  </a:lnTo>
                  <a:lnTo>
                    <a:pt x="159" y="219"/>
                  </a:lnTo>
                  <a:lnTo>
                    <a:pt x="149" y="219"/>
                  </a:lnTo>
                  <a:lnTo>
                    <a:pt x="129" y="219"/>
                  </a:lnTo>
                  <a:lnTo>
                    <a:pt x="119" y="219"/>
                  </a:lnTo>
                  <a:lnTo>
                    <a:pt x="119" y="219"/>
                  </a:lnTo>
                  <a:lnTo>
                    <a:pt x="119" y="219"/>
                  </a:lnTo>
                  <a:lnTo>
                    <a:pt x="119" y="209"/>
                  </a:lnTo>
                  <a:lnTo>
                    <a:pt x="119" y="209"/>
                  </a:lnTo>
                  <a:lnTo>
                    <a:pt x="109" y="209"/>
                  </a:lnTo>
                  <a:lnTo>
                    <a:pt x="69" y="189"/>
                  </a:lnTo>
                  <a:lnTo>
                    <a:pt x="60" y="179"/>
                  </a:lnTo>
                  <a:lnTo>
                    <a:pt x="49" y="179"/>
                  </a:lnTo>
                  <a:lnTo>
                    <a:pt x="20" y="179"/>
                  </a:lnTo>
                  <a:lnTo>
                    <a:pt x="20" y="179"/>
                  </a:lnTo>
                  <a:lnTo>
                    <a:pt x="30" y="159"/>
                  </a:lnTo>
                  <a:lnTo>
                    <a:pt x="40" y="149"/>
                  </a:lnTo>
                  <a:lnTo>
                    <a:pt x="40" y="139"/>
                  </a:lnTo>
                  <a:lnTo>
                    <a:pt x="20" y="129"/>
                  </a:lnTo>
                  <a:lnTo>
                    <a:pt x="0" y="129"/>
                  </a:lnTo>
                  <a:lnTo>
                    <a:pt x="10" y="129"/>
                  </a:lnTo>
                  <a:lnTo>
                    <a:pt x="10" y="119"/>
                  </a:lnTo>
                  <a:lnTo>
                    <a:pt x="0" y="90"/>
                  </a:lnTo>
                  <a:lnTo>
                    <a:pt x="20" y="80"/>
                  </a:lnTo>
                  <a:lnTo>
                    <a:pt x="60" y="60"/>
                  </a:lnTo>
                  <a:lnTo>
                    <a:pt x="60" y="60"/>
                  </a:lnTo>
                  <a:lnTo>
                    <a:pt x="89" y="40"/>
                  </a:lnTo>
                  <a:lnTo>
                    <a:pt x="109" y="40"/>
                  </a:lnTo>
                  <a:lnTo>
                    <a:pt x="129" y="30"/>
                  </a:lnTo>
                  <a:lnTo>
                    <a:pt x="139" y="20"/>
                  </a:lnTo>
                  <a:lnTo>
                    <a:pt x="139" y="20"/>
                  </a:lnTo>
                  <a:close/>
                </a:path>
              </a:pathLst>
            </a:custGeom>
            <a:solidFill>
              <a:schemeClr val="bg1"/>
            </a:solidFill>
            <a:ln w="12700" cap="flat" cmpd="sng">
              <a:solidFill>
                <a:schemeClr val="tx1"/>
              </a:solidFill>
              <a:prstDash val="solid"/>
              <a:bevel/>
              <a:headEnd/>
              <a:tailEnd/>
            </a:ln>
          </p:spPr>
          <p:txBody>
            <a:bodyPr/>
            <a:lstStyle/>
            <a:p>
              <a:endParaRPr lang="nl-NL"/>
            </a:p>
          </p:txBody>
        </p:sp>
      </p:grpSp>
      <p:grpSp>
        <p:nvGrpSpPr>
          <p:cNvPr id="116" name="Groep 115">
            <a:extLst>
              <a:ext uri="{FF2B5EF4-FFF2-40B4-BE49-F238E27FC236}">
                <a16:creationId xmlns:a16="http://schemas.microsoft.com/office/drawing/2014/main" id="{85F407EF-E6B4-4D2D-7634-AF25CCBC38A9}"/>
              </a:ext>
            </a:extLst>
          </p:cNvPr>
          <p:cNvGrpSpPr>
            <a:grpSpLocks noChangeAspect="1"/>
          </p:cNvGrpSpPr>
          <p:nvPr/>
        </p:nvGrpSpPr>
        <p:grpSpPr>
          <a:xfrm>
            <a:off x="9173828" y="7911470"/>
            <a:ext cx="2488694" cy="2777753"/>
            <a:chOff x="916449" y="2902338"/>
            <a:chExt cx="6702940" cy="7909680"/>
          </a:xfrm>
          <a:solidFill>
            <a:schemeClr val="accent1">
              <a:lumMod val="40000"/>
              <a:lumOff val="60000"/>
            </a:schemeClr>
          </a:solidFill>
        </p:grpSpPr>
        <p:sp>
          <p:nvSpPr>
            <p:cNvPr id="117" name="Freeform 531">
              <a:extLst>
                <a:ext uri="{FF2B5EF4-FFF2-40B4-BE49-F238E27FC236}">
                  <a16:creationId xmlns:a16="http://schemas.microsoft.com/office/drawing/2014/main" id="{344838E7-129A-BBA2-473F-693A35461182}"/>
                </a:ext>
              </a:extLst>
            </p:cNvPr>
            <p:cNvSpPr>
              <a:spLocks noEditPoints="1"/>
            </p:cNvSpPr>
            <p:nvPr/>
          </p:nvSpPr>
          <p:spPr bwMode="auto">
            <a:xfrm>
              <a:off x="1907135" y="6367104"/>
              <a:ext cx="2236949" cy="1765318"/>
            </a:xfrm>
            <a:custGeom>
              <a:avLst/>
              <a:gdLst/>
              <a:ahLst/>
              <a:cxnLst>
                <a:cxn ang="0">
                  <a:pos x="2836" y="1058"/>
                </a:cxn>
                <a:cxn ang="0">
                  <a:pos x="2117" y="1989"/>
                </a:cxn>
                <a:cxn ang="0">
                  <a:pos x="2032" y="2074"/>
                </a:cxn>
                <a:cxn ang="0">
                  <a:pos x="1524" y="2667"/>
                </a:cxn>
                <a:cxn ang="0">
                  <a:pos x="1101" y="3090"/>
                </a:cxn>
                <a:cxn ang="0">
                  <a:pos x="677" y="3132"/>
                </a:cxn>
                <a:cxn ang="0">
                  <a:pos x="550" y="3556"/>
                </a:cxn>
                <a:cxn ang="0">
                  <a:pos x="847" y="3640"/>
                </a:cxn>
                <a:cxn ang="0">
                  <a:pos x="720" y="3979"/>
                </a:cxn>
                <a:cxn ang="0">
                  <a:pos x="1016" y="4402"/>
                </a:cxn>
                <a:cxn ang="0">
                  <a:pos x="1270" y="4529"/>
                </a:cxn>
                <a:cxn ang="0">
                  <a:pos x="1439" y="4572"/>
                </a:cxn>
                <a:cxn ang="0">
                  <a:pos x="1778" y="4783"/>
                </a:cxn>
                <a:cxn ang="0">
                  <a:pos x="1905" y="5037"/>
                </a:cxn>
                <a:cxn ang="0">
                  <a:pos x="2328" y="5249"/>
                </a:cxn>
                <a:cxn ang="0">
                  <a:pos x="2921" y="5545"/>
                </a:cxn>
                <a:cxn ang="0">
                  <a:pos x="3387" y="5630"/>
                </a:cxn>
                <a:cxn ang="0">
                  <a:pos x="3810" y="5630"/>
                </a:cxn>
                <a:cxn ang="0">
                  <a:pos x="4191" y="5503"/>
                </a:cxn>
                <a:cxn ang="0">
                  <a:pos x="4699" y="5207"/>
                </a:cxn>
                <a:cxn ang="0">
                  <a:pos x="4953" y="4868"/>
                </a:cxn>
                <a:cxn ang="0">
                  <a:pos x="5461" y="4783"/>
                </a:cxn>
                <a:cxn ang="0">
                  <a:pos x="5884" y="4572"/>
                </a:cxn>
                <a:cxn ang="0">
                  <a:pos x="6350" y="4656"/>
                </a:cxn>
                <a:cxn ang="0">
                  <a:pos x="6223" y="4402"/>
                </a:cxn>
                <a:cxn ang="0">
                  <a:pos x="6477" y="4275"/>
                </a:cxn>
                <a:cxn ang="0">
                  <a:pos x="6562" y="4148"/>
                </a:cxn>
                <a:cxn ang="0">
                  <a:pos x="6858" y="4021"/>
                </a:cxn>
                <a:cxn ang="0">
                  <a:pos x="7070" y="3640"/>
                </a:cxn>
                <a:cxn ang="0">
                  <a:pos x="7070" y="3259"/>
                </a:cxn>
                <a:cxn ang="0">
                  <a:pos x="6858" y="3005"/>
                </a:cxn>
                <a:cxn ang="0">
                  <a:pos x="6477" y="3175"/>
                </a:cxn>
                <a:cxn ang="0">
                  <a:pos x="6181" y="3217"/>
                </a:cxn>
                <a:cxn ang="0">
                  <a:pos x="5927" y="3344"/>
                </a:cxn>
                <a:cxn ang="0">
                  <a:pos x="5673" y="3556"/>
                </a:cxn>
                <a:cxn ang="0">
                  <a:pos x="5461" y="3344"/>
                </a:cxn>
                <a:cxn ang="0">
                  <a:pos x="5376" y="2963"/>
                </a:cxn>
                <a:cxn ang="0">
                  <a:pos x="5165" y="2878"/>
                </a:cxn>
                <a:cxn ang="0">
                  <a:pos x="5249" y="2540"/>
                </a:cxn>
                <a:cxn ang="0">
                  <a:pos x="5292" y="2328"/>
                </a:cxn>
                <a:cxn ang="0">
                  <a:pos x="5038" y="1905"/>
                </a:cxn>
                <a:cxn ang="0">
                  <a:pos x="5165" y="1735"/>
                </a:cxn>
                <a:cxn ang="0">
                  <a:pos x="5503" y="1735"/>
                </a:cxn>
                <a:cxn ang="0">
                  <a:pos x="5249" y="1270"/>
                </a:cxn>
                <a:cxn ang="0">
                  <a:pos x="5122" y="1016"/>
                </a:cxn>
                <a:cxn ang="0">
                  <a:pos x="4911" y="1016"/>
                </a:cxn>
                <a:cxn ang="0">
                  <a:pos x="4572" y="846"/>
                </a:cxn>
                <a:cxn ang="0">
                  <a:pos x="4318" y="931"/>
                </a:cxn>
                <a:cxn ang="0">
                  <a:pos x="3852" y="1016"/>
                </a:cxn>
                <a:cxn ang="0">
                  <a:pos x="3768" y="846"/>
                </a:cxn>
                <a:cxn ang="0">
                  <a:pos x="3990" y="334"/>
                </a:cxn>
                <a:cxn ang="0">
                  <a:pos x="3906" y="76"/>
                </a:cxn>
                <a:cxn ang="0">
                  <a:pos x="847" y="4445"/>
                </a:cxn>
                <a:cxn ang="0">
                  <a:pos x="169" y="4826"/>
                </a:cxn>
                <a:cxn ang="0">
                  <a:pos x="127" y="4995"/>
                </a:cxn>
              </a:cxnLst>
              <a:rect l="0" t="0" r="r" b="b"/>
              <a:pathLst>
                <a:path w="7239" h="5715">
                  <a:moveTo>
                    <a:pt x="3387" y="0"/>
                  </a:moveTo>
                  <a:lnTo>
                    <a:pt x="3133" y="550"/>
                  </a:lnTo>
                  <a:lnTo>
                    <a:pt x="3048" y="677"/>
                  </a:lnTo>
                  <a:lnTo>
                    <a:pt x="3006" y="762"/>
                  </a:lnTo>
                  <a:lnTo>
                    <a:pt x="2879" y="973"/>
                  </a:lnTo>
                  <a:lnTo>
                    <a:pt x="2836" y="1016"/>
                  </a:lnTo>
                  <a:lnTo>
                    <a:pt x="2836" y="1058"/>
                  </a:lnTo>
                  <a:lnTo>
                    <a:pt x="2752" y="1185"/>
                  </a:lnTo>
                  <a:lnTo>
                    <a:pt x="2709" y="1270"/>
                  </a:lnTo>
                  <a:lnTo>
                    <a:pt x="2582" y="1439"/>
                  </a:lnTo>
                  <a:lnTo>
                    <a:pt x="2328" y="1778"/>
                  </a:lnTo>
                  <a:lnTo>
                    <a:pt x="2201" y="1862"/>
                  </a:lnTo>
                  <a:lnTo>
                    <a:pt x="2201" y="1905"/>
                  </a:lnTo>
                  <a:lnTo>
                    <a:pt x="2117" y="1989"/>
                  </a:lnTo>
                  <a:lnTo>
                    <a:pt x="2074" y="1989"/>
                  </a:lnTo>
                  <a:lnTo>
                    <a:pt x="2074" y="2032"/>
                  </a:lnTo>
                  <a:lnTo>
                    <a:pt x="2074" y="2074"/>
                  </a:lnTo>
                  <a:lnTo>
                    <a:pt x="2117" y="2074"/>
                  </a:lnTo>
                  <a:lnTo>
                    <a:pt x="2074" y="2116"/>
                  </a:lnTo>
                  <a:lnTo>
                    <a:pt x="2074" y="2074"/>
                  </a:lnTo>
                  <a:lnTo>
                    <a:pt x="2032" y="2074"/>
                  </a:lnTo>
                  <a:lnTo>
                    <a:pt x="1990" y="2116"/>
                  </a:lnTo>
                  <a:lnTo>
                    <a:pt x="1947" y="2201"/>
                  </a:lnTo>
                  <a:lnTo>
                    <a:pt x="1905" y="2243"/>
                  </a:lnTo>
                  <a:lnTo>
                    <a:pt x="1778" y="2370"/>
                  </a:lnTo>
                  <a:lnTo>
                    <a:pt x="1693" y="2455"/>
                  </a:lnTo>
                  <a:lnTo>
                    <a:pt x="1566" y="2624"/>
                  </a:lnTo>
                  <a:lnTo>
                    <a:pt x="1524" y="2667"/>
                  </a:lnTo>
                  <a:lnTo>
                    <a:pt x="1439" y="2751"/>
                  </a:lnTo>
                  <a:lnTo>
                    <a:pt x="1397" y="2794"/>
                  </a:lnTo>
                  <a:lnTo>
                    <a:pt x="1397" y="2836"/>
                  </a:lnTo>
                  <a:lnTo>
                    <a:pt x="1312" y="2963"/>
                  </a:lnTo>
                  <a:lnTo>
                    <a:pt x="1228" y="3005"/>
                  </a:lnTo>
                  <a:lnTo>
                    <a:pt x="1143" y="3090"/>
                  </a:lnTo>
                  <a:lnTo>
                    <a:pt x="1101" y="3090"/>
                  </a:lnTo>
                  <a:lnTo>
                    <a:pt x="1058" y="3048"/>
                  </a:lnTo>
                  <a:lnTo>
                    <a:pt x="847" y="3005"/>
                  </a:lnTo>
                  <a:lnTo>
                    <a:pt x="804" y="3048"/>
                  </a:lnTo>
                  <a:lnTo>
                    <a:pt x="762" y="3048"/>
                  </a:lnTo>
                  <a:lnTo>
                    <a:pt x="720" y="3048"/>
                  </a:lnTo>
                  <a:lnTo>
                    <a:pt x="677" y="3090"/>
                  </a:lnTo>
                  <a:lnTo>
                    <a:pt x="677" y="3132"/>
                  </a:lnTo>
                  <a:lnTo>
                    <a:pt x="635" y="3175"/>
                  </a:lnTo>
                  <a:lnTo>
                    <a:pt x="593" y="3259"/>
                  </a:lnTo>
                  <a:lnTo>
                    <a:pt x="635" y="3302"/>
                  </a:lnTo>
                  <a:lnTo>
                    <a:pt x="677" y="3344"/>
                  </a:lnTo>
                  <a:lnTo>
                    <a:pt x="677" y="3386"/>
                  </a:lnTo>
                  <a:lnTo>
                    <a:pt x="593" y="3471"/>
                  </a:lnTo>
                  <a:lnTo>
                    <a:pt x="550" y="3556"/>
                  </a:lnTo>
                  <a:lnTo>
                    <a:pt x="466" y="3683"/>
                  </a:lnTo>
                  <a:lnTo>
                    <a:pt x="508" y="3683"/>
                  </a:lnTo>
                  <a:lnTo>
                    <a:pt x="550" y="3683"/>
                  </a:lnTo>
                  <a:lnTo>
                    <a:pt x="593" y="3725"/>
                  </a:lnTo>
                  <a:lnTo>
                    <a:pt x="635" y="3683"/>
                  </a:lnTo>
                  <a:lnTo>
                    <a:pt x="804" y="3640"/>
                  </a:lnTo>
                  <a:lnTo>
                    <a:pt x="847" y="3640"/>
                  </a:lnTo>
                  <a:lnTo>
                    <a:pt x="889" y="3725"/>
                  </a:lnTo>
                  <a:lnTo>
                    <a:pt x="847" y="3725"/>
                  </a:lnTo>
                  <a:lnTo>
                    <a:pt x="847" y="3767"/>
                  </a:lnTo>
                  <a:lnTo>
                    <a:pt x="762" y="3852"/>
                  </a:lnTo>
                  <a:lnTo>
                    <a:pt x="762" y="3894"/>
                  </a:lnTo>
                  <a:lnTo>
                    <a:pt x="720" y="3937"/>
                  </a:lnTo>
                  <a:lnTo>
                    <a:pt x="720" y="3979"/>
                  </a:lnTo>
                  <a:lnTo>
                    <a:pt x="762" y="4021"/>
                  </a:lnTo>
                  <a:lnTo>
                    <a:pt x="931" y="4275"/>
                  </a:lnTo>
                  <a:lnTo>
                    <a:pt x="931" y="4318"/>
                  </a:lnTo>
                  <a:lnTo>
                    <a:pt x="931" y="4360"/>
                  </a:lnTo>
                  <a:lnTo>
                    <a:pt x="889" y="4402"/>
                  </a:lnTo>
                  <a:lnTo>
                    <a:pt x="974" y="4360"/>
                  </a:lnTo>
                  <a:lnTo>
                    <a:pt x="1016" y="4402"/>
                  </a:lnTo>
                  <a:lnTo>
                    <a:pt x="1058" y="4445"/>
                  </a:lnTo>
                  <a:lnTo>
                    <a:pt x="1101" y="4487"/>
                  </a:lnTo>
                  <a:lnTo>
                    <a:pt x="1101" y="4529"/>
                  </a:lnTo>
                  <a:lnTo>
                    <a:pt x="1143" y="4529"/>
                  </a:lnTo>
                  <a:lnTo>
                    <a:pt x="1185" y="4529"/>
                  </a:lnTo>
                  <a:lnTo>
                    <a:pt x="1228" y="4529"/>
                  </a:lnTo>
                  <a:lnTo>
                    <a:pt x="1270" y="4529"/>
                  </a:lnTo>
                  <a:lnTo>
                    <a:pt x="1228" y="4572"/>
                  </a:lnTo>
                  <a:lnTo>
                    <a:pt x="1270" y="4614"/>
                  </a:lnTo>
                  <a:lnTo>
                    <a:pt x="1312" y="4614"/>
                  </a:lnTo>
                  <a:lnTo>
                    <a:pt x="1312" y="4572"/>
                  </a:lnTo>
                  <a:lnTo>
                    <a:pt x="1355" y="4572"/>
                  </a:lnTo>
                  <a:lnTo>
                    <a:pt x="1397" y="4572"/>
                  </a:lnTo>
                  <a:lnTo>
                    <a:pt x="1439" y="4572"/>
                  </a:lnTo>
                  <a:lnTo>
                    <a:pt x="1482" y="4614"/>
                  </a:lnTo>
                  <a:lnTo>
                    <a:pt x="1566" y="4741"/>
                  </a:lnTo>
                  <a:lnTo>
                    <a:pt x="1609" y="4741"/>
                  </a:lnTo>
                  <a:lnTo>
                    <a:pt x="1651" y="4741"/>
                  </a:lnTo>
                  <a:lnTo>
                    <a:pt x="1693" y="4741"/>
                  </a:lnTo>
                  <a:lnTo>
                    <a:pt x="1693" y="4783"/>
                  </a:lnTo>
                  <a:lnTo>
                    <a:pt x="1778" y="4783"/>
                  </a:lnTo>
                  <a:lnTo>
                    <a:pt x="1820" y="4868"/>
                  </a:lnTo>
                  <a:lnTo>
                    <a:pt x="1863" y="4910"/>
                  </a:lnTo>
                  <a:lnTo>
                    <a:pt x="1905" y="4910"/>
                  </a:lnTo>
                  <a:lnTo>
                    <a:pt x="1947" y="4910"/>
                  </a:lnTo>
                  <a:lnTo>
                    <a:pt x="1905" y="4953"/>
                  </a:lnTo>
                  <a:lnTo>
                    <a:pt x="1863" y="4953"/>
                  </a:lnTo>
                  <a:lnTo>
                    <a:pt x="1905" y="5037"/>
                  </a:lnTo>
                  <a:lnTo>
                    <a:pt x="1947" y="5080"/>
                  </a:lnTo>
                  <a:lnTo>
                    <a:pt x="2074" y="5122"/>
                  </a:lnTo>
                  <a:lnTo>
                    <a:pt x="2074" y="5164"/>
                  </a:lnTo>
                  <a:lnTo>
                    <a:pt x="2159" y="5164"/>
                  </a:lnTo>
                  <a:lnTo>
                    <a:pt x="2244" y="5207"/>
                  </a:lnTo>
                  <a:lnTo>
                    <a:pt x="2328" y="5207"/>
                  </a:lnTo>
                  <a:lnTo>
                    <a:pt x="2328" y="5249"/>
                  </a:lnTo>
                  <a:lnTo>
                    <a:pt x="2498" y="5291"/>
                  </a:lnTo>
                  <a:lnTo>
                    <a:pt x="2582" y="5376"/>
                  </a:lnTo>
                  <a:lnTo>
                    <a:pt x="2625" y="5376"/>
                  </a:lnTo>
                  <a:lnTo>
                    <a:pt x="2709" y="5418"/>
                  </a:lnTo>
                  <a:lnTo>
                    <a:pt x="2836" y="5503"/>
                  </a:lnTo>
                  <a:lnTo>
                    <a:pt x="2879" y="5503"/>
                  </a:lnTo>
                  <a:lnTo>
                    <a:pt x="2921" y="5545"/>
                  </a:lnTo>
                  <a:lnTo>
                    <a:pt x="3006" y="5545"/>
                  </a:lnTo>
                  <a:lnTo>
                    <a:pt x="3006" y="5588"/>
                  </a:lnTo>
                  <a:lnTo>
                    <a:pt x="3175" y="5588"/>
                  </a:lnTo>
                  <a:lnTo>
                    <a:pt x="3217" y="5588"/>
                  </a:lnTo>
                  <a:lnTo>
                    <a:pt x="3302" y="5630"/>
                  </a:lnTo>
                  <a:lnTo>
                    <a:pt x="3344" y="5630"/>
                  </a:lnTo>
                  <a:lnTo>
                    <a:pt x="3387" y="5630"/>
                  </a:lnTo>
                  <a:lnTo>
                    <a:pt x="3429" y="5672"/>
                  </a:lnTo>
                  <a:lnTo>
                    <a:pt x="3471" y="5672"/>
                  </a:lnTo>
                  <a:lnTo>
                    <a:pt x="3514" y="5715"/>
                  </a:lnTo>
                  <a:lnTo>
                    <a:pt x="3556" y="5715"/>
                  </a:lnTo>
                  <a:lnTo>
                    <a:pt x="3641" y="5672"/>
                  </a:lnTo>
                  <a:lnTo>
                    <a:pt x="3683" y="5672"/>
                  </a:lnTo>
                  <a:lnTo>
                    <a:pt x="3810" y="5630"/>
                  </a:lnTo>
                  <a:lnTo>
                    <a:pt x="3852" y="5630"/>
                  </a:lnTo>
                  <a:lnTo>
                    <a:pt x="3895" y="5588"/>
                  </a:lnTo>
                  <a:lnTo>
                    <a:pt x="3979" y="5588"/>
                  </a:lnTo>
                  <a:lnTo>
                    <a:pt x="4022" y="5503"/>
                  </a:lnTo>
                  <a:lnTo>
                    <a:pt x="4064" y="5545"/>
                  </a:lnTo>
                  <a:lnTo>
                    <a:pt x="4106" y="5545"/>
                  </a:lnTo>
                  <a:lnTo>
                    <a:pt x="4191" y="5503"/>
                  </a:lnTo>
                  <a:lnTo>
                    <a:pt x="4191" y="5545"/>
                  </a:lnTo>
                  <a:lnTo>
                    <a:pt x="4360" y="5503"/>
                  </a:lnTo>
                  <a:lnTo>
                    <a:pt x="4403" y="5461"/>
                  </a:lnTo>
                  <a:lnTo>
                    <a:pt x="4445" y="5418"/>
                  </a:lnTo>
                  <a:lnTo>
                    <a:pt x="4530" y="5376"/>
                  </a:lnTo>
                  <a:lnTo>
                    <a:pt x="4657" y="5291"/>
                  </a:lnTo>
                  <a:lnTo>
                    <a:pt x="4699" y="5207"/>
                  </a:lnTo>
                  <a:lnTo>
                    <a:pt x="4741" y="5164"/>
                  </a:lnTo>
                  <a:lnTo>
                    <a:pt x="4784" y="5037"/>
                  </a:lnTo>
                  <a:lnTo>
                    <a:pt x="4826" y="4995"/>
                  </a:lnTo>
                  <a:lnTo>
                    <a:pt x="4868" y="4953"/>
                  </a:lnTo>
                  <a:lnTo>
                    <a:pt x="4868" y="4910"/>
                  </a:lnTo>
                  <a:lnTo>
                    <a:pt x="4911" y="4868"/>
                  </a:lnTo>
                  <a:lnTo>
                    <a:pt x="4953" y="4868"/>
                  </a:lnTo>
                  <a:lnTo>
                    <a:pt x="5038" y="4826"/>
                  </a:lnTo>
                  <a:lnTo>
                    <a:pt x="5122" y="4826"/>
                  </a:lnTo>
                  <a:lnTo>
                    <a:pt x="5207" y="4826"/>
                  </a:lnTo>
                  <a:lnTo>
                    <a:pt x="5292" y="4826"/>
                  </a:lnTo>
                  <a:lnTo>
                    <a:pt x="5334" y="4826"/>
                  </a:lnTo>
                  <a:lnTo>
                    <a:pt x="5419" y="4783"/>
                  </a:lnTo>
                  <a:lnTo>
                    <a:pt x="5461" y="4783"/>
                  </a:lnTo>
                  <a:lnTo>
                    <a:pt x="5546" y="4656"/>
                  </a:lnTo>
                  <a:lnTo>
                    <a:pt x="5588" y="4656"/>
                  </a:lnTo>
                  <a:lnTo>
                    <a:pt x="5673" y="4614"/>
                  </a:lnTo>
                  <a:lnTo>
                    <a:pt x="5715" y="4572"/>
                  </a:lnTo>
                  <a:lnTo>
                    <a:pt x="5800" y="4572"/>
                  </a:lnTo>
                  <a:lnTo>
                    <a:pt x="5842" y="4572"/>
                  </a:lnTo>
                  <a:lnTo>
                    <a:pt x="5884" y="4572"/>
                  </a:lnTo>
                  <a:lnTo>
                    <a:pt x="5969" y="4614"/>
                  </a:lnTo>
                  <a:lnTo>
                    <a:pt x="6054" y="4614"/>
                  </a:lnTo>
                  <a:lnTo>
                    <a:pt x="6096" y="4614"/>
                  </a:lnTo>
                  <a:lnTo>
                    <a:pt x="6138" y="4656"/>
                  </a:lnTo>
                  <a:lnTo>
                    <a:pt x="6223" y="4656"/>
                  </a:lnTo>
                  <a:lnTo>
                    <a:pt x="6265" y="4656"/>
                  </a:lnTo>
                  <a:lnTo>
                    <a:pt x="6350" y="4656"/>
                  </a:lnTo>
                  <a:lnTo>
                    <a:pt x="6350" y="4614"/>
                  </a:lnTo>
                  <a:lnTo>
                    <a:pt x="6392" y="4445"/>
                  </a:lnTo>
                  <a:lnTo>
                    <a:pt x="6308" y="4445"/>
                  </a:lnTo>
                  <a:lnTo>
                    <a:pt x="6265" y="4445"/>
                  </a:lnTo>
                  <a:lnTo>
                    <a:pt x="6223" y="4445"/>
                  </a:lnTo>
                  <a:lnTo>
                    <a:pt x="6181" y="4402"/>
                  </a:lnTo>
                  <a:lnTo>
                    <a:pt x="6223" y="4402"/>
                  </a:lnTo>
                  <a:lnTo>
                    <a:pt x="6181" y="4360"/>
                  </a:lnTo>
                  <a:lnTo>
                    <a:pt x="6181" y="4318"/>
                  </a:lnTo>
                  <a:lnTo>
                    <a:pt x="6181" y="4275"/>
                  </a:lnTo>
                  <a:lnTo>
                    <a:pt x="6223" y="4318"/>
                  </a:lnTo>
                  <a:lnTo>
                    <a:pt x="6308" y="4275"/>
                  </a:lnTo>
                  <a:lnTo>
                    <a:pt x="6350" y="4318"/>
                  </a:lnTo>
                  <a:lnTo>
                    <a:pt x="6477" y="4275"/>
                  </a:lnTo>
                  <a:lnTo>
                    <a:pt x="6519" y="4318"/>
                  </a:lnTo>
                  <a:lnTo>
                    <a:pt x="6562" y="4318"/>
                  </a:lnTo>
                  <a:lnTo>
                    <a:pt x="6562" y="4275"/>
                  </a:lnTo>
                  <a:lnTo>
                    <a:pt x="6519" y="4233"/>
                  </a:lnTo>
                  <a:lnTo>
                    <a:pt x="6519" y="4191"/>
                  </a:lnTo>
                  <a:lnTo>
                    <a:pt x="6519" y="4148"/>
                  </a:lnTo>
                  <a:lnTo>
                    <a:pt x="6562" y="4148"/>
                  </a:lnTo>
                  <a:lnTo>
                    <a:pt x="6604" y="4148"/>
                  </a:lnTo>
                  <a:lnTo>
                    <a:pt x="6646" y="4148"/>
                  </a:lnTo>
                  <a:lnTo>
                    <a:pt x="6689" y="4106"/>
                  </a:lnTo>
                  <a:lnTo>
                    <a:pt x="6689" y="4021"/>
                  </a:lnTo>
                  <a:lnTo>
                    <a:pt x="6731" y="4021"/>
                  </a:lnTo>
                  <a:lnTo>
                    <a:pt x="6816" y="4021"/>
                  </a:lnTo>
                  <a:lnTo>
                    <a:pt x="6858" y="4021"/>
                  </a:lnTo>
                  <a:lnTo>
                    <a:pt x="6858" y="3979"/>
                  </a:lnTo>
                  <a:lnTo>
                    <a:pt x="6900" y="3937"/>
                  </a:lnTo>
                  <a:lnTo>
                    <a:pt x="6943" y="3810"/>
                  </a:lnTo>
                  <a:lnTo>
                    <a:pt x="6943" y="3767"/>
                  </a:lnTo>
                  <a:lnTo>
                    <a:pt x="6985" y="3767"/>
                  </a:lnTo>
                  <a:lnTo>
                    <a:pt x="7027" y="3683"/>
                  </a:lnTo>
                  <a:lnTo>
                    <a:pt x="7070" y="3640"/>
                  </a:lnTo>
                  <a:lnTo>
                    <a:pt x="7027" y="3640"/>
                  </a:lnTo>
                  <a:lnTo>
                    <a:pt x="7070" y="3598"/>
                  </a:lnTo>
                  <a:lnTo>
                    <a:pt x="7154" y="3513"/>
                  </a:lnTo>
                  <a:lnTo>
                    <a:pt x="7197" y="3386"/>
                  </a:lnTo>
                  <a:lnTo>
                    <a:pt x="7239" y="3302"/>
                  </a:lnTo>
                  <a:lnTo>
                    <a:pt x="7197" y="3302"/>
                  </a:lnTo>
                  <a:lnTo>
                    <a:pt x="7070" y="3259"/>
                  </a:lnTo>
                  <a:lnTo>
                    <a:pt x="7070" y="3217"/>
                  </a:lnTo>
                  <a:lnTo>
                    <a:pt x="7027" y="3175"/>
                  </a:lnTo>
                  <a:lnTo>
                    <a:pt x="7027" y="3132"/>
                  </a:lnTo>
                  <a:lnTo>
                    <a:pt x="7027" y="3090"/>
                  </a:lnTo>
                  <a:lnTo>
                    <a:pt x="6985" y="3048"/>
                  </a:lnTo>
                  <a:lnTo>
                    <a:pt x="6900" y="3005"/>
                  </a:lnTo>
                  <a:lnTo>
                    <a:pt x="6858" y="3005"/>
                  </a:lnTo>
                  <a:lnTo>
                    <a:pt x="6816" y="2963"/>
                  </a:lnTo>
                  <a:lnTo>
                    <a:pt x="6773" y="3005"/>
                  </a:lnTo>
                  <a:lnTo>
                    <a:pt x="6731" y="3005"/>
                  </a:lnTo>
                  <a:lnTo>
                    <a:pt x="6646" y="3048"/>
                  </a:lnTo>
                  <a:lnTo>
                    <a:pt x="6604" y="3048"/>
                  </a:lnTo>
                  <a:lnTo>
                    <a:pt x="6562" y="3090"/>
                  </a:lnTo>
                  <a:lnTo>
                    <a:pt x="6477" y="3175"/>
                  </a:lnTo>
                  <a:lnTo>
                    <a:pt x="6435" y="3217"/>
                  </a:lnTo>
                  <a:lnTo>
                    <a:pt x="6435" y="3259"/>
                  </a:lnTo>
                  <a:lnTo>
                    <a:pt x="6392" y="3302"/>
                  </a:lnTo>
                  <a:lnTo>
                    <a:pt x="6350" y="3302"/>
                  </a:lnTo>
                  <a:lnTo>
                    <a:pt x="6265" y="3217"/>
                  </a:lnTo>
                  <a:lnTo>
                    <a:pt x="6223" y="3217"/>
                  </a:lnTo>
                  <a:lnTo>
                    <a:pt x="6181" y="3217"/>
                  </a:lnTo>
                  <a:lnTo>
                    <a:pt x="6138" y="3259"/>
                  </a:lnTo>
                  <a:lnTo>
                    <a:pt x="6096" y="3302"/>
                  </a:lnTo>
                  <a:lnTo>
                    <a:pt x="6096" y="3344"/>
                  </a:lnTo>
                  <a:lnTo>
                    <a:pt x="6054" y="3386"/>
                  </a:lnTo>
                  <a:lnTo>
                    <a:pt x="6011" y="3386"/>
                  </a:lnTo>
                  <a:lnTo>
                    <a:pt x="5969" y="3344"/>
                  </a:lnTo>
                  <a:lnTo>
                    <a:pt x="5927" y="3344"/>
                  </a:lnTo>
                  <a:lnTo>
                    <a:pt x="5884" y="3344"/>
                  </a:lnTo>
                  <a:lnTo>
                    <a:pt x="5842" y="3386"/>
                  </a:lnTo>
                  <a:lnTo>
                    <a:pt x="5800" y="3471"/>
                  </a:lnTo>
                  <a:lnTo>
                    <a:pt x="5757" y="3471"/>
                  </a:lnTo>
                  <a:lnTo>
                    <a:pt x="5757" y="3513"/>
                  </a:lnTo>
                  <a:lnTo>
                    <a:pt x="5715" y="3513"/>
                  </a:lnTo>
                  <a:lnTo>
                    <a:pt x="5673" y="3556"/>
                  </a:lnTo>
                  <a:lnTo>
                    <a:pt x="5630" y="3556"/>
                  </a:lnTo>
                  <a:lnTo>
                    <a:pt x="5546" y="3556"/>
                  </a:lnTo>
                  <a:lnTo>
                    <a:pt x="5503" y="3556"/>
                  </a:lnTo>
                  <a:lnTo>
                    <a:pt x="5503" y="3513"/>
                  </a:lnTo>
                  <a:lnTo>
                    <a:pt x="5503" y="3429"/>
                  </a:lnTo>
                  <a:lnTo>
                    <a:pt x="5461" y="3386"/>
                  </a:lnTo>
                  <a:lnTo>
                    <a:pt x="5461" y="3344"/>
                  </a:lnTo>
                  <a:lnTo>
                    <a:pt x="5419" y="3302"/>
                  </a:lnTo>
                  <a:lnTo>
                    <a:pt x="5376" y="3259"/>
                  </a:lnTo>
                  <a:lnTo>
                    <a:pt x="5334" y="3217"/>
                  </a:lnTo>
                  <a:lnTo>
                    <a:pt x="5292" y="3132"/>
                  </a:lnTo>
                  <a:lnTo>
                    <a:pt x="5249" y="3048"/>
                  </a:lnTo>
                  <a:lnTo>
                    <a:pt x="5207" y="3005"/>
                  </a:lnTo>
                  <a:lnTo>
                    <a:pt x="5376" y="2963"/>
                  </a:lnTo>
                  <a:lnTo>
                    <a:pt x="5419" y="2963"/>
                  </a:lnTo>
                  <a:lnTo>
                    <a:pt x="5376" y="2836"/>
                  </a:lnTo>
                  <a:lnTo>
                    <a:pt x="5334" y="2836"/>
                  </a:lnTo>
                  <a:lnTo>
                    <a:pt x="5292" y="2836"/>
                  </a:lnTo>
                  <a:lnTo>
                    <a:pt x="5249" y="2836"/>
                  </a:lnTo>
                  <a:lnTo>
                    <a:pt x="5207" y="2836"/>
                  </a:lnTo>
                  <a:lnTo>
                    <a:pt x="5165" y="2878"/>
                  </a:lnTo>
                  <a:lnTo>
                    <a:pt x="5122" y="2878"/>
                  </a:lnTo>
                  <a:lnTo>
                    <a:pt x="5080" y="2794"/>
                  </a:lnTo>
                  <a:lnTo>
                    <a:pt x="5122" y="2751"/>
                  </a:lnTo>
                  <a:lnTo>
                    <a:pt x="5122" y="2709"/>
                  </a:lnTo>
                  <a:lnTo>
                    <a:pt x="5165" y="2709"/>
                  </a:lnTo>
                  <a:lnTo>
                    <a:pt x="5207" y="2667"/>
                  </a:lnTo>
                  <a:lnTo>
                    <a:pt x="5249" y="2540"/>
                  </a:lnTo>
                  <a:lnTo>
                    <a:pt x="5376" y="2455"/>
                  </a:lnTo>
                  <a:lnTo>
                    <a:pt x="5419" y="2455"/>
                  </a:lnTo>
                  <a:lnTo>
                    <a:pt x="5461" y="2413"/>
                  </a:lnTo>
                  <a:lnTo>
                    <a:pt x="5503" y="2370"/>
                  </a:lnTo>
                  <a:lnTo>
                    <a:pt x="5334" y="2370"/>
                  </a:lnTo>
                  <a:lnTo>
                    <a:pt x="5249" y="2370"/>
                  </a:lnTo>
                  <a:lnTo>
                    <a:pt x="5292" y="2328"/>
                  </a:lnTo>
                  <a:lnTo>
                    <a:pt x="5249" y="2328"/>
                  </a:lnTo>
                  <a:lnTo>
                    <a:pt x="5249" y="2286"/>
                  </a:lnTo>
                  <a:lnTo>
                    <a:pt x="5207" y="2159"/>
                  </a:lnTo>
                  <a:lnTo>
                    <a:pt x="5207" y="2032"/>
                  </a:lnTo>
                  <a:lnTo>
                    <a:pt x="5249" y="2032"/>
                  </a:lnTo>
                  <a:lnTo>
                    <a:pt x="5207" y="1989"/>
                  </a:lnTo>
                  <a:lnTo>
                    <a:pt x="5038" y="1905"/>
                  </a:lnTo>
                  <a:lnTo>
                    <a:pt x="5038" y="1862"/>
                  </a:lnTo>
                  <a:lnTo>
                    <a:pt x="5080" y="1862"/>
                  </a:lnTo>
                  <a:lnTo>
                    <a:pt x="5122" y="1862"/>
                  </a:lnTo>
                  <a:lnTo>
                    <a:pt x="5122" y="1820"/>
                  </a:lnTo>
                  <a:lnTo>
                    <a:pt x="5165" y="1778"/>
                  </a:lnTo>
                  <a:lnTo>
                    <a:pt x="5122" y="1778"/>
                  </a:lnTo>
                  <a:lnTo>
                    <a:pt x="5165" y="1735"/>
                  </a:lnTo>
                  <a:lnTo>
                    <a:pt x="5207" y="1693"/>
                  </a:lnTo>
                  <a:lnTo>
                    <a:pt x="5292" y="1693"/>
                  </a:lnTo>
                  <a:lnTo>
                    <a:pt x="5292" y="1735"/>
                  </a:lnTo>
                  <a:lnTo>
                    <a:pt x="5334" y="1735"/>
                  </a:lnTo>
                  <a:lnTo>
                    <a:pt x="5419" y="1735"/>
                  </a:lnTo>
                  <a:lnTo>
                    <a:pt x="5461" y="1735"/>
                  </a:lnTo>
                  <a:lnTo>
                    <a:pt x="5503" y="1735"/>
                  </a:lnTo>
                  <a:lnTo>
                    <a:pt x="5503" y="1566"/>
                  </a:lnTo>
                  <a:lnTo>
                    <a:pt x="5630" y="1524"/>
                  </a:lnTo>
                  <a:lnTo>
                    <a:pt x="5461" y="1397"/>
                  </a:lnTo>
                  <a:lnTo>
                    <a:pt x="5419" y="1354"/>
                  </a:lnTo>
                  <a:lnTo>
                    <a:pt x="5334" y="1354"/>
                  </a:lnTo>
                  <a:lnTo>
                    <a:pt x="5292" y="1312"/>
                  </a:lnTo>
                  <a:lnTo>
                    <a:pt x="5249" y="1270"/>
                  </a:lnTo>
                  <a:lnTo>
                    <a:pt x="5249" y="1227"/>
                  </a:lnTo>
                  <a:lnTo>
                    <a:pt x="5207" y="1227"/>
                  </a:lnTo>
                  <a:lnTo>
                    <a:pt x="5165" y="1185"/>
                  </a:lnTo>
                  <a:lnTo>
                    <a:pt x="5165" y="1143"/>
                  </a:lnTo>
                  <a:lnTo>
                    <a:pt x="5122" y="1143"/>
                  </a:lnTo>
                  <a:lnTo>
                    <a:pt x="5122" y="1100"/>
                  </a:lnTo>
                  <a:lnTo>
                    <a:pt x="5122" y="1016"/>
                  </a:lnTo>
                  <a:lnTo>
                    <a:pt x="5080" y="973"/>
                  </a:lnTo>
                  <a:lnTo>
                    <a:pt x="5080" y="931"/>
                  </a:lnTo>
                  <a:lnTo>
                    <a:pt x="5038" y="931"/>
                  </a:lnTo>
                  <a:lnTo>
                    <a:pt x="4995" y="931"/>
                  </a:lnTo>
                  <a:lnTo>
                    <a:pt x="4953" y="931"/>
                  </a:lnTo>
                  <a:lnTo>
                    <a:pt x="4953" y="973"/>
                  </a:lnTo>
                  <a:lnTo>
                    <a:pt x="4911" y="1016"/>
                  </a:lnTo>
                  <a:lnTo>
                    <a:pt x="4826" y="1016"/>
                  </a:lnTo>
                  <a:lnTo>
                    <a:pt x="4784" y="1016"/>
                  </a:lnTo>
                  <a:lnTo>
                    <a:pt x="4741" y="1100"/>
                  </a:lnTo>
                  <a:lnTo>
                    <a:pt x="4699" y="1058"/>
                  </a:lnTo>
                  <a:lnTo>
                    <a:pt x="4657" y="1016"/>
                  </a:lnTo>
                  <a:lnTo>
                    <a:pt x="4699" y="889"/>
                  </a:lnTo>
                  <a:lnTo>
                    <a:pt x="4572" y="846"/>
                  </a:lnTo>
                  <a:lnTo>
                    <a:pt x="4530" y="889"/>
                  </a:lnTo>
                  <a:lnTo>
                    <a:pt x="4487" y="931"/>
                  </a:lnTo>
                  <a:lnTo>
                    <a:pt x="4445" y="931"/>
                  </a:lnTo>
                  <a:lnTo>
                    <a:pt x="4403" y="931"/>
                  </a:lnTo>
                  <a:lnTo>
                    <a:pt x="4360" y="889"/>
                  </a:lnTo>
                  <a:lnTo>
                    <a:pt x="4360" y="931"/>
                  </a:lnTo>
                  <a:lnTo>
                    <a:pt x="4318" y="931"/>
                  </a:lnTo>
                  <a:lnTo>
                    <a:pt x="4233" y="973"/>
                  </a:lnTo>
                  <a:lnTo>
                    <a:pt x="4191" y="1016"/>
                  </a:lnTo>
                  <a:lnTo>
                    <a:pt x="4149" y="1016"/>
                  </a:lnTo>
                  <a:lnTo>
                    <a:pt x="4106" y="1016"/>
                  </a:lnTo>
                  <a:lnTo>
                    <a:pt x="3979" y="1016"/>
                  </a:lnTo>
                  <a:lnTo>
                    <a:pt x="3895" y="973"/>
                  </a:lnTo>
                  <a:lnTo>
                    <a:pt x="3852" y="1016"/>
                  </a:lnTo>
                  <a:lnTo>
                    <a:pt x="3810" y="1016"/>
                  </a:lnTo>
                  <a:lnTo>
                    <a:pt x="3768" y="973"/>
                  </a:lnTo>
                  <a:lnTo>
                    <a:pt x="3725" y="973"/>
                  </a:lnTo>
                  <a:lnTo>
                    <a:pt x="3725" y="931"/>
                  </a:lnTo>
                  <a:lnTo>
                    <a:pt x="3725" y="889"/>
                  </a:lnTo>
                  <a:lnTo>
                    <a:pt x="3725" y="846"/>
                  </a:lnTo>
                  <a:lnTo>
                    <a:pt x="3768" y="846"/>
                  </a:lnTo>
                  <a:lnTo>
                    <a:pt x="3768" y="804"/>
                  </a:lnTo>
                  <a:lnTo>
                    <a:pt x="3810" y="762"/>
                  </a:lnTo>
                  <a:lnTo>
                    <a:pt x="3810" y="677"/>
                  </a:lnTo>
                  <a:lnTo>
                    <a:pt x="3817" y="529"/>
                  </a:lnTo>
                  <a:lnTo>
                    <a:pt x="3934" y="418"/>
                  </a:lnTo>
                  <a:lnTo>
                    <a:pt x="3938" y="339"/>
                  </a:lnTo>
                  <a:lnTo>
                    <a:pt x="3990" y="334"/>
                  </a:lnTo>
                  <a:lnTo>
                    <a:pt x="3984" y="230"/>
                  </a:lnTo>
                  <a:lnTo>
                    <a:pt x="4030" y="198"/>
                  </a:lnTo>
                  <a:lnTo>
                    <a:pt x="4067" y="119"/>
                  </a:lnTo>
                  <a:lnTo>
                    <a:pt x="4031" y="199"/>
                  </a:lnTo>
                  <a:lnTo>
                    <a:pt x="4065" y="118"/>
                  </a:lnTo>
                  <a:lnTo>
                    <a:pt x="3981" y="78"/>
                  </a:lnTo>
                  <a:lnTo>
                    <a:pt x="3906" y="76"/>
                  </a:lnTo>
                  <a:lnTo>
                    <a:pt x="3850" y="113"/>
                  </a:lnTo>
                  <a:lnTo>
                    <a:pt x="3816" y="88"/>
                  </a:lnTo>
                  <a:lnTo>
                    <a:pt x="3810" y="169"/>
                  </a:lnTo>
                  <a:lnTo>
                    <a:pt x="3683" y="127"/>
                  </a:lnTo>
                  <a:lnTo>
                    <a:pt x="3387" y="0"/>
                  </a:lnTo>
                  <a:close/>
                  <a:moveTo>
                    <a:pt x="889" y="4402"/>
                  </a:moveTo>
                  <a:lnTo>
                    <a:pt x="847" y="4445"/>
                  </a:lnTo>
                  <a:lnTo>
                    <a:pt x="889" y="4445"/>
                  </a:lnTo>
                  <a:lnTo>
                    <a:pt x="889" y="4402"/>
                  </a:lnTo>
                  <a:close/>
                  <a:moveTo>
                    <a:pt x="3048" y="4656"/>
                  </a:moveTo>
                  <a:lnTo>
                    <a:pt x="3090" y="4656"/>
                  </a:lnTo>
                  <a:lnTo>
                    <a:pt x="3048" y="4699"/>
                  </a:lnTo>
                  <a:lnTo>
                    <a:pt x="3048" y="4656"/>
                  </a:lnTo>
                  <a:close/>
                  <a:moveTo>
                    <a:pt x="169" y="4826"/>
                  </a:moveTo>
                  <a:lnTo>
                    <a:pt x="127" y="4868"/>
                  </a:lnTo>
                  <a:lnTo>
                    <a:pt x="85" y="4910"/>
                  </a:lnTo>
                  <a:lnTo>
                    <a:pt x="85" y="4953"/>
                  </a:lnTo>
                  <a:lnTo>
                    <a:pt x="0" y="4995"/>
                  </a:lnTo>
                  <a:lnTo>
                    <a:pt x="0" y="5037"/>
                  </a:lnTo>
                  <a:lnTo>
                    <a:pt x="42" y="5037"/>
                  </a:lnTo>
                  <a:lnTo>
                    <a:pt x="127" y="4995"/>
                  </a:lnTo>
                  <a:lnTo>
                    <a:pt x="212" y="4953"/>
                  </a:lnTo>
                  <a:lnTo>
                    <a:pt x="296" y="4953"/>
                  </a:lnTo>
                  <a:lnTo>
                    <a:pt x="212" y="4868"/>
                  </a:lnTo>
                  <a:lnTo>
                    <a:pt x="169" y="4868"/>
                  </a:lnTo>
                  <a:lnTo>
                    <a:pt x="169" y="4826"/>
                  </a:lnTo>
                  <a:close/>
                </a:path>
              </a:pathLst>
            </a:custGeom>
            <a:grpFill/>
            <a:ln w="12700" cap="flat" cmpd="sng">
              <a:solidFill>
                <a:schemeClr val="tx1"/>
              </a:solidFill>
              <a:prstDash val="solid"/>
              <a:bevel/>
              <a:headEnd/>
              <a:tailEnd/>
            </a:ln>
          </p:spPr>
          <p:txBody>
            <a:bodyPr/>
            <a:lstStyle/>
            <a:p>
              <a:endParaRPr lang="nl-NL"/>
            </a:p>
          </p:txBody>
        </p:sp>
        <p:sp>
          <p:nvSpPr>
            <p:cNvPr id="118" name="Freeform 532">
              <a:extLst>
                <a:ext uri="{FF2B5EF4-FFF2-40B4-BE49-F238E27FC236}">
                  <a16:creationId xmlns:a16="http://schemas.microsoft.com/office/drawing/2014/main" id="{51115DA4-8997-EBA0-4BD6-12EA95266AD6}"/>
                </a:ext>
              </a:extLst>
            </p:cNvPr>
            <p:cNvSpPr>
              <a:spLocks noEditPoints="1"/>
            </p:cNvSpPr>
            <p:nvPr/>
          </p:nvSpPr>
          <p:spPr bwMode="auto">
            <a:xfrm>
              <a:off x="5827723" y="3136835"/>
              <a:ext cx="1791666" cy="1765318"/>
            </a:xfrm>
            <a:custGeom>
              <a:avLst/>
              <a:gdLst/>
              <a:ahLst/>
              <a:cxnLst>
                <a:cxn ang="0">
                  <a:pos x="2455" y="170"/>
                </a:cxn>
                <a:cxn ang="0">
                  <a:pos x="2117" y="297"/>
                </a:cxn>
                <a:cxn ang="0">
                  <a:pos x="1524" y="424"/>
                </a:cxn>
                <a:cxn ang="0">
                  <a:pos x="847" y="593"/>
                </a:cxn>
                <a:cxn ang="0">
                  <a:pos x="423" y="508"/>
                </a:cxn>
                <a:cxn ang="0">
                  <a:pos x="127" y="593"/>
                </a:cxn>
                <a:cxn ang="0">
                  <a:pos x="254" y="678"/>
                </a:cxn>
                <a:cxn ang="0">
                  <a:pos x="212" y="762"/>
                </a:cxn>
                <a:cxn ang="0">
                  <a:pos x="42" y="720"/>
                </a:cxn>
                <a:cxn ang="0">
                  <a:pos x="42" y="847"/>
                </a:cxn>
                <a:cxn ang="0">
                  <a:pos x="296" y="889"/>
                </a:cxn>
                <a:cxn ang="0">
                  <a:pos x="254" y="974"/>
                </a:cxn>
                <a:cxn ang="0">
                  <a:pos x="339" y="1059"/>
                </a:cxn>
                <a:cxn ang="0">
                  <a:pos x="296" y="1143"/>
                </a:cxn>
                <a:cxn ang="0">
                  <a:pos x="550" y="1186"/>
                </a:cxn>
                <a:cxn ang="0">
                  <a:pos x="593" y="1524"/>
                </a:cxn>
                <a:cxn ang="0">
                  <a:pos x="423" y="1736"/>
                </a:cxn>
                <a:cxn ang="0">
                  <a:pos x="381" y="1905"/>
                </a:cxn>
                <a:cxn ang="0">
                  <a:pos x="212" y="2159"/>
                </a:cxn>
                <a:cxn ang="0">
                  <a:pos x="296" y="2371"/>
                </a:cxn>
                <a:cxn ang="0">
                  <a:pos x="85" y="2667"/>
                </a:cxn>
                <a:cxn ang="0">
                  <a:pos x="85" y="3133"/>
                </a:cxn>
                <a:cxn ang="0">
                  <a:pos x="466" y="3260"/>
                </a:cxn>
                <a:cxn ang="0">
                  <a:pos x="804" y="3472"/>
                </a:cxn>
                <a:cxn ang="0">
                  <a:pos x="1058" y="3175"/>
                </a:cxn>
                <a:cxn ang="0">
                  <a:pos x="1270" y="2710"/>
                </a:cxn>
                <a:cxn ang="0">
                  <a:pos x="1609" y="2456"/>
                </a:cxn>
                <a:cxn ang="0">
                  <a:pos x="1947" y="2498"/>
                </a:cxn>
                <a:cxn ang="0">
                  <a:pos x="2159" y="2837"/>
                </a:cxn>
                <a:cxn ang="0">
                  <a:pos x="2371" y="2964"/>
                </a:cxn>
                <a:cxn ang="0">
                  <a:pos x="2540" y="3175"/>
                </a:cxn>
                <a:cxn ang="0">
                  <a:pos x="2879" y="3175"/>
                </a:cxn>
                <a:cxn ang="0">
                  <a:pos x="3175" y="3260"/>
                </a:cxn>
                <a:cxn ang="0">
                  <a:pos x="3810" y="3895"/>
                </a:cxn>
                <a:cxn ang="0">
                  <a:pos x="4276" y="4403"/>
                </a:cxn>
                <a:cxn ang="0">
                  <a:pos x="4487" y="4699"/>
                </a:cxn>
                <a:cxn ang="0">
                  <a:pos x="4826" y="4996"/>
                </a:cxn>
                <a:cxn ang="0">
                  <a:pos x="4826" y="5461"/>
                </a:cxn>
                <a:cxn ang="0">
                  <a:pos x="4995" y="5631"/>
                </a:cxn>
                <a:cxn ang="0">
                  <a:pos x="5419" y="5038"/>
                </a:cxn>
                <a:cxn ang="0">
                  <a:pos x="5673" y="3726"/>
                </a:cxn>
                <a:cxn ang="0">
                  <a:pos x="5546" y="2964"/>
                </a:cxn>
                <a:cxn ang="0">
                  <a:pos x="5673" y="2625"/>
                </a:cxn>
                <a:cxn ang="0">
                  <a:pos x="5715" y="2413"/>
                </a:cxn>
                <a:cxn ang="0">
                  <a:pos x="5461" y="2032"/>
                </a:cxn>
                <a:cxn ang="0">
                  <a:pos x="5292" y="1948"/>
                </a:cxn>
                <a:cxn ang="0">
                  <a:pos x="4995" y="1863"/>
                </a:cxn>
                <a:cxn ang="0">
                  <a:pos x="4953" y="1524"/>
                </a:cxn>
                <a:cxn ang="0">
                  <a:pos x="4784" y="1482"/>
                </a:cxn>
                <a:cxn ang="0">
                  <a:pos x="4530" y="1397"/>
                </a:cxn>
                <a:cxn ang="0">
                  <a:pos x="4149" y="1270"/>
                </a:cxn>
                <a:cxn ang="0">
                  <a:pos x="3979" y="1101"/>
                </a:cxn>
                <a:cxn ang="0">
                  <a:pos x="3895" y="762"/>
                </a:cxn>
                <a:cxn ang="0">
                  <a:pos x="3852" y="297"/>
                </a:cxn>
                <a:cxn ang="0">
                  <a:pos x="3598" y="212"/>
                </a:cxn>
                <a:cxn ang="0">
                  <a:pos x="3598" y="85"/>
                </a:cxn>
                <a:cxn ang="0">
                  <a:pos x="3133" y="43"/>
                </a:cxn>
                <a:cxn ang="0">
                  <a:pos x="5673" y="2075"/>
                </a:cxn>
              </a:cxnLst>
              <a:rect l="0" t="0" r="r" b="b"/>
              <a:pathLst>
                <a:path w="5800" h="5715">
                  <a:moveTo>
                    <a:pt x="3090" y="0"/>
                  </a:moveTo>
                  <a:lnTo>
                    <a:pt x="3006" y="43"/>
                  </a:lnTo>
                  <a:lnTo>
                    <a:pt x="2667" y="85"/>
                  </a:lnTo>
                  <a:lnTo>
                    <a:pt x="2625" y="127"/>
                  </a:lnTo>
                  <a:lnTo>
                    <a:pt x="2498" y="170"/>
                  </a:lnTo>
                  <a:lnTo>
                    <a:pt x="2455" y="170"/>
                  </a:lnTo>
                  <a:lnTo>
                    <a:pt x="2413" y="212"/>
                  </a:lnTo>
                  <a:lnTo>
                    <a:pt x="2328" y="212"/>
                  </a:lnTo>
                  <a:lnTo>
                    <a:pt x="2244" y="297"/>
                  </a:lnTo>
                  <a:lnTo>
                    <a:pt x="2201" y="297"/>
                  </a:lnTo>
                  <a:lnTo>
                    <a:pt x="2159" y="297"/>
                  </a:lnTo>
                  <a:lnTo>
                    <a:pt x="2117" y="297"/>
                  </a:lnTo>
                  <a:lnTo>
                    <a:pt x="2032" y="339"/>
                  </a:lnTo>
                  <a:lnTo>
                    <a:pt x="1947" y="381"/>
                  </a:lnTo>
                  <a:lnTo>
                    <a:pt x="1905" y="339"/>
                  </a:lnTo>
                  <a:lnTo>
                    <a:pt x="1863" y="381"/>
                  </a:lnTo>
                  <a:lnTo>
                    <a:pt x="1651" y="381"/>
                  </a:lnTo>
                  <a:lnTo>
                    <a:pt x="1524" y="424"/>
                  </a:lnTo>
                  <a:lnTo>
                    <a:pt x="1355" y="466"/>
                  </a:lnTo>
                  <a:lnTo>
                    <a:pt x="1270" y="466"/>
                  </a:lnTo>
                  <a:lnTo>
                    <a:pt x="1185" y="508"/>
                  </a:lnTo>
                  <a:lnTo>
                    <a:pt x="1101" y="508"/>
                  </a:lnTo>
                  <a:lnTo>
                    <a:pt x="974" y="551"/>
                  </a:lnTo>
                  <a:lnTo>
                    <a:pt x="847" y="593"/>
                  </a:lnTo>
                  <a:lnTo>
                    <a:pt x="804" y="635"/>
                  </a:lnTo>
                  <a:lnTo>
                    <a:pt x="804" y="678"/>
                  </a:lnTo>
                  <a:lnTo>
                    <a:pt x="720" y="720"/>
                  </a:lnTo>
                  <a:lnTo>
                    <a:pt x="677" y="678"/>
                  </a:lnTo>
                  <a:lnTo>
                    <a:pt x="635" y="635"/>
                  </a:lnTo>
                  <a:lnTo>
                    <a:pt x="423" y="508"/>
                  </a:lnTo>
                  <a:lnTo>
                    <a:pt x="381" y="508"/>
                  </a:lnTo>
                  <a:lnTo>
                    <a:pt x="212" y="593"/>
                  </a:lnTo>
                  <a:lnTo>
                    <a:pt x="212" y="551"/>
                  </a:lnTo>
                  <a:lnTo>
                    <a:pt x="169" y="551"/>
                  </a:lnTo>
                  <a:lnTo>
                    <a:pt x="169" y="593"/>
                  </a:lnTo>
                  <a:lnTo>
                    <a:pt x="127" y="593"/>
                  </a:lnTo>
                  <a:lnTo>
                    <a:pt x="127" y="551"/>
                  </a:lnTo>
                  <a:lnTo>
                    <a:pt x="85" y="593"/>
                  </a:lnTo>
                  <a:lnTo>
                    <a:pt x="127" y="635"/>
                  </a:lnTo>
                  <a:lnTo>
                    <a:pt x="169" y="635"/>
                  </a:lnTo>
                  <a:lnTo>
                    <a:pt x="212" y="678"/>
                  </a:lnTo>
                  <a:lnTo>
                    <a:pt x="254" y="678"/>
                  </a:lnTo>
                  <a:lnTo>
                    <a:pt x="296" y="720"/>
                  </a:lnTo>
                  <a:lnTo>
                    <a:pt x="339" y="720"/>
                  </a:lnTo>
                  <a:lnTo>
                    <a:pt x="339" y="762"/>
                  </a:lnTo>
                  <a:lnTo>
                    <a:pt x="296" y="762"/>
                  </a:lnTo>
                  <a:lnTo>
                    <a:pt x="254" y="762"/>
                  </a:lnTo>
                  <a:lnTo>
                    <a:pt x="212" y="762"/>
                  </a:lnTo>
                  <a:lnTo>
                    <a:pt x="212" y="720"/>
                  </a:lnTo>
                  <a:lnTo>
                    <a:pt x="127" y="678"/>
                  </a:lnTo>
                  <a:lnTo>
                    <a:pt x="127" y="635"/>
                  </a:lnTo>
                  <a:lnTo>
                    <a:pt x="42" y="635"/>
                  </a:lnTo>
                  <a:lnTo>
                    <a:pt x="0" y="720"/>
                  </a:lnTo>
                  <a:lnTo>
                    <a:pt x="42" y="720"/>
                  </a:lnTo>
                  <a:lnTo>
                    <a:pt x="85" y="762"/>
                  </a:lnTo>
                  <a:lnTo>
                    <a:pt x="127" y="762"/>
                  </a:lnTo>
                  <a:lnTo>
                    <a:pt x="127" y="805"/>
                  </a:lnTo>
                  <a:lnTo>
                    <a:pt x="85" y="847"/>
                  </a:lnTo>
                  <a:lnTo>
                    <a:pt x="42" y="805"/>
                  </a:lnTo>
                  <a:lnTo>
                    <a:pt x="42" y="847"/>
                  </a:lnTo>
                  <a:lnTo>
                    <a:pt x="85" y="889"/>
                  </a:lnTo>
                  <a:lnTo>
                    <a:pt x="127" y="889"/>
                  </a:lnTo>
                  <a:lnTo>
                    <a:pt x="169" y="889"/>
                  </a:lnTo>
                  <a:lnTo>
                    <a:pt x="212" y="889"/>
                  </a:lnTo>
                  <a:lnTo>
                    <a:pt x="254" y="889"/>
                  </a:lnTo>
                  <a:lnTo>
                    <a:pt x="296" y="889"/>
                  </a:lnTo>
                  <a:lnTo>
                    <a:pt x="296" y="932"/>
                  </a:lnTo>
                  <a:lnTo>
                    <a:pt x="212" y="932"/>
                  </a:lnTo>
                  <a:lnTo>
                    <a:pt x="169" y="932"/>
                  </a:lnTo>
                  <a:lnTo>
                    <a:pt x="169" y="974"/>
                  </a:lnTo>
                  <a:lnTo>
                    <a:pt x="212" y="974"/>
                  </a:lnTo>
                  <a:lnTo>
                    <a:pt x="254" y="974"/>
                  </a:lnTo>
                  <a:lnTo>
                    <a:pt x="296" y="974"/>
                  </a:lnTo>
                  <a:lnTo>
                    <a:pt x="339" y="932"/>
                  </a:lnTo>
                  <a:lnTo>
                    <a:pt x="339" y="974"/>
                  </a:lnTo>
                  <a:lnTo>
                    <a:pt x="339" y="1016"/>
                  </a:lnTo>
                  <a:lnTo>
                    <a:pt x="296" y="1016"/>
                  </a:lnTo>
                  <a:lnTo>
                    <a:pt x="339" y="1059"/>
                  </a:lnTo>
                  <a:lnTo>
                    <a:pt x="381" y="1016"/>
                  </a:lnTo>
                  <a:lnTo>
                    <a:pt x="423" y="1016"/>
                  </a:lnTo>
                  <a:lnTo>
                    <a:pt x="423" y="1059"/>
                  </a:lnTo>
                  <a:lnTo>
                    <a:pt x="381" y="1101"/>
                  </a:lnTo>
                  <a:lnTo>
                    <a:pt x="296" y="1101"/>
                  </a:lnTo>
                  <a:lnTo>
                    <a:pt x="296" y="1143"/>
                  </a:lnTo>
                  <a:lnTo>
                    <a:pt x="339" y="1186"/>
                  </a:lnTo>
                  <a:lnTo>
                    <a:pt x="381" y="1143"/>
                  </a:lnTo>
                  <a:lnTo>
                    <a:pt x="423" y="1143"/>
                  </a:lnTo>
                  <a:lnTo>
                    <a:pt x="466" y="1143"/>
                  </a:lnTo>
                  <a:lnTo>
                    <a:pt x="508" y="1143"/>
                  </a:lnTo>
                  <a:lnTo>
                    <a:pt x="550" y="1186"/>
                  </a:lnTo>
                  <a:lnTo>
                    <a:pt x="593" y="1186"/>
                  </a:lnTo>
                  <a:lnTo>
                    <a:pt x="593" y="1440"/>
                  </a:lnTo>
                  <a:lnTo>
                    <a:pt x="593" y="1482"/>
                  </a:lnTo>
                  <a:lnTo>
                    <a:pt x="635" y="1482"/>
                  </a:lnTo>
                  <a:lnTo>
                    <a:pt x="635" y="1524"/>
                  </a:lnTo>
                  <a:lnTo>
                    <a:pt x="593" y="1524"/>
                  </a:lnTo>
                  <a:lnTo>
                    <a:pt x="550" y="1567"/>
                  </a:lnTo>
                  <a:lnTo>
                    <a:pt x="550" y="1609"/>
                  </a:lnTo>
                  <a:lnTo>
                    <a:pt x="508" y="1651"/>
                  </a:lnTo>
                  <a:lnTo>
                    <a:pt x="466" y="1651"/>
                  </a:lnTo>
                  <a:lnTo>
                    <a:pt x="423" y="1694"/>
                  </a:lnTo>
                  <a:lnTo>
                    <a:pt x="423" y="1736"/>
                  </a:lnTo>
                  <a:lnTo>
                    <a:pt x="423" y="1778"/>
                  </a:lnTo>
                  <a:lnTo>
                    <a:pt x="423" y="1821"/>
                  </a:lnTo>
                  <a:lnTo>
                    <a:pt x="466" y="1821"/>
                  </a:lnTo>
                  <a:lnTo>
                    <a:pt x="423" y="1863"/>
                  </a:lnTo>
                  <a:lnTo>
                    <a:pt x="381" y="1863"/>
                  </a:lnTo>
                  <a:lnTo>
                    <a:pt x="381" y="1905"/>
                  </a:lnTo>
                  <a:lnTo>
                    <a:pt x="339" y="1948"/>
                  </a:lnTo>
                  <a:lnTo>
                    <a:pt x="339" y="1990"/>
                  </a:lnTo>
                  <a:lnTo>
                    <a:pt x="339" y="2032"/>
                  </a:lnTo>
                  <a:lnTo>
                    <a:pt x="296" y="2075"/>
                  </a:lnTo>
                  <a:lnTo>
                    <a:pt x="254" y="2117"/>
                  </a:lnTo>
                  <a:lnTo>
                    <a:pt x="212" y="2159"/>
                  </a:lnTo>
                  <a:lnTo>
                    <a:pt x="212" y="2202"/>
                  </a:lnTo>
                  <a:lnTo>
                    <a:pt x="254" y="2202"/>
                  </a:lnTo>
                  <a:lnTo>
                    <a:pt x="296" y="2202"/>
                  </a:lnTo>
                  <a:lnTo>
                    <a:pt x="296" y="2286"/>
                  </a:lnTo>
                  <a:lnTo>
                    <a:pt x="296" y="2329"/>
                  </a:lnTo>
                  <a:lnTo>
                    <a:pt x="296" y="2371"/>
                  </a:lnTo>
                  <a:lnTo>
                    <a:pt x="254" y="2456"/>
                  </a:lnTo>
                  <a:lnTo>
                    <a:pt x="212" y="2498"/>
                  </a:lnTo>
                  <a:lnTo>
                    <a:pt x="169" y="2498"/>
                  </a:lnTo>
                  <a:lnTo>
                    <a:pt x="127" y="2540"/>
                  </a:lnTo>
                  <a:lnTo>
                    <a:pt x="127" y="2583"/>
                  </a:lnTo>
                  <a:lnTo>
                    <a:pt x="85" y="2667"/>
                  </a:lnTo>
                  <a:lnTo>
                    <a:pt x="42" y="2710"/>
                  </a:lnTo>
                  <a:lnTo>
                    <a:pt x="42" y="2794"/>
                  </a:lnTo>
                  <a:lnTo>
                    <a:pt x="42" y="2879"/>
                  </a:lnTo>
                  <a:lnTo>
                    <a:pt x="42" y="2921"/>
                  </a:lnTo>
                  <a:lnTo>
                    <a:pt x="42" y="3091"/>
                  </a:lnTo>
                  <a:lnTo>
                    <a:pt x="85" y="3133"/>
                  </a:lnTo>
                  <a:lnTo>
                    <a:pt x="127" y="3175"/>
                  </a:lnTo>
                  <a:lnTo>
                    <a:pt x="169" y="3260"/>
                  </a:lnTo>
                  <a:lnTo>
                    <a:pt x="212" y="3260"/>
                  </a:lnTo>
                  <a:lnTo>
                    <a:pt x="296" y="3260"/>
                  </a:lnTo>
                  <a:lnTo>
                    <a:pt x="381" y="3260"/>
                  </a:lnTo>
                  <a:lnTo>
                    <a:pt x="466" y="3260"/>
                  </a:lnTo>
                  <a:lnTo>
                    <a:pt x="508" y="3260"/>
                  </a:lnTo>
                  <a:lnTo>
                    <a:pt x="550" y="3302"/>
                  </a:lnTo>
                  <a:lnTo>
                    <a:pt x="635" y="3345"/>
                  </a:lnTo>
                  <a:lnTo>
                    <a:pt x="677" y="3387"/>
                  </a:lnTo>
                  <a:lnTo>
                    <a:pt x="677" y="3429"/>
                  </a:lnTo>
                  <a:lnTo>
                    <a:pt x="804" y="3472"/>
                  </a:lnTo>
                  <a:lnTo>
                    <a:pt x="931" y="3514"/>
                  </a:lnTo>
                  <a:lnTo>
                    <a:pt x="974" y="3514"/>
                  </a:lnTo>
                  <a:lnTo>
                    <a:pt x="1016" y="3345"/>
                  </a:lnTo>
                  <a:lnTo>
                    <a:pt x="1058" y="3345"/>
                  </a:lnTo>
                  <a:lnTo>
                    <a:pt x="1058" y="3218"/>
                  </a:lnTo>
                  <a:lnTo>
                    <a:pt x="1058" y="3175"/>
                  </a:lnTo>
                  <a:lnTo>
                    <a:pt x="1143" y="2964"/>
                  </a:lnTo>
                  <a:lnTo>
                    <a:pt x="1143" y="2921"/>
                  </a:lnTo>
                  <a:lnTo>
                    <a:pt x="1185" y="2879"/>
                  </a:lnTo>
                  <a:lnTo>
                    <a:pt x="1228" y="2794"/>
                  </a:lnTo>
                  <a:lnTo>
                    <a:pt x="1270" y="2752"/>
                  </a:lnTo>
                  <a:lnTo>
                    <a:pt x="1270" y="2710"/>
                  </a:lnTo>
                  <a:lnTo>
                    <a:pt x="1312" y="2667"/>
                  </a:lnTo>
                  <a:lnTo>
                    <a:pt x="1397" y="2625"/>
                  </a:lnTo>
                  <a:lnTo>
                    <a:pt x="1482" y="2583"/>
                  </a:lnTo>
                  <a:lnTo>
                    <a:pt x="1482" y="2540"/>
                  </a:lnTo>
                  <a:lnTo>
                    <a:pt x="1524" y="2498"/>
                  </a:lnTo>
                  <a:lnTo>
                    <a:pt x="1609" y="2456"/>
                  </a:lnTo>
                  <a:lnTo>
                    <a:pt x="1693" y="2456"/>
                  </a:lnTo>
                  <a:lnTo>
                    <a:pt x="1736" y="2456"/>
                  </a:lnTo>
                  <a:lnTo>
                    <a:pt x="1778" y="2498"/>
                  </a:lnTo>
                  <a:lnTo>
                    <a:pt x="1820" y="2456"/>
                  </a:lnTo>
                  <a:lnTo>
                    <a:pt x="1863" y="2498"/>
                  </a:lnTo>
                  <a:lnTo>
                    <a:pt x="1947" y="2498"/>
                  </a:lnTo>
                  <a:lnTo>
                    <a:pt x="1990" y="2625"/>
                  </a:lnTo>
                  <a:lnTo>
                    <a:pt x="2032" y="2667"/>
                  </a:lnTo>
                  <a:lnTo>
                    <a:pt x="2074" y="2625"/>
                  </a:lnTo>
                  <a:lnTo>
                    <a:pt x="2117" y="2752"/>
                  </a:lnTo>
                  <a:lnTo>
                    <a:pt x="2117" y="2794"/>
                  </a:lnTo>
                  <a:lnTo>
                    <a:pt x="2159" y="2837"/>
                  </a:lnTo>
                  <a:lnTo>
                    <a:pt x="2244" y="2794"/>
                  </a:lnTo>
                  <a:lnTo>
                    <a:pt x="2244" y="2837"/>
                  </a:lnTo>
                  <a:lnTo>
                    <a:pt x="2244" y="2879"/>
                  </a:lnTo>
                  <a:lnTo>
                    <a:pt x="2286" y="2921"/>
                  </a:lnTo>
                  <a:lnTo>
                    <a:pt x="2286" y="2964"/>
                  </a:lnTo>
                  <a:lnTo>
                    <a:pt x="2371" y="2964"/>
                  </a:lnTo>
                  <a:lnTo>
                    <a:pt x="2371" y="3006"/>
                  </a:lnTo>
                  <a:lnTo>
                    <a:pt x="2413" y="3048"/>
                  </a:lnTo>
                  <a:lnTo>
                    <a:pt x="2455" y="3091"/>
                  </a:lnTo>
                  <a:lnTo>
                    <a:pt x="2498" y="3133"/>
                  </a:lnTo>
                  <a:lnTo>
                    <a:pt x="2498" y="3175"/>
                  </a:lnTo>
                  <a:lnTo>
                    <a:pt x="2540" y="3175"/>
                  </a:lnTo>
                  <a:lnTo>
                    <a:pt x="2498" y="3218"/>
                  </a:lnTo>
                  <a:lnTo>
                    <a:pt x="2540" y="3260"/>
                  </a:lnTo>
                  <a:lnTo>
                    <a:pt x="2540" y="3302"/>
                  </a:lnTo>
                  <a:lnTo>
                    <a:pt x="2752" y="3218"/>
                  </a:lnTo>
                  <a:lnTo>
                    <a:pt x="2794" y="3218"/>
                  </a:lnTo>
                  <a:lnTo>
                    <a:pt x="2879" y="3175"/>
                  </a:lnTo>
                  <a:lnTo>
                    <a:pt x="3006" y="3175"/>
                  </a:lnTo>
                  <a:lnTo>
                    <a:pt x="3048" y="3175"/>
                  </a:lnTo>
                  <a:lnTo>
                    <a:pt x="3090" y="3175"/>
                  </a:lnTo>
                  <a:lnTo>
                    <a:pt x="3133" y="3218"/>
                  </a:lnTo>
                  <a:lnTo>
                    <a:pt x="3175" y="3218"/>
                  </a:lnTo>
                  <a:lnTo>
                    <a:pt x="3175" y="3260"/>
                  </a:lnTo>
                  <a:lnTo>
                    <a:pt x="3344" y="3387"/>
                  </a:lnTo>
                  <a:lnTo>
                    <a:pt x="3387" y="3472"/>
                  </a:lnTo>
                  <a:lnTo>
                    <a:pt x="3556" y="3599"/>
                  </a:lnTo>
                  <a:lnTo>
                    <a:pt x="3556" y="3641"/>
                  </a:lnTo>
                  <a:lnTo>
                    <a:pt x="3683" y="3768"/>
                  </a:lnTo>
                  <a:lnTo>
                    <a:pt x="3810" y="3895"/>
                  </a:lnTo>
                  <a:lnTo>
                    <a:pt x="4022" y="4107"/>
                  </a:lnTo>
                  <a:lnTo>
                    <a:pt x="4064" y="4149"/>
                  </a:lnTo>
                  <a:lnTo>
                    <a:pt x="4149" y="4234"/>
                  </a:lnTo>
                  <a:lnTo>
                    <a:pt x="4233" y="4318"/>
                  </a:lnTo>
                  <a:lnTo>
                    <a:pt x="4276" y="4361"/>
                  </a:lnTo>
                  <a:lnTo>
                    <a:pt x="4276" y="4403"/>
                  </a:lnTo>
                  <a:lnTo>
                    <a:pt x="4318" y="4445"/>
                  </a:lnTo>
                  <a:lnTo>
                    <a:pt x="4360" y="4488"/>
                  </a:lnTo>
                  <a:lnTo>
                    <a:pt x="4403" y="4572"/>
                  </a:lnTo>
                  <a:lnTo>
                    <a:pt x="4445" y="4657"/>
                  </a:lnTo>
                  <a:lnTo>
                    <a:pt x="4487" y="4657"/>
                  </a:lnTo>
                  <a:lnTo>
                    <a:pt x="4487" y="4699"/>
                  </a:lnTo>
                  <a:lnTo>
                    <a:pt x="4530" y="4699"/>
                  </a:lnTo>
                  <a:lnTo>
                    <a:pt x="4614" y="4826"/>
                  </a:lnTo>
                  <a:lnTo>
                    <a:pt x="4657" y="4911"/>
                  </a:lnTo>
                  <a:lnTo>
                    <a:pt x="4699" y="4953"/>
                  </a:lnTo>
                  <a:lnTo>
                    <a:pt x="4741" y="4996"/>
                  </a:lnTo>
                  <a:lnTo>
                    <a:pt x="4826" y="4996"/>
                  </a:lnTo>
                  <a:lnTo>
                    <a:pt x="4826" y="5080"/>
                  </a:lnTo>
                  <a:lnTo>
                    <a:pt x="4784" y="5123"/>
                  </a:lnTo>
                  <a:lnTo>
                    <a:pt x="4699" y="5377"/>
                  </a:lnTo>
                  <a:lnTo>
                    <a:pt x="4699" y="5419"/>
                  </a:lnTo>
                  <a:lnTo>
                    <a:pt x="4826" y="5419"/>
                  </a:lnTo>
                  <a:lnTo>
                    <a:pt x="4826" y="5461"/>
                  </a:lnTo>
                  <a:lnTo>
                    <a:pt x="4868" y="5461"/>
                  </a:lnTo>
                  <a:lnTo>
                    <a:pt x="4953" y="5588"/>
                  </a:lnTo>
                  <a:lnTo>
                    <a:pt x="4995" y="5631"/>
                  </a:lnTo>
                  <a:lnTo>
                    <a:pt x="5038" y="5588"/>
                  </a:lnTo>
                  <a:lnTo>
                    <a:pt x="5038" y="5631"/>
                  </a:lnTo>
                  <a:lnTo>
                    <a:pt x="4995" y="5631"/>
                  </a:lnTo>
                  <a:lnTo>
                    <a:pt x="4995" y="5715"/>
                  </a:lnTo>
                  <a:lnTo>
                    <a:pt x="5122" y="5715"/>
                  </a:lnTo>
                  <a:lnTo>
                    <a:pt x="5080" y="5631"/>
                  </a:lnTo>
                  <a:lnTo>
                    <a:pt x="5080" y="5588"/>
                  </a:lnTo>
                  <a:lnTo>
                    <a:pt x="5165" y="5461"/>
                  </a:lnTo>
                  <a:lnTo>
                    <a:pt x="5419" y="5038"/>
                  </a:lnTo>
                  <a:lnTo>
                    <a:pt x="5588" y="4742"/>
                  </a:lnTo>
                  <a:lnTo>
                    <a:pt x="5673" y="4403"/>
                  </a:lnTo>
                  <a:lnTo>
                    <a:pt x="5715" y="4191"/>
                  </a:lnTo>
                  <a:lnTo>
                    <a:pt x="5757" y="4149"/>
                  </a:lnTo>
                  <a:lnTo>
                    <a:pt x="5757" y="4107"/>
                  </a:lnTo>
                  <a:lnTo>
                    <a:pt x="5673" y="3726"/>
                  </a:lnTo>
                  <a:lnTo>
                    <a:pt x="5673" y="3514"/>
                  </a:lnTo>
                  <a:lnTo>
                    <a:pt x="5673" y="3472"/>
                  </a:lnTo>
                  <a:lnTo>
                    <a:pt x="5673" y="3175"/>
                  </a:lnTo>
                  <a:lnTo>
                    <a:pt x="5546" y="3091"/>
                  </a:lnTo>
                  <a:lnTo>
                    <a:pt x="5546" y="3006"/>
                  </a:lnTo>
                  <a:lnTo>
                    <a:pt x="5546" y="2964"/>
                  </a:lnTo>
                  <a:lnTo>
                    <a:pt x="5546" y="2921"/>
                  </a:lnTo>
                  <a:lnTo>
                    <a:pt x="5588" y="2879"/>
                  </a:lnTo>
                  <a:lnTo>
                    <a:pt x="5588" y="2794"/>
                  </a:lnTo>
                  <a:lnTo>
                    <a:pt x="5588" y="2752"/>
                  </a:lnTo>
                  <a:lnTo>
                    <a:pt x="5630" y="2625"/>
                  </a:lnTo>
                  <a:lnTo>
                    <a:pt x="5673" y="2625"/>
                  </a:lnTo>
                  <a:lnTo>
                    <a:pt x="5715" y="2583"/>
                  </a:lnTo>
                  <a:lnTo>
                    <a:pt x="5800" y="2583"/>
                  </a:lnTo>
                  <a:lnTo>
                    <a:pt x="5715" y="2540"/>
                  </a:lnTo>
                  <a:lnTo>
                    <a:pt x="5673" y="2498"/>
                  </a:lnTo>
                  <a:lnTo>
                    <a:pt x="5715" y="2456"/>
                  </a:lnTo>
                  <a:lnTo>
                    <a:pt x="5715" y="2413"/>
                  </a:lnTo>
                  <a:lnTo>
                    <a:pt x="5715" y="2244"/>
                  </a:lnTo>
                  <a:lnTo>
                    <a:pt x="5673" y="2117"/>
                  </a:lnTo>
                  <a:lnTo>
                    <a:pt x="5673" y="2075"/>
                  </a:lnTo>
                  <a:lnTo>
                    <a:pt x="5630" y="2075"/>
                  </a:lnTo>
                  <a:lnTo>
                    <a:pt x="5503" y="2032"/>
                  </a:lnTo>
                  <a:lnTo>
                    <a:pt x="5461" y="2032"/>
                  </a:lnTo>
                  <a:lnTo>
                    <a:pt x="5461" y="1990"/>
                  </a:lnTo>
                  <a:lnTo>
                    <a:pt x="5419" y="1990"/>
                  </a:lnTo>
                  <a:lnTo>
                    <a:pt x="5376" y="1990"/>
                  </a:lnTo>
                  <a:lnTo>
                    <a:pt x="5334" y="1990"/>
                  </a:lnTo>
                  <a:lnTo>
                    <a:pt x="5292" y="1990"/>
                  </a:lnTo>
                  <a:lnTo>
                    <a:pt x="5292" y="1948"/>
                  </a:lnTo>
                  <a:lnTo>
                    <a:pt x="5249" y="1948"/>
                  </a:lnTo>
                  <a:lnTo>
                    <a:pt x="5207" y="1948"/>
                  </a:lnTo>
                  <a:lnTo>
                    <a:pt x="5122" y="1948"/>
                  </a:lnTo>
                  <a:lnTo>
                    <a:pt x="5080" y="1905"/>
                  </a:lnTo>
                  <a:lnTo>
                    <a:pt x="5038" y="1905"/>
                  </a:lnTo>
                  <a:lnTo>
                    <a:pt x="4995" y="1863"/>
                  </a:lnTo>
                  <a:lnTo>
                    <a:pt x="4953" y="1821"/>
                  </a:lnTo>
                  <a:lnTo>
                    <a:pt x="4953" y="1778"/>
                  </a:lnTo>
                  <a:lnTo>
                    <a:pt x="4953" y="1694"/>
                  </a:lnTo>
                  <a:lnTo>
                    <a:pt x="4995" y="1651"/>
                  </a:lnTo>
                  <a:lnTo>
                    <a:pt x="4953" y="1567"/>
                  </a:lnTo>
                  <a:lnTo>
                    <a:pt x="4953" y="1524"/>
                  </a:lnTo>
                  <a:lnTo>
                    <a:pt x="4995" y="1524"/>
                  </a:lnTo>
                  <a:lnTo>
                    <a:pt x="5038" y="1440"/>
                  </a:lnTo>
                  <a:lnTo>
                    <a:pt x="5038" y="1397"/>
                  </a:lnTo>
                  <a:lnTo>
                    <a:pt x="4953" y="1440"/>
                  </a:lnTo>
                  <a:lnTo>
                    <a:pt x="4911" y="1482"/>
                  </a:lnTo>
                  <a:lnTo>
                    <a:pt x="4784" y="1482"/>
                  </a:lnTo>
                  <a:lnTo>
                    <a:pt x="4741" y="1482"/>
                  </a:lnTo>
                  <a:lnTo>
                    <a:pt x="4699" y="1482"/>
                  </a:lnTo>
                  <a:lnTo>
                    <a:pt x="4657" y="1482"/>
                  </a:lnTo>
                  <a:lnTo>
                    <a:pt x="4572" y="1440"/>
                  </a:lnTo>
                  <a:lnTo>
                    <a:pt x="4572" y="1397"/>
                  </a:lnTo>
                  <a:lnTo>
                    <a:pt x="4530" y="1397"/>
                  </a:lnTo>
                  <a:lnTo>
                    <a:pt x="4487" y="1397"/>
                  </a:lnTo>
                  <a:lnTo>
                    <a:pt x="4403" y="1355"/>
                  </a:lnTo>
                  <a:lnTo>
                    <a:pt x="4318" y="1313"/>
                  </a:lnTo>
                  <a:lnTo>
                    <a:pt x="4318" y="1355"/>
                  </a:lnTo>
                  <a:lnTo>
                    <a:pt x="4233" y="1313"/>
                  </a:lnTo>
                  <a:lnTo>
                    <a:pt x="4149" y="1270"/>
                  </a:lnTo>
                  <a:lnTo>
                    <a:pt x="4106" y="1270"/>
                  </a:lnTo>
                  <a:lnTo>
                    <a:pt x="4106" y="1228"/>
                  </a:lnTo>
                  <a:lnTo>
                    <a:pt x="4149" y="1228"/>
                  </a:lnTo>
                  <a:lnTo>
                    <a:pt x="4106" y="1186"/>
                  </a:lnTo>
                  <a:lnTo>
                    <a:pt x="4022" y="1101"/>
                  </a:lnTo>
                  <a:lnTo>
                    <a:pt x="3979" y="1101"/>
                  </a:lnTo>
                  <a:lnTo>
                    <a:pt x="3937" y="1059"/>
                  </a:lnTo>
                  <a:lnTo>
                    <a:pt x="3937" y="1016"/>
                  </a:lnTo>
                  <a:lnTo>
                    <a:pt x="3937" y="932"/>
                  </a:lnTo>
                  <a:lnTo>
                    <a:pt x="3937" y="847"/>
                  </a:lnTo>
                  <a:lnTo>
                    <a:pt x="3895" y="805"/>
                  </a:lnTo>
                  <a:lnTo>
                    <a:pt x="3895" y="762"/>
                  </a:lnTo>
                  <a:lnTo>
                    <a:pt x="3895" y="720"/>
                  </a:lnTo>
                  <a:lnTo>
                    <a:pt x="3895" y="635"/>
                  </a:lnTo>
                  <a:lnTo>
                    <a:pt x="3852" y="551"/>
                  </a:lnTo>
                  <a:lnTo>
                    <a:pt x="3810" y="551"/>
                  </a:lnTo>
                  <a:lnTo>
                    <a:pt x="3810" y="424"/>
                  </a:lnTo>
                  <a:lnTo>
                    <a:pt x="3852" y="297"/>
                  </a:lnTo>
                  <a:lnTo>
                    <a:pt x="3852" y="254"/>
                  </a:lnTo>
                  <a:lnTo>
                    <a:pt x="3725" y="127"/>
                  </a:lnTo>
                  <a:lnTo>
                    <a:pt x="3641" y="85"/>
                  </a:lnTo>
                  <a:lnTo>
                    <a:pt x="3598" y="170"/>
                  </a:lnTo>
                  <a:lnTo>
                    <a:pt x="3641" y="212"/>
                  </a:lnTo>
                  <a:lnTo>
                    <a:pt x="3598" y="212"/>
                  </a:lnTo>
                  <a:lnTo>
                    <a:pt x="3556" y="212"/>
                  </a:lnTo>
                  <a:lnTo>
                    <a:pt x="3514" y="212"/>
                  </a:lnTo>
                  <a:lnTo>
                    <a:pt x="3514" y="170"/>
                  </a:lnTo>
                  <a:lnTo>
                    <a:pt x="3556" y="212"/>
                  </a:lnTo>
                  <a:lnTo>
                    <a:pt x="3556" y="170"/>
                  </a:lnTo>
                  <a:lnTo>
                    <a:pt x="3598" y="85"/>
                  </a:lnTo>
                  <a:lnTo>
                    <a:pt x="3556" y="85"/>
                  </a:lnTo>
                  <a:lnTo>
                    <a:pt x="3471" y="43"/>
                  </a:lnTo>
                  <a:lnTo>
                    <a:pt x="3387" y="127"/>
                  </a:lnTo>
                  <a:lnTo>
                    <a:pt x="3344" y="85"/>
                  </a:lnTo>
                  <a:lnTo>
                    <a:pt x="3260" y="43"/>
                  </a:lnTo>
                  <a:lnTo>
                    <a:pt x="3133" y="43"/>
                  </a:lnTo>
                  <a:lnTo>
                    <a:pt x="3090" y="0"/>
                  </a:lnTo>
                  <a:close/>
                  <a:moveTo>
                    <a:pt x="4149" y="1228"/>
                  </a:moveTo>
                  <a:lnTo>
                    <a:pt x="4191" y="1270"/>
                  </a:lnTo>
                  <a:lnTo>
                    <a:pt x="4191" y="1228"/>
                  </a:lnTo>
                  <a:lnTo>
                    <a:pt x="4149" y="1228"/>
                  </a:lnTo>
                  <a:close/>
                  <a:moveTo>
                    <a:pt x="5673" y="2075"/>
                  </a:moveTo>
                  <a:lnTo>
                    <a:pt x="5673" y="1990"/>
                  </a:lnTo>
                  <a:lnTo>
                    <a:pt x="5630" y="2032"/>
                  </a:lnTo>
                  <a:lnTo>
                    <a:pt x="5673" y="2075"/>
                  </a:lnTo>
                  <a:close/>
                </a:path>
              </a:pathLst>
            </a:custGeom>
            <a:grpFill/>
            <a:ln w="12700" cap="flat" cmpd="sng">
              <a:solidFill>
                <a:schemeClr val="tx1"/>
              </a:solidFill>
              <a:prstDash val="solid"/>
              <a:bevel/>
              <a:headEnd/>
              <a:tailEnd/>
            </a:ln>
          </p:spPr>
          <p:txBody>
            <a:bodyPr/>
            <a:lstStyle/>
            <a:p>
              <a:endParaRPr lang="nl-NL"/>
            </a:p>
          </p:txBody>
        </p:sp>
        <p:sp>
          <p:nvSpPr>
            <p:cNvPr id="119" name="Freeform 533">
              <a:extLst>
                <a:ext uri="{FF2B5EF4-FFF2-40B4-BE49-F238E27FC236}">
                  <a16:creationId xmlns:a16="http://schemas.microsoft.com/office/drawing/2014/main" id="{0160D84F-80C5-DD9C-55DC-135E81F1A891}"/>
                </a:ext>
              </a:extLst>
            </p:cNvPr>
            <p:cNvSpPr>
              <a:spLocks noEditPoints="1"/>
            </p:cNvSpPr>
            <p:nvPr/>
          </p:nvSpPr>
          <p:spPr bwMode="auto">
            <a:xfrm>
              <a:off x="5748679" y="3895658"/>
              <a:ext cx="1659926" cy="1659926"/>
            </a:xfrm>
            <a:custGeom>
              <a:avLst/>
              <a:gdLst/>
              <a:ahLst/>
              <a:cxnLst>
                <a:cxn ang="0">
                  <a:pos x="1651" y="169"/>
                </a:cxn>
                <a:cxn ang="0">
                  <a:pos x="1439" y="423"/>
                </a:cxn>
                <a:cxn ang="0">
                  <a:pos x="1312" y="889"/>
                </a:cxn>
                <a:cxn ang="0">
                  <a:pos x="1016" y="1100"/>
                </a:cxn>
                <a:cxn ang="0">
                  <a:pos x="1312" y="1481"/>
                </a:cxn>
                <a:cxn ang="0">
                  <a:pos x="1651" y="2074"/>
                </a:cxn>
                <a:cxn ang="0">
                  <a:pos x="1482" y="2455"/>
                </a:cxn>
                <a:cxn ang="0">
                  <a:pos x="762" y="2497"/>
                </a:cxn>
                <a:cxn ang="0">
                  <a:pos x="466" y="2836"/>
                </a:cxn>
                <a:cxn ang="0">
                  <a:pos x="0" y="3175"/>
                </a:cxn>
                <a:cxn ang="0">
                  <a:pos x="296" y="3556"/>
                </a:cxn>
                <a:cxn ang="0">
                  <a:pos x="423" y="3810"/>
                </a:cxn>
                <a:cxn ang="0">
                  <a:pos x="212" y="4021"/>
                </a:cxn>
                <a:cxn ang="0">
                  <a:pos x="42" y="4233"/>
                </a:cxn>
                <a:cxn ang="0">
                  <a:pos x="212" y="4614"/>
                </a:cxn>
                <a:cxn ang="0">
                  <a:pos x="381" y="4826"/>
                </a:cxn>
                <a:cxn ang="0">
                  <a:pos x="423" y="4783"/>
                </a:cxn>
                <a:cxn ang="0">
                  <a:pos x="593" y="4783"/>
                </a:cxn>
                <a:cxn ang="0">
                  <a:pos x="762" y="4868"/>
                </a:cxn>
                <a:cxn ang="0">
                  <a:pos x="889" y="4868"/>
                </a:cxn>
                <a:cxn ang="0">
                  <a:pos x="1058" y="4910"/>
                </a:cxn>
                <a:cxn ang="0">
                  <a:pos x="1143" y="4910"/>
                </a:cxn>
                <a:cxn ang="0">
                  <a:pos x="1270" y="5037"/>
                </a:cxn>
                <a:cxn ang="0">
                  <a:pos x="1397" y="5164"/>
                </a:cxn>
                <a:cxn ang="0">
                  <a:pos x="1524" y="5376"/>
                </a:cxn>
                <a:cxn ang="0">
                  <a:pos x="1651" y="5291"/>
                </a:cxn>
                <a:cxn ang="0">
                  <a:pos x="1778" y="5249"/>
                </a:cxn>
                <a:cxn ang="0">
                  <a:pos x="1905" y="5334"/>
                </a:cxn>
                <a:cxn ang="0">
                  <a:pos x="2117" y="5334"/>
                </a:cxn>
                <a:cxn ang="0">
                  <a:pos x="2201" y="5080"/>
                </a:cxn>
                <a:cxn ang="0">
                  <a:pos x="2709" y="4826"/>
                </a:cxn>
                <a:cxn ang="0">
                  <a:pos x="3006" y="4910"/>
                </a:cxn>
                <a:cxn ang="0">
                  <a:pos x="3260" y="5122"/>
                </a:cxn>
                <a:cxn ang="0">
                  <a:pos x="3387" y="5164"/>
                </a:cxn>
                <a:cxn ang="0">
                  <a:pos x="3641" y="4995"/>
                </a:cxn>
                <a:cxn ang="0">
                  <a:pos x="3852" y="4995"/>
                </a:cxn>
                <a:cxn ang="0">
                  <a:pos x="4149" y="4995"/>
                </a:cxn>
                <a:cxn ang="0">
                  <a:pos x="4445" y="5037"/>
                </a:cxn>
                <a:cxn ang="0">
                  <a:pos x="4657" y="5080"/>
                </a:cxn>
                <a:cxn ang="0">
                  <a:pos x="4911" y="5037"/>
                </a:cxn>
                <a:cxn ang="0">
                  <a:pos x="5207" y="5037"/>
                </a:cxn>
                <a:cxn ang="0">
                  <a:pos x="5249" y="3767"/>
                </a:cxn>
                <a:cxn ang="0">
                  <a:pos x="5207" y="3132"/>
                </a:cxn>
                <a:cxn ang="0">
                  <a:pos x="4953" y="2921"/>
                </a:cxn>
                <a:cxn ang="0">
                  <a:pos x="4953" y="2497"/>
                </a:cxn>
                <a:cxn ang="0">
                  <a:pos x="4741" y="2201"/>
                </a:cxn>
                <a:cxn ang="0">
                  <a:pos x="4530" y="1947"/>
                </a:cxn>
                <a:cxn ang="0">
                  <a:pos x="4276" y="1651"/>
                </a:cxn>
                <a:cxn ang="0">
                  <a:pos x="3641" y="1016"/>
                </a:cxn>
                <a:cxn ang="0">
                  <a:pos x="3344" y="719"/>
                </a:cxn>
                <a:cxn ang="0">
                  <a:pos x="3006" y="762"/>
                </a:cxn>
                <a:cxn ang="0">
                  <a:pos x="2752" y="719"/>
                </a:cxn>
                <a:cxn ang="0">
                  <a:pos x="2625" y="508"/>
                </a:cxn>
                <a:cxn ang="0">
                  <a:pos x="2498" y="338"/>
                </a:cxn>
                <a:cxn ang="0">
                  <a:pos x="2286" y="211"/>
                </a:cxn>
                <a:cxn ang="0">
                  <a:pos x="2032" y="42"/>
                </a:cxn>
                <a:cxn ang="0">
                  <a:pos x="5292" y="3175"/>
                </a:cxn>
              </a:cxnLst>
              <a:rect l="0" t="0" r="r" b="b"/>
              <a:pathLst>
                <a:path w="5376" h="5376">
                  <a:moveTo>
                    <a:pt x="1863" y="0"/>
                  </a:moveTo>
                  <a:lnTo>
                    <a:pt x="1778" y="42"/>
                  </a:lnTo>
                  <a:lnTo>
                    <a:pt x="1736" y="84"/>
                  </a:lnTo>
                  <a:lnTo>
                    <a:pt x="1736" y="127"/>
                  </a:lnTo>
                  <a:lnTo>
                    <a:pt x="1651" y="169"/>
                  </a:lnTo>
                  <a:lnTo>
                    <a:pt x="1566" y="211"/>
                  </a:lnTo>
                  <a:lnTo>
                    <a:pt x="1524" y="254"/>
                  </a:lnTo>
                  <a:lnTo>
                    <a:pt x="1524" y="296"/>
                  </a:lnTo>
                  <a:lnTo>
                    <a:pt x="1482" y="338"/>
                  </a:lnTo>
                  <a:lnTo>
                    <a:pt x="1439" y="423"/>
                  </a:lnTo>
                  <a:lnTo>
                    <a:pt x="1397" y="465"/>
                  </a:lnTo>
                  <a:lnTo>
                    <a:pt x="1397" y="508"/>
                  </a:lnTo>
                  <a:lnTo>
                    <a:pt x="1312" y="719"/>
                  </a:lnTo>
                  <a:lnTo>
                    <a:pt x="1312" y="762"/>
                  </a:lnTo>
                  <a:lnTo>
                    <a:pt x="1312" y="889"/>
                  </a:lnTo>
                  <a:lnTo>
                    <a:pt x="1270" y="889"/>
                  </a:lnTo>
                  <a:lnTo>
                    <a:pt x="1228" y="1058"/>
                  </a:lnTo>
                  <a:lnTo>
                    <a:pt x="1185" y="1058"/>
                  </a:lnTo>
                  <a:lnTo>
                    <a:pt x="1058" y="1016"/>
                  </a:lnTo>
                  <a:lnTo>
                    <a:pt x="1016" y="1100"/>
                  </a:lnTo>
                  <a:lnTo>
                    <a:pt x="1143" y="1185"/>
                  </a:lnTo>
                  <a:lnTo>
                    <a:pt x="1270" y="1185"/>
                  </a:lnTo>
                  <a:lnTo>
                    <a:pt x="1355" y="1227"/>
                  </a:lnTo>
                  <a:lnTo>
                    <a:pt x="1312" y="1354"/>
                  </a:lnTo>
                  <a:lnTo>
                    <a:pt x="1312" y="1481"/>
                  </a:lnTo>
                  <a:lnTo>
                    <a:pt x="1312" y="1524"/>
                  </a:lnTo>
                  <a:lnTo>
                    <a:pt x="1397" y="1651"/>
                  </a:lnTo>
                  <a:lnTo>
                    <a:pt x="1566" y="1905"/>
                  </a:lnTo>
                  <a:lnTo>
                    <a:pt x="1609" y="1989"/>
                  </a:lnTo>
                  <a:lnTo>
                    <a:pt x="1651" y="2074"/>
                  </a:lnTo>
                  <a:lnTo>
                    <a:pt x="1693" y="2116"/>
                  </a:lnTo>
                  <a:lnTo>
                    <a:pt x="1566" y="2328"/>
                  </a:lnTo>
                  <a:lnTo>
                    <a:pt x="1566" y="2370"/>
                  </a:lnTo>
                  <a:lnTo>
                    <a:pt x="1524" y="2413"/>
                  </a:lnTo>
                  <a:lnTo>
                    <a:pt x="1482" y="2455"/>
                  </a:lnTo>
                  <a:lnTo>
                    <a:pt x="1355" y="2582"/>
                  </a:lnTo>
                  <a:lnTo>
                    <a:pt x="1185" y="2709"/>
                  </a:lnTo>
                  <a:lnTo>
                    <a:pt x="1016" y="2540"/>
                  </a:lnTo>
                  <a:lnTo>
                    <a:pt x="889" y="2540"/>
                  </a:lnTo>
                  <a:lnTo>
                    <a:pt x="762" y="2497"/>
                  </a:lnTo>
                  <a:lnTo>
                    <a:pt x="677" y="2540"/>
                  </a:lnTo>
                  <a:lnTo>
                    <a:pt x="677" y="2582"/>
                  </a:lnTo>
                  <a:lnTo>
                    <a:pt x="677" y="2624"/>
                  </a:lnTo>
                  <a:lnTo>
                    <a:pt x="593" y="2667"/>
                  </a:lnTo>
                  <a:lnTo>
                    <a:pt x="466" y="2836"/>
                  </a:lnTo>
                  <a:lnTo>
                    <a:pt x="423" y="2878"/>
                  </a:lnTo>
                  <a:lnTo>
                    <a:pt x="381" y="2921"/>
                  </a:lnTo>
                  <a:lnTo>
                    <a:pt x="212" y="3005"/>
                  </a:lnTo>
                  <a:lnTo>
                    <a:pt x="127" y="3090"/>
                  </a:lnTo>
                  <a:lnTo>
                    <a:pt x="0" y="3175"/>
                  </a:lnTo>
                  <a:lnTo>
                    <a:pt x="42" y="3259"/>
                  </a:lnTo>
                  <a:lnTo>
                    <a:pt x="42" y="3302"/>
                  </a:lnTo>
                  <a:lnTo>
                    <a:pt x="169" y="3429"/>
                  </a:lnTo>
                  <a:lnTo>
                    <a:pt x="212" y="3471"/>
                  </a:lnTo>
                  <a:lnTo>
                    <a:pt x="296" y="3556"/>
                  </a:lnTo>
                  <a:lnTo>
                    <a:pt x="339" y="3598"/>
                  </a:lnTo>
                  <a:lnTo>
                    <a:pt x="381" y="3640"/>
                  </a:lnTo>
                  <a:lnTo>
                    <a:pt x="423" y="3725"/>
                  </a:lnTo>
                  <a:lnTo>
                    <a:pt x="466" y="3725"/>
                  </a:lnTo>
                  <a:lnTo>
                    <a:pt x="423" y="3810"/>
                  </a:lnTo>
                  <a:lnTo>
                    <a:pt x="381" y="3852"/>
                  </a:lnTo>
                  <a:lnTo>
                    <a:pt x="296" y="3937"/>
                  </a:lnTo>
                  <a:lnTo>
                    <a:pt x="296" y="3979"/>
                  </a:lnTo>
                  <a:lnTo>
                    <a:pt x="254" y="3979"/>
                  </a:lnTo>
                  <a:lnTo>
                    <a:pt x="212" y="4021"/>
                  </a:lnTo>
                  <a:lnTo>
                    <a:pt x="85" y="4064"/>
                  </a:lnTo>
                  <a:lnTo>
                    <a:pt x="42" y="4106"/>
                  </a:lnTo>
                  <a:lnTo>
                    <a:pt x="0" y="4106"/>
                  </a:lnTo>
                  <a:lnTo>
                    <a:pt x="0" y="4148"/>
                  </a:lnTo>
                  <a:lnTo>
                    <a:pt x="42" y="4233"/>
                  </a:lnTo>
                  <a:lnTo>
                    <a:pt x="85" y="4318"/>
                  </a:lnTo>
                  <a:lnTo>
                    <a:pt x="127" y="4402"/>
                  </a:lnTo>
                  <a:lnTo>
                    <a:pt x="127" y="4445"/>
                  </a:lnTo>
                  <a:lnTo>
                    <a:pt x="127" y="4487"/>
                  </a:lnTo>
                  <a:lnTo>
                    <a:pt x="212" y="4614"/>
                  </a:lnTo>
                  <a:lnTo>
                    <a:pt x="212" y="4656"/>
                  </a:lnTo>
                  <a:lnTo>
                    <a:pt x="296" y="4699"/>
                  </a:lnTo>
                  <a:lnTo>
                    <a:pt x="296" y="4741"/>
                  </a:lnTo>
                  <a:lnTo>
                    <a:pt x="254" y="4783"/>
                  </a:lnTo>
                  <a:lnTo>
                    <a:pt x="381" y="4826"/>
                  </a:lnTo>
                  <a:lnTo>
                    <a:pt x="339" y="4783"/>
                  </a:lnTo>
                  <a:lnTo>
                    <a:pt x="381" y="4741"/>
                  </a:lnTo>
                  <a:lnTo>
                    <a:pt x="381" y="4783"/>
                  </a:lnTo>
                  <a:lnTo>
                    <a:pt x="423" y="4826"/>
                  </a:lnTo>
                  <a:lnTo>
                    <a:pt x="423" y="4783"/>
                  </a:lnTo>
                  <a:lnTo>
                    <a:pt x="466" y="4741"/>
                  </a:lnTo>
                  <a:lnTo>
                    <a:pt x="508" y="4741"/>
                  </a:lnTo>
                  <a:lnTo>
                    <a:pt x="550" y="4741"/>
                  </a:lnTo>
                  <a:lnTo>
                    <a:pt x="593" y="4741"/>
                  </a:lnTo>
                  <a:lnTo>
                    <a:pt x="593" y="4783"/>
                  </a:lnTo>
                  <a:lnTo>
                    <a:pt x="635" y="4783"/>
                  </a:lnTo>
                  <a:lnTo>
                    <a:pt x="677" y="4783"/>
                  </a:lnTo>
                  <a:lnTo>
                    <a:pt x="720" y="4783"/>
                  </a:lnTo>
                  <a:lnTo>
                    <a:pt x="720" y="4826"/>
                  </a:lnTo>
                  <a:lnTo>
                    <a:pt x="762" y="4868"/>
                  </a:lnTo>
                  <a:lnTo>
                    <a:pt x="804" y="4868"/>
                  </a:lnTo>
                  <a:lnTo>
                    <a:pt x="804" y="4910"/>
                  </a:lnTo>
                  <a:lnTo>
                    <a:pt x="847" y="4910"/>
                  </a:lnTo>
                  <a:lnTo>
                    <a:pt x="889" y="4910"/>
                  </a:lnTo>
                  <a:lnTo>
                    <a:pt x="889" y="4868"/>
                  </a:lnTo>
                  <a:lnTo>
                    <a:pt x="931" y="4868"/>
                  </a:lnTo>
                  <a:lnTo>
                    <a:pt x="931" y="4910"/>
                  </a:lnTo>
                  <a:lnTo>
                    <a:pt x="974" y="4910"/>
                  </a:lnTo>
                  <a:lnTo>
                    <a:pt x="1016" y="4910"/>
                  </a:lnTo>
                  <a:lnTo>
                    <a:pt x="1058" y="4910"/>
                  </a:lnTo>
                  <a:lnTo>
                    <a:pt x="1101" y="4868"/>
                  </a:lnTo>
                  <a:lnTo>
                    <a:pt x="1143" y="4868"/>
                  </a:lnTo>
                  <a:lnTo>
                    <a:pt x="1185" y="4868"/>
                  </a:lnTo>
                  <a:lnTo>
                    <a:pt x="1185" y="4910"/>
                  </a:lnTo>
                  <a:lnTo>
                    <a:pt x="1143" y="4910"/>
                  </a:lnTo>
                  <a:lnTo>
                    <a:pt x="1143" y="4953"/>
                  </a:lnTo>
                  <a:lnTo>
                    <a:pt x="1185" y="4953"/>
                  </a:lnTo>
                  <a:lnTo>
                    <a:pt x="1185" y="4995"/>
                  </a:lnTo>
                  <a:lnTo>
                    <a:pt x="1228" y="5037"/>
                  </a:lnTo>
                  <a:lnTo>
                    <a:pt x="1270" y="5037"/>
                  </a:lnTo>
                  <a:lnTo>
                    <a:pt x="1312" y="5080"/>
                  </a:lnTo>
                  <a:lnTo>
                    <a:pt x="1355" y="5080"/>
                  </a:lnTo>
                  <a:lnTo>
                    <a:pt x="1355" y="5122"/>
                  </a:lnTo>
                  <a:lnTo>
                    <a:pt x="1355" y="5164"/>
                  </a:lnTo>
                  <a:lnTo>
                    <a:pt x="1397" y="5164"/>
                  </a:lnTo>
                  <a:lnTo>
                    <a:pt x="1397" y="5207"/>
                  </a:lnTo>
                  <a:lnTo>
                    <a:pt x="1439" y="5249"/>
                  </a:lnTo>
                  <a:lnTo>
                    <a:pt x="1439" y="5334"/>
                  </a:lnTo>
                  <a:lnTo>
                    <a:pt x="1482" y="5376"/>
                  </a:lnTo>
                  <a:lnTo>
                    <a:pt x="1524" y="5376"/>
                  </a:lnTo>
                  <a:lnTo>
                    <a:pt x="1524" y="5334"/>
                  </a:lnTo>
                  <a:lnTo>
                    <a:pt x="1566" y="5334"/>
                  </a:lnTo>
                  <a:lnTo>
                    <a:pt x="1609" y="5334"/>
                  </a:lnTo>
                  <a:lnTo>
                    <a:pt x="1609" y="5291"/>
                  </a:lnTo>
                  <a:lnTo>
                    <a:pt x="1651" y="5291"/>
                  </a:lnTo>
                  <a:lnTo>
                    <a:pt x="1651" y="5334"/>
                  </a:lnTo>
                  <a:lnTo>
                    <a:pt x="1693" y="5334"/>
                  </a:lnTo>
                  <a:lnTo>
                    <a:pt x="1693" y="5291"/>
                  </a:lnTo>
                  <a:lnTo>
                    <a:pt x="1736" y="5249"/>
                  </a:lnTo>
                  <a:lnTo>
                    <a:pt x="1778" y="5249"/>
                  </a:lnTo>
                  <a:lnTo>
                    <a:pt x="1778" y="5291"/>
                  </a:lnTo>
                  <a:lnTo>
                    <a:pt x="1778" y="5334"/>
                  </a:lnTo>
                  <a:lnTo>
                    <a:pt x="1820" y="5334"/>
                  </a:lnTo>
                  <a:lnTo>
                    <a:pt x="1863" y="5376"/>
                  </a:lnTo>
                  <a:lnTo>
                    <a:pt x="1905" y="5334"/>
                  </a:lnTo>
                  <a:lnTo>
                    <a:pt x="1947" y="5291"/>
                  </a:lnTo>
                  <a:lnTo>
                    <a:pt x="1947" y="5249"/>
                  </a:lnTo>
                  <a:lnTo>
                    <a:pt x="1990" y="5291"/>
                  </a:lnTo>
                  <a:lnTo>
                    <a:pt x="2032" y="5334"/>
                  </a:lnTo>
                  <a:lnTo>
                    <a:pt x="2117" y="5334"/>
                  </a:lnTo>
                  <a:lnTo>
                    <a:pt x="2159" y="5334"/>
                  </a:lnTo>
                  <a:lnTo>
                    <a:pt x="2201" y="5376"/>
                  </a:lnTo>
                  <a:lnTo>
                    <a:pt x="2244" y="5376"/>
                  </a:lnTo>
                  <a:lnTo>
                    <a:pt x="2244" y="5334"/>
                  </a:lnTo>
                  <a:lnTo>
                    <a:pt x="2201" y="5080"/>
                  </a:lnTo>
                  <a:lnTo>
                    <a:pt x="2286" y="4995"/>
                  </a:lnTo>
                  <a:lnTo>
                    <a:pt x="2371" y="4910"/>
                  </a:lnTo>
                  <a:lnTo>
                    <a:pt x="2413" y="4868"/>
                  </a:lnTo>
                  <a:lnTo>
                    <a:pt x="2582" y="4868"/>
                  </a:lnTo>
                  <a:lnTo>
                    <a:pt x="2709" y="4826"/>
                  </a:lnTo>
                  <a:lnTo>
                    <a:pt x="2752" y="4826"/>
                  </a:lnTo>
                  <a:lnTo>
                    <a:pt x="2752" y="4783"/>
                  </a:lnTo>
                  <a:lnTo>
                    <a:pt x="2836" y="4826"/>
                  </a:lnTo>
                  <a:lnTo>
                    <a:pt x="2921" y="4868"/>
                  </a:lnTo>
                  <a:lnTo>
                    <a:pt x="3006" y="4910"/>
                  </a:lnTo>
                  <a:lnTo>
                    <a:pt x="3175" y="4995"/>
                  </a:lnTo>
                  <a:lnTo>
                    <a:pt x="3260" y="4995"/>
                  </a:lnTo>
                  <a:lnTo>
                    <a:pt x="3302" y="5037"/>
                  </a:lnTo>
                  <a:lnTo>
                    <a:pt x="3260" y="5080"/>
                  </a:lnTo>
                  <a:lnTo>
                    <a:pt x="3260" y="5122"/>
                  </a:lnTo>
                  <a:lnTo>
                    <a:pt x="3260" y="5164"/>
                  </a:lnTo>
                  <a:lnTo>
                    <a:pt x="3260" y="5207"/>
                  </a:lnTo>
                  <a:lnTo>
                    <a:pt x="3302" y="5207"/>
                  </a:lnTo>
                  <a:lnTo>
                    <a:pt x="3344" y="5164"/>
                  </a:lnTo>
                  <a:lnTo>
                    <a:pt x="3387" y="5164"/>
                  </a:lnTo>
                  <a:lnTo>
                    <a:pt x="3429" y="5122"/>
                  </a:lnTo>
                  <a:lnTo>
                    <a:pt x="3471" y="5037"/>
                  </a:lnTo>
                  <a:lnTo>
                    <a:pt x="3556" y="5037"/>
                  </a:lnTo>
                  <a:lnTo>
                    <a:pt x="3598" y="5037"/>
                  </a:lnTo>
                  <a:lnTo>
                    <a:pt x="3641" y="4995"/>
                  </a:lnTo>
                  <a:lnTo>
                    <a:pt x="3683" y="4995"/>
                  </a:lnTo>
                  <a:lnTo>
                    <a:pt x="3725" y="4995"/>
                  </a:lnTo>
                  <a:lnTo>
                    <a:pt x="3768" y="4995"/>
                  </a:lnTo>
                  <a:lnTo>
                    <a:pt x="3810" y="4995"/>
                  </a:lnTo>
                  <a:lnTo>
                    <a:pt x="3852" y="4995"/>
                  </a:lnTo>
                  <a:lnTo>
                    <a:pt x="3895" y="5037"/>
                  </a:lnTo>
                  <a:lnTo>
                    <a:pt x="3937" y="4995"/>
                  </a:lnTo>
                  <a:lnTo>
                    <a:pt x="3979" y="4995"/>
                  </a:lnTo>
                  <a:lnTo>
                    <a:pt x="4064" y="4995"/>
                  </a:lnTo>
                  <a:lnTo>
                    <a:pt x="4149" y="4995"/>
                  </a:lnTo>
                  <a:lnTo>
                    <a:pt x="4191" y="4953"/>
                  </a:lnTo>
                  <a:lnTo>
                    <a:pt x="4233" y="4995"/>
                  </a:lnTo>
                  <a:lnTo>
                    <a:pt x="4318" y="4995"/>
                  </a:lnTo>
                  <a:lnTo>
                    <a:pt x="4360" y="4995"/>
                  </a:lnTo>
                  <a:lnTo>
                    <a:pt x="4445" y="5037"/>
                  </a:lnTo>
                  <a:lnTo>
                    <a:pt x="4445" y="5080"/>
                  </a:lnTo>
                  <a:lnTo>
                    <a:pt x="4487" y="5080"/>
                  </a:lnTo>
                  <a:lnTo>
                    <a:pt x="4572" y="5080"/>
                  </a:lnTo>
                  <a:lnTo>
                    <a:pt x="4614" y="5080"/>
                  </a:lnTo>
                  <a:lnTo>
                    <a:pt x="4657" y="5080"/>
                  </a:lnTo>
                  <a:lnTo>
                    <a:pt x="4741" y="5080"/>
                  </a:lnTo>
                  <a:lnTo>
                    <a:pt x="4784" y="5037"/>
                  </a:lnTo>
                  <a:lnTo>
                    <a:pt x="4826" y="5037"/>
                  </a:lnTo>
                  <a:lnTo>
                    <a:pt x="4868" y="5080"/>
                  </a:lnTo>
                  <a:lnTo>
                    <a:pt x="4911" y="5037"/>
                  </a:lnTo>
                  <a:lnTo>
                    <a:pt x="4911" y="5080"/>
                  </a:lnTo>
                  <a:lnTo>
                    <a:pt x="4953" y="5080"/>
                  </a:lnTo>
                  <a:lnTo>
                    <a:pt x="5080" y="5122"/>
                  </a:lnTo>
                  <a:lnTo>
                    <a:pt x="5122" y="5122"/>
                  </a:lnTo>
                  <a:lnTo>
                    <a:pt x="5207" y="5037"/>
                  </a:lnTo>
                  <a:lnTo>
                    <a:pt x="5207" y="4995"/>
                  </a:lnTo>
                  <a:lnTo>
                    <a:pt x="5207" y="4910"/>
                  </a:lnTo>
                  <a:lnTo>
                    <a:pt x="5207" y="4741"/>
                  </a:lnTo>
                  <a:lnTo>
                    <a:pt x="5249" y="4318"/>
                  </a:lnTo>
                  <a:lnTo>
                    <a:pt x="5249" y="3767"/>
                  </a:lnTo>
                  <a:lnTo>
                    <a:pt x="5249" y="3513"/>
                  </a:lnTo>
                  <a:lnTo>
                    <a:pt x="5376" y="3259"/>
                  </a:lnTo>
                  <a:lnTo>
                    <a:pt x="5249" y="3259"/>
                  </a:lnTo>
                  <a:lnTo>
                    <a:pt x="5249" y="3175"/>
                  </a:lnTo>
                  <a:lnTo>
                    <a:pt x="5207" y="3132"/>
                  </a:lnTo>
                  <a:lnTo>
                    <a:pt x="5122" y="3005"/>
                  </a:lnTo>
                  <a:lnTo>
                    <a:pt x="5080" y="3005"/>
                  </a:lnTo>
                  <a:lnTo>
                    <a:pt x="5080" y="2963"/>
                  </a:lnTo>
                  <a:lnTo>
                    <a:pt x="4953" y="2963"/>
                  </a:lnTo>
                  <a:lnTo>
                    <a:pt x="4953" y="2921"/>
                  </a:lnTo>
                  <a:lnTo>
                    <a:pt x="5038" y="2667"/>
                  </a:lnTo>
                  <a:lnTo>
                    <a:pt x="5080" y="2624"/>
                  </a:lnTo>
                  <a:lnTo>
                    <a:pt x="5080" y="2540"/>
                  </a:lnTo>
                  <a:lnTo>
                    <a:pt x="4995" y="2540"/>
                  </a:lnTo>
                  <a:lnTo>
                    <a:pt x="4953" y="2497"/>
                  </a:lnTo>
                  <a:lnTo>
                    <a:pt x="4911" y="2455"/>
                  </a:lnTo>
                  <a:lnTo>
                    <a:pt x="4868" y="2370"/>
                  </a:lnTo>
                  <a:lnTo>
                    <a:pt x="4784" y="2243"/>
                  </a:lnTo>
                  <a:lnTo>
                    <a:pt x="4741" y="2243"/>
                  </a:lnTo>
                  <a:lnTo>
                    <a:pt x="4741" y="2201"/>
                  </a:lnTo>
                  <a:lnTo>
                    <a:pt x="4699" y="2201"/>
                  </a:lnTo>
                  <a:lnTo>
                    <a:pt x="4657" y="2116"/>
                  </a:lnTo>
                  <a:lnTo>
                    <a:pt x="4614" y="2032"/>
                  </a:lnTo>
                  <a:lnTo>
                    <a:pt x="4572" y="1989"/>
                  </a:lnTo>
                  <a:lnTo>
                    <a:pt x="4530" y="1947"/>
                  </a:lnTo>
                  <a:lnTo>
                    <a:pt x="4530" y="1905"/>
                  </a:lnTo>
                  <a:lnTo>
                    <a:pt x="4487" y="1862"/>
                  </a:lnTo>
                  <a:lnTo>
                    <a:pt x="4403" y="1778"/>
                  </a:lnTo>
                  <a:lnTo>
                    <a:pt x="4318" y="1693"/>
                  </a:lnTo>
                  <a:lnTo>
                    <a:pt x="4276" y="1651"/>
                  </a:lnTo>
                  <a:lnTo>
                    <a:pt x="4064" y="1439"/>
                  </a:lnTo>
                  <a:lnTo>
                    <a:pt x="3937" y="1312"/>
                  </a:lnTo>
                  <a:lnTo>
                    <a:pt x="3810" y="1185"/>
                  </a:lnTo>
                  <a:lnTo>
                    <a:pt x="3810" y="1143"/>
                  </a:lnTo>
                  <a:lnTo>
                    <a:pt x="3641" y="1016"/>
                  </a:lnTo>
                  <a:lnTo>
                    <a:pt x="3598" y="931"/>
                  </a:lnTo>
                  <a:lnTo>
                    <a:pt x="3429" y="804"/>
                  </a:lnTo>
                  <a:lnTo>
                    <a:pt x="3429" y="762"/>
                  </a:lnTo>
                  <a:lnTo>
                    <a:pt x="3387" y="762"/>
                  </a:lnTo>
                  <a:lnTo>
                    <a:pt x="3344" y="719"/>
                  </a:lnTo>
                  <a:lnTo>
                    <a:pt x="3302" y="719"/>
                  </a:lnTo>
                  <a:lnTo>
                    <a:pt x="3260" y="719"/>
                  </a:lnTo>
                  <a:lnTo>
                    <a:pt x="3133" y="719"/>
                  </a:lnTo>
                  <a:lnTo>
                    <a:pt x="3048" y="762"/>
                  </a:lnTo>
                  <a:lnTo>
                    <a:pt x="3006" y="762"/>
                  </a:lnTo>
                  <a:lnTo>
                    <a:pt x="2794" y="846"/>
                  </a:lnTo>
                  <a:lnTo>
                    <a:pt x="2794" y="804"/>
                  </a:lnTo>
                  <a:lnTo>
                    <a:pt x="2752" y="762"/>
                  </a:lnTo>
                  <a:lnTo>
                    <a:pt x="2794" y="719"/>
                  </a:lnTo>
                  <a:lnTo>
                    <a:pt x="2752" y="719"/>
                  </a:lnTo>
                  <a:lnTo>
                    <a:pt x="2752" y="677"/>
                  </a:lnTo>
                  <a:lnTo>
                    <a:pt x="2709" y="635"/>
                  </a:lnTo>
                  <a:lnTo>
                    <a:pt x="2667" y="592"/>
                  </a:lnTo>
                  <a:lnTo>
                    <a:pt x="2625" y="550"/>
                  </a:lnTo>
                  <a:lnTo>
                    <a:pt x="2625" y="508"/>
                  </a:lnTo>
                  <a:lnTo>
                    <a:pt x="2540" y="508"/>
                  </a:lnTo>
                  <a:lnTo>
                    <a:pt x="2540" y="465"/>
                  </a:lnTo>
                  <a:lnTo>
                    <a:pt x="2498" y="423"/>
                  </a:lnTo>
                  <a:lnTo>
                    <a:pt x="2498" y="381"/>
                  </a:lnTo>
                  <a:lnTo>
                    <a:pt x="2498" y="338"/>
                  </a:lnTo>
                  <a:lnTo>
                    <a:pt x="2413" y="381"/>
                  </a:lnTo>
                  <a:lnTo>
                    <a:pt x="2371" y="338"/>
                  </a:lnTo>
                  <a:lnTo>
                    <a:pt x="2371" y="296"/>
                  </a:lnTo>
                  <a:lnTo>
                    <a:pt x="2328" y="169"/>
                  </a:lnTo>
                  <a:lnTo>
                    <a:pt x="2286" y="211"/>
                  </a:lnTo>
                  <a:lnTo>
                    <a:pt x="2244" y="169"/>
                  </a:lnTo>
                  <a:lnTo>
                    <a:pt x="2201" y="42"/>
                  </a:lnTo>
                  <a:lnTo>
                    <a:pt x="2117" y="42"/>
                  </a:lnTo>
                  <a:lnTo>
                    <a:pt x="2074" y="0"/>
                  </a:lnTo>
                  <a:lnTo>
                    <a:pt x="2032" y="42"/>
                  </a:lnTo>
                  <a:lnTo>
                    <a:pt x="1990" y="0"/>
                  </a:lnTo>
                  <a:lnTo>
                    <a:pt x="1947" y="0"/>
                  </a:lnTo>
                  <a:lnTo>
                    <a:pt x="1863" y="0"/>
                  </a:lnTo>
                  <a:close/>
                  <a:moveTo>
                    <a:pt x="5249" y="3175"/>
                  </a:moveTo>
                  <a:lnTo>
                    <a:pt x="5292" y="3175"/>
                  </a:lnTo>
                  <a:lnTo>
                    <a:pt x="5292" y="3132"/>
                  </a:lnTo>
                  <a:lnTo>
                    <a:pt x="5249" y="3175"/>
                  </a:lnTo>
                  <a:close/>
                </a:path>
              </a:pathLst>
            </a:custGeom>
            <a:grpFill/>
            <a:ln w="12700" cap="flat" cmpd="sng">
              <a:solidFill>
                <a:schemeClr val="tx1"/>
              </a:solidFill>
              <a:prstDash val="solid"/>
              <a:bevel/>
              <a:headEnd/>
              <a:tailEnd/>
            </a:ln>
          </p:spPr>
          <p:txBody>
            <a:bodyPr/>
            <a:lstStyle/>
            <a:p>
              <a:endParaRPr lang="nl-NL"/>
            </a:p>
          </p:txBody>
        </p:sp>
        <p:sp>
          <p:nvSpPr>
            <p:cNvPr id="120" name="Freeform 534">
              <a:extLst>
                <a:ext uri="{FF2B5EF4-FFF2-40B4-BE49-F238E27FC236}">
                  <a16:creationId xmlns:a16="http://schemas.microsoft.com/office/drawing/2014/main" id="{D0AFB701-99E7-F7D8-DAA4-88A16C2CF06A}"/>
                </a:ext>
              </a:extLst>
            </p:cNvPr>
            <p:cNvSpPr>
              <a:spLocks noEditPoints="1"/>
            </p:cNvSpPr>
            <p:nvPr/>
          </p:nvSpPr>
          <p:spPr bwMode="auto">
            <a:xfrm>
              <a:off x="5200639" y="4875805"/>
              <a:ext cx="2207965" cy="2065686"/>
            </a:xfrm>
            <a:custGeom>
              <a:avLst/>
              <a:gdLst/>
              <a:ahLst/>
              <a:cxnLst>
                <a:cxn ang="0">
                  <a:pos x="1439" y="296"/>
                </a:cxn>
                <a:cxn ang="0">
                  <a:pos x="1058" y="338"/>
                </a:cxn>
                <a:cxn ang="0">
                  <a:pos x="720" y="211"/>
                </a:cxn>
                <a:cxn ang="0">
                  <a:pos x="508" y="465"/>
                </a:cxn>
                <a:cxn ang="0">
                  <a:pos x="212" y="423"/>
                </a:cxn>
                <a:cxn ang="0">
                  <a:pos x="127" y="635"/>
                </a:cxn>
                <a:cxn ang="0">
                  <a:pos x="593" y="889"/>
                </a:cxn>
                <a:cxn ang="0">
                  <a:pos x="931" y="1439"/>
                </a:cxn>
                <a:cxn ang="0">
                  <a:pos x="804" y="1735"/>
                </a:cxn>
                <a:cxn ang="0">
                  <a:pos x="1228" y="1947"/>
                </a:cxn>
                <a:cxn ang="0">
                  <a:pos x="677" y="2243"/>
                </a:cxn>
                <a:cxn ang="0">
                  <a:pos x="254" y="2497"/>
                </a:cxn>
                <a:cxn ang="0">
                  <a:pos x="254" y="2667"/>
                </a:cxn>
                <a:cxn ang="0">
                  <a:pos x="381" y="3090"/>
                </a:cxn>
                <a:cxn ang="0">
                  <a:pos x="847" y="3429"/>
                </a:cxn>
                <a:cxn ang="0">
                  <a:pos x="1228" y="3217"/>
                </a:cxn>
                <a:cxn ang="0">
                  <a:pos x="1482" y="3386"/>
                </a:cxn>
                <a:cxn ang="0">
                  <a:pos x="1820" y="3852"/>
                </a:cxn>
                <a:cxn ang="0">
                  <a:pos x="1863" y="4233"/>
                </a:cxn>
                <a:cxn ang="0">
                  <a:pos x="1566" y="4445"/>
                </a:cxn>
                <a:cxn ang="0">
                  <a:pos x="1566" y="4699"/>
                </a:cxn>
                <a:cxn ang="0">
                  <a:pos x="1609" y="5080"/>
                </a:cxn>
                <a:cxn ang="0">
                  <a:pos x="1820" y="5334"/>
                </a:cxn>
                <a:cxn ang="0">
                  <a:pos x="2032" y="5545"/>
                </a:cxn>
                <a:cxn ang="0">
                  <a:pos x="2074" y="5715"/>
                </a:cxn>
                <a:cxn ang="0">
                  <a:pos x="2413" y="5715"/>
                </a:cxn>
                <a:cxn ang="0">
                  <a:pos x="2794" y="5715"/>
                </a:cxn>
                <a:cxn ang="0">
                  <a:pos x="3133" y="5588"/>
                </a:cxn>
                <a:cxn ang="0">
                  <a:pos x="3514" y="5588"/>
                </a:cxn>
                <a:cxn ang="0">
                  <a:pos x="3810" y="5969"/>
                </a:cxn>
                <a:cxn ang="0">
                  <a:pos x="4276" y="6180"/>
                </a:cxn>
                <a:cxn ang="0">
                  <a:pos x="4657" y="6223"/>
                </a:cxn>
                <a:cxn ang="0">
                  <a:pos x="4953" y="6350"/>
                </a:cxn>
                <a:cxn ang="0">
                  <a:pos x="5461" y="6688"/>
                </a:cxn>
                <a:cxn ang="0">
                  <a:pos x="6138" y="6307"/>
                </a:cxn>
                <a:cxn ang="0">
                  <a:pos x="6604" y="5926"/>
                </a:cxn>
                <a:cxn ang="0">
                  <a:pos x="6816" y="5672"/>
                </a:cxn>
                <a:cxn ang="0">
                  <a:pos x="6943" y="5249"/>
                </a:cxn>
                <a:cxn ang="0">
                  <a:pos x="6985" y="4910"/>
                </a:cxn>
                <a:cxn ang="0">
                  <a:pos x="7154" y="4318"/>
                </a:cxn>
                <a:cxn ang="0">
                  <a:pos x="6858" y="3894"/>
                </a:cxn>
                <a:cxn ang="0">
                  <a:pos x="6604" y="3471"/>
                </a:cxn>
                <a:cxn ang="0">
                  <a:pos x="5969" y="3640"/>
                </a:cxn>
                <a:cxn ang="0">
                  <a:pos x="5165" y="3429"/>
                </a:cxn>
                <a:cxn ang="0">
                  <a:pos x="5122" y="2751"/>
                </a:cxn>
                <a:cxn ang="0">
                  <a:pos x="5165" y="2116"/>
                </a:cxn>
                <a:cxn ang="0">
                  <a:pos x="5038" y="1820"/>
                </a:cxn>
                <a:cxn ang="0">
                  <a:pos x="4360" y="1693"/>
                </a:cxn>
                <a:cxn ang="0">
                  <a:pos x="3937" y="2159"/>
                </a:cxn>
                <a:cxn ang="0">
                  <a:pos x="3598" y="2159"/>
                </a:cxn>
                <a:cxn ang="0">
                  <a:pos x="3429" y="2116"/>
                </a:cxn>
                <a:cxn ang="0">
                  <a:pos x="3217" y="2074"/>
                </a:cxn>
                <a:cxn ang="0">
                  <a:pos x="3006" y="1862"/>
                </a:cxn>
                <a:cxn ang="0">
                  <a:pos x="2879" y="1693"/>
                </a:cxn>
                <a:cxn ang="0">
                  <a:pos x="2625" y="1735"/>
                </a:cxn>
                <a:cxn ang="0">
                  <a:pos x="2371" y="1608"/>
                </a:cxn>
                <a:cxn ang="0">
                  <a:pos x="2159" y="1566"/>
                </a:cxn>
                <a:cxn ang="0">
                  <a:pos x="1905" y="1312"/>
                </a:cxn>
                <a:cxn ang="0">
                  <a:pos x="1863" y="889"/>
                </a:cxn>
                <a:cxn ang="0">
                  <a:pos x="2201" y="550"/>
                </a:cxn>
                <a:cxn ang="0">
                  <a:pos x="1778" y="0"/>
                </a:cxn>
              </a:cxnLst>
              <a:rect l="0" t="0" r="r" b="b"/>
              <a:pathLst>
                <a:path w="7154" h="6688">
                  <a:moveTo>
                    <a:pt x="1778" y="0"/>
                  </a:moveTo>
                  <a:lnTo>
                    <a:pt x="1651" y="84"/>
                  </a:lnTo>
                  <a:lnTo>
                    <a:pt x="1609" y="127"/>
                  </a:lnTo>
                  <a:lnTo>
                    <a:pt x="1566" y="169"/>
                  </a:lnTo>
                  <a:lnTo>
                    <a:pt x="1439" y="169"/>
                  </a:lnTo>
                  <a:lnTo>
                    <a:pt x="1397" y="169"/>
                  </a:lnTo>
                  <a:lnTo>
                    <a:pt x="1439" y="254"/>
                  </a:lnTo>
                  <a:lnTo>
                    <a:pt x="1439" y="296"/>
                  </a:lnTo>
                  <a:lnTo>
                    <a:pt x="1397" y="296"/>
                  </a:lnTo>
                  <a:lnTo>
                    <a:pt x="1355" y="338"/>
                  </a:lnTo>
                  <a:lnTo>
                    <a:pt x="1270" y="381"/>
                  </a:lnTo>
                  <a:lnTo>
                    <a:pt x="1270" y="296"/>
                  </a:lnTo>
                  <a:lnTo>
                    <a:pt x="1143" y="338"/>
                  </a:lnTo>
                  <a:lnTo>
                    <a:pt x="1101" y="381"/>
                  </a:lnTo>
                  <a:lnTo>
                    <a:pt x="1101" y="338"/>
                  </a:lnTo>
                  <a:lnTo>
                    <a:pt x="1058" y="338"/>
                  </a:lnTo>
                  <a:lnTo>
                    <a:pt x="1016" y="296"/>
                  </a:lnTo>
                  <a:lnTo>
                    <a:pt x="974" y="211"/>
                  </a:lnTo>
                  <a:lnTo>
                    <a:pt x="974" y="127"/>
                  </a:lnTo>
                  <a:lnTo>
                    <a:pt x="889" y="169"/>
                  </a:lnTo>
                  <a:lnTo>
                    <a:pt x="889" y="211"/>
                  </a:lnTo>
                  <a:lnTo>
                    <a:pt x="804" y="169"/>
                  </a:lnTo>
                  <a:lnTo>
                    <a:pt x="804" y="211"/>
                  </a:lnTo>
                  <a:lnTo>
                    <a:pt x="720" y="211"/>
                  </a:lnTo>
                  <a:lnTo>
                    <a:pt x="677" y="254"/>
                  </a:lnTo>
                  <a:lnTo>
                    <a:pt x="677" y="296"/>
                  </a:lnTo>
                  <a:lnTo>
                    <a:pt x="635" y="338"/>
                  </a:lnTo>
                  <a:lnTo>
                    <a:pt x="635" y="381"/>
                  </a:lnTo>
                  <a:lnTo>
                    <a:pt x="593" y="423"/>
                  </a:lnTo>
                  <a:lnTo>
                    <a:pt x="550" y="423"/>
                  </a:lnTo>
                  <a:lnTo>
                    <a:pt x="550" y="465"/>
                  </a:lnTo>
                  <a:lnTo>
                    <a:pt x="508" y="465"/>
                  </a:lnTo>
                  <a:lnTo>
                    <a:pt x="466" y="508"/>
                  </a:lnTo>
                  <a:lnTo>
                    <a:pt x="423" y="508"/>
                  </a:lnTo>
                  <a:lnTo>
                    <a:pt x="381" y="508"/>
                  </a:lnTo>
                  <a:lnTo>
                    <a:pt x="339" y="508"/>
                  </a:lnTo>
                  <a:lnTo>
                    <a:pt x="296" y="465"/>
                  </a:lnTo>
                  <a:lnTo>
                    <a:pt x="254" y="465"/>
                  </a:lnTo>
                  <a:lnTo>
                    <a:pt x="212" y="465"/>
                  </a:lnTo>
                  <a:lnTo>
                    <a:pt x="212" y="423"/>
                  </a:lnTo>
                  <a:lnTo>
                    <a:pt x="169" y="423"/>
                  </a:lnTo>
                  <a:lnTo>
                    <a:pt x="127" y="423"/>
                  </a:lnTo>
                  <a:lnTo>
                    <a:pt x="127" y="381"/>
                  </a:lnTo>
                  <a:lnTo>
                    <a:pt x="85" y="381"/>
                  </a:lnTo>
                  <a:lnTo>
                    <a:pt x="0" y="465"/>
                  </a:lnTo>
                  <a:lnTo>
                    <a:pt x="42" y="550"/>
                  </a:lnTo>
                  <a:lnTo>
                    <a:pt x="85" y="592"/>
                  </a:lnTo>
                  <a:lnTo>
                    <a:pt x="127" y="635"/>
                  </a:lnTo>
                  <a:lnTo>
                    <a:pt x="127" y="677"/>
                  </a:lnTo>
                  <a:lnTo>
                    <a:pt x="212" y="677"/>
                  </a:lnTo>
                  <a:lnTo>
                    <a:pt x="296" y="677"/>
                  </a:lnTo>
                  <a:lnTo>
                    <a:pt x="339" y="719"/>
                  </a:lnTo>
                  <a:lnTo>
                    <a:pt x="466" y="762"/>
                  </a:lnTo>
                  <a:lnTo>
                    <a:pt x="508" y="846"/>
                  </a:lnTo>
                  <a:lnTo>
                    <a:pt x="550" y="889"/>
                  </a:lnTo>
                  <a:lnTo>
                    <a:pt x="593" y="889"/>
                  </a:lnTo>
                  <a:lnTo>
                    <a:pt x="677" y="973"/>
                  </a:lnTo>
                  <a:lnTo>
                    <a:pt x="720" y="1100"/>
                  </a:lnTo>
                  <a:lnTo>
                    <a:pt x="804" y="1270"/>
                  </a:lnTo>
                  <a:lnTo>
                    <a:pt x="804" y="1312"/>
                  </a:lnTo>
                  <a:lnTo>
                    <a:pt x="847" y="1312"/>
                  </a:lnTo>
                  <a:lnTo>
                    <a:pt x="889" y="1354"/>
                  </a:lnTo>
                  <a:lnTo>
                    <a:pt x="889" y="1397"/>
                  </a:lnTo>
                  <a:lnTo>
                    <a:pt x="931" y="1439"/>
                  </a:lnTo>
                  <a:lnTo>
                    <a:pt x="931" y="1481"/>
                  </a:lnTo>
                  <a:lnTo>
                    <a:pt x="931" y="1524"/>
                  </a:lnTo>
                  <a:lnTo>
                    <a:pt x="847" y="1566"/>
                  </a:lnTo>
                  <a:lnTo>
                    <a:pt x="804" y="1608"/>
                  </a:lnTo>
                  <a:lnTo>
                    <a:pt x="762" y="1651"/>
                  </a:lnTo>
                  <a:lnTo>
                    <a:pt x="762" y="1693"/>
                  </a:lnTo>
                  <a:lnTo>
                    <a:pt x="762" y="1735"/>
                  </a:lnTo>
                  <a:lnTo>
                    <a:pt x="804" y="1735"/>
                  </a:lnTo>
                  <a:lnTo>
                    <a:pt x="804" y="1693"/>
                  </a:lnTo>
                  <a:lnTo>
                    <a:pt x="889" y="1735"/>
                  </a:lnTo>
                  <a:lnTo>
                    <a:pt x="931" y="1735"/>
                  </a:lnTo>
                  <a:lnTo>
                    <a:pt x="1016" y="1778"/>
                  </a:lnTo>
                  <a:lnTo>
                    <a:pt x="1058" y="1820"/>
                  </a:lnTo>
                  <a:lnTo>
                    <a:pt x="1101" y="1862"/>
                  </a:lnTo>
                  <a:lnTo>
                    <a:pt x="1185" y="1862"/>
                  </a:lnTo>
                  <a:lnTo>
                    <a:pt x="1228" y="1947"/>
                  </a:lnTo>
                  <a:lnTo>
                    <a:pt x="1185" y="1989"/>
                  </a:lnTo>
                  <a:lnTo>
                    <a:pt x="1058" y="2074"/>
                  </a:lnTo>
                  <a:lnTo>
                    <a:pt x="1016" y="2074"/>
                  </a:lnTo>
                  <a:lnTo>
                    <a:pt x="889" y="2116"/>
                  </a:lnTo>
                  <a:lnTo>
                    <a:pt x="889" y="2159"/>
                  </a:lnTo>
                  <a:lnTo>
                    <a:pt x="804" y="2201"/>
                  </a:lnTo>
                  <a:lnTo>
                    <a:pt x="762" y="2201"/>
                  </a:lnTo>
                  <a:lnTo>
                    <a:pt x="677" y="2243"/>
                  </a:lnTo>
                  <a:lnTo>
                    <a:pt x="635" y="2201"/>
                  </a:lnTo>
                  <a:lnTo>
                    <a:pt x="593" y="2159"/>
                  </a:lnTo>
                  <a:lnTo>
                    <a:pt x="254" y="2243"/>
                  </a:lnTo>
                  <a:lnTo>
                    <a:pt x="212" y="2286"/>
                  </a:lnTo>
                  <a:lnTo>
                    <a:pt x="212" y="2370"/>
                  </a:lnTo>
                  <a:lnTo>
                    <a:pt x="212" y="2413"/>
                  </a:lnTo>
                  <a:lnTo>
                    <a:pt x="212" y="2455"/>
                  </a:lnTo>
                  <a:lnTo>
                    <a:pt x="254" y="2497"/>
                  </a:lnTo>
                  <a:lnTo>
                    <a:pt x="254" y="2540"/>
                  </a:lnTo>
                  <a:lnTo>
                    <a:pt x="85" y="2497"/>
                  </a:lnTo>
                  <a:lnTo>
                    <a:pt x="127" y="2540"/>
                  </a:lnTo>
                  <a:lnTo>
                    <a:pt x="169" y="2540"/>
                  </a:lnTo>
                  <a:lnTo>
                    <a:pt x="212" y="2540"/>
                  </a:lnTo>
                  <a:lnTo>
                    <a:pt x="212" y="2582"/>
                  </a:lnTo>
                  <a:lnTo>
                    <a:pt x="254" y="2624"/>
                  </a:lnTo>
                  <a:lnTo>
                    <a:pt x="254" y="2667"/>
                  </a:lnTo>
                  <a:lnTo>
                    <a:pt x="254" y="2709"/>
                  </a:lnTo>
                  <a:lnTo>
                    <a:pt x="296" y="2751"/>
                  </a:lnTo>
                  <a:lnTo>
                    <a:pt x="339" y="2794"/>
                  </a:lnTo>
                  <a:lnTo>
                    <a:pt x="339" y="2836"/>
                  </a:lnTo>
                  <a:lnTo>
                    <a:pt x="339" y="2878"/>
                  </a:lnTo>
                  <a:lnTo>
                    <a:pt x="381" y="2921"/>
                  </a:lnTo>
                  <a:lnTo>
                    <a:pt x="381" y="3005"/>
                  </a:lnTo>
                  <a:lnTo>
                    <a:pt x="381" y="3090"/>
                  </a:lnTo>
                  <a:lnTo>
                    <a:pt x="466" y="3048"/>
                  </a:lnTo>
                  <a:lnTo>
                    <a:pt x="508" y="3090"/>
                  </a:lnTo>
                  <a:lnTo>
                    <a:pt x="593" y="3217"/>
                  </a:lnTo>
                  <a:lnTo>
                    <a:pt x="635" y="3302"/>
                  </a:lnTo>
                  <a:lnTo>
                    <a:pt x="720" y="3429"/>
                  </a:lnTo>
                  <a:lnTo>
                    <a:pt x="720" y="3513"/>
                  </a:lnTo>
                  <a:lnTo>
                    <a:pt x="804" y="3471"/>
                  </a:lnTo>
                  <a:lnTo>
                    <a:pt x="847" y="3429"/>
                  </a:lnTo>
                  <a:lnTo>
                    <a:pt x="889" y="3386"/>
                  </a:lnTo>
                  <a:lnTo>
                    <a:pt x="889" y="3429"/>
                  </a:lnTo>
                  <a:lnTo>
                    <a:pt x="931" y="3471"/>
                  </a:lnTo>
                  <a:lnTo>
                    <a:pt x="974" y="3429"/>
                  </a:lnTo>
                  <a:lnTo>
                    <a:pt x="1058" y="3344"/>
                  </a:lnTo>
                  <a:lnTo>
                    <a:pt x="1143" y="3259"/>
                  </a:lnTo>
                  <a:lnTo>
                    <a:pt x="1185" y="3217"/>
                  </a:lnTo>
                  <a:lnTo>
                    <a:pt x="1228" y="3217"/>
                  </a:lnTo>
                  <a:lnTo>
                    <a:pt x="1270" y="3217"/>
                  </a:lnTo>
                  <a:lnTo>
                    <a:pt x="1312" y="3175"/>
                  </a:lnTo>
                  <a:lnTo>
                    <a:pt x="1355" y="3217"/>
                  </a:lnTo>
                  <a:lnTo>
                    <a:pt x="1397" y="3217"/>
                  </a:lnTo>
                  <a:lnTo>
                    <a:pt x="1439" y="3259"/>
                  </a:lnTo>
                  <a:lnTo>
                    <a:pt x="1482" y="3302"/>
                  </a:lnTo>
                  <a:lnTo>
                    <a:pt x="1482" y="3344"/>
                  </a:lnTo>
                  <a:lnTo>
                    <a:pt x="1482" y="3386"/>
                  </a:lnTo>
                  <a:lnTo>
                    <a:pt x="1524" y="3429"/>
                  </a:lnTo>
                  <a:lnTo>
                    <a:pt x="1651" y="3471"/>
                  </a:lnTo>
                  <a:lnTo>
                    <a:pt x="1693" y="3513"/>
                  </a:lnTo>
                  <a:lnTo>
                    <a:pt x="1693" y="3556"/>
                  </a:lnTo>
                  <a:lnTo>
                    <a:pt x="1736" y="3683"/>
                  </a:lnTo>
                  <a:lnTo>
                    <a:pt x="1736" y="3767"/>
                  </a:lnTo>
                  <a:lnTo>
                    <a:pt x="1778" y="3810"/>
                  </a:lnTo>
                  <a:lnTo>
                    <a:pt x="1820" y="3852"/>
                  </a:lnTo>
                  <a:lnTo>
                    <a:pt x="1820" y="3937"/>
                  </a:lnTo>
                  <a:lnTo>
                    <a:pt x="1778" y="3979"/>
                  </a:lnTo>
                  <a:lnTo>
                    <a:pt x="1778" y="4021"/>
                  </a:lnTo>
                  <a:lnTo>
                    <a:pt x="1778" y="4106"/>
                  </a:lnTo>
                  <a:lnTo>
                    <a:pt x="1820" y="4148"/>
                  </a:lnTo>
                  <a:lnTo>
                    <a:pt x="1863" y="4148"/>
                  </a:lnTo>
                  <a:lnTo>
                    <a:pt x="1863" y="4191"/>
                  </a:lnTo>
                  <a:lnTo>
                    <a:pt x="1863" y="4233"/>
                  </a:lnTo>
                  <a:lnTo>
                    <a:pt x="1863" y="4318"/>
                  </a:lnTo>
                  <a:lnTo>
                    <a:pt x="1820" y="4318"/>
                  </a:lnTo>
                  <a:lnTo>
                    <a:pt x="1820" y="4360"/>
                  </a:lnTo>
                  <a:lnTo>
                    <a:pt x="1778" y="4360"/>
                  </a:lnTo>
                  <a:lnTo>
                    <a:pt x="1693" y="4402"/>
                  </a:lnTo>
                  <a:lnTo>
                    <a:pt x="1609" y="4402"/>
                  </a:lnTo>
                  <a:lnTo>
                    <a:pt x="1609" y="4445"/>
                  </a:lnTo>
                  <a:lnTo>
                    <a:pt x="1566" y="4445"/>
                  </a:lnTo>
                  <a:lnTo>
                    <a:pt x="1566" y="4487"/>
                  </a:lnTo>
                  <a:lnTo>
                    <a:pt x="1609" y="4529"/>
                  </a:lnTo>
                  <a:lnTo>
                    <a:pt x="1651" y="4529"/>
                  </a:lnTo>
                  <a:lnTo>
                    <a:pt x="1693" y="4572"/>
                  </a:lnTo>
                  <a:lnTo>
                    <a:pt x="1651" y="4572"/>
                  </a:lnTo>
                  <a:lnTo>
                    <a:pt x="1609" y="4614"/>
                  </a:lnTo>
                  <a:lnTo>
                    <a:pt x="1566" y="4614"/>
                  </a:lnTo>
                  <a:lnTo>
                    <a:pt x="1566" y="4699"/>
                  </a:lnTo>
                  <a:lnTo>
                    <a:pt x="1566" y="4783"/>
                  </a:lnTo>
                  <a:lnTo>
                    <a:pt x="1566" y="4868"/>
                  </a:lnTo>
                  <a:lnTo>
                    <a:pt x="1524" y="4868"/>
                  </a:lnTo>
                  <a:lnTo>
                    <a:pt x="1524" y="4910"/>
                  </a:lnTo>
                  <a:lnTo>
                    <a:pt x="1566" y="4910"/>
                  </a:lnTo>
                  <a:lnTo>
                    <a:pt x="1609" y="4910"/>
                  </a:lnTo>
                  <a:lnTo>
                    <a:pt x="1609" y="4953"/>
                  </a:lnTo>
                  <a:lnTo>
                    <a:pt x="1609" y="5080"/>
                  </a:lnTo>
                  <a:lnTo>
                    <a:pt x="1651" y="5080"/>
                  </a:lnTo>
                  <a:lnTo>
                    <a:pt x="1693" y="5080"/>
                  </a:lnTo>
                  <a:lnTo>
                    <a:pt x="1736" y="5080"/>
                  </a:lnTo>
                  <a:lnTo>
                    <a:pt x="1736" y="5122"/>
                  </a:lnTo>
                  <a:lnTo>
                    <a:pt x="1736" y="5164"/>
                  </a:lnTo>
                  <a:lnTo>
                    <a:pt x="1778" y="5164"/>
                  </a:lnTo>
                  <a:lnTo>
                    <a:pt x="1778" y="5291"/>
                  </a:lnTo>
                  <a:lnTo>
                    <a:pt x="1820" y="5334"/>
                  </a:lnTo>
                  <a:lnTo>
                    <a:pt x="1863" y="5376"/>
                  </a:lnTo>
                  <a:lnTo>
                    <a:pt x="1863" y="5418"/>
                  </a:lnTo>
                  <a:lnTo>
                    <a:pt x="1863" y="5461"/>
                  </a:lnTo>
                  <a:lnTo>
                    <a:pt x="1863" y="5503"/>
                  </a:lnTo>
                  <a:lnTo>
                    <a:pt x="1905" y="5545"/>
                  </a:lnTo>
                  <a:lnTo>
                    <a:pt x="1947" y="5545"/>
                  </a:lnTo>
                  <a:lnTo>
                    <a:pt x="1990" y="5545"/>
                  </a:lnTo>
                  <a:lnTo>
                    <a:pt x="2032" y="5545"/>
                  </a:lnTo>
                  <a:lnTo>
                    <a:pt x="2032" y="5588"/>
                  </a:lnTo>
                  <a:lnTo>
                    <a:pt x="1990" y="5588"/>
                  </a:lnTo>
                  <a:lnTo>
                    <a:pt x="1947" y="5630"/>
                  </a:lnTo>
                  <a:lnTo>
                    <a:pt x="1947" y="5672"/>
                  </a:lnTo>
                  <a:lnTo>
                    <a:pt x="1990" y="5757"/>
                  </a:lnTo>
                  <a:lnTo>
                    <a:pt x="2032" y="5757"/>
                  </a:lnTo>
                  <a:lnTo>
                    <a:pt x="2074" y="5757"/>
                  </a:lnTo>
                  <a:lnTo>
                    <a:pt x="2074" y="5715"/>
                  </a:lnTo>
                  <a:lnTo>
                    <a:pt x="2159" y="5672"/>
                  </a:lnTo>
                  <a:lnTo>
                    <a:pt x="2201" y="5672"/>
                  </a:lnTo>
                  <a:lnTo>
                    <a:pt x="2201" y="5715"/>
                  </a:lnTo>
                  <a:lnTo>
                    <a:pt x="2286" y="5715"/>
                  </a:lnTo>
                  <a:lnTo>
                    <a:pt x="2328" y="5715"/>
                  </a:lnTo>
                  <a:lnTo>
                    <a:pt x="2371" y="5757"/>
                  </a:lnTo>
                  <a:lnTo>
                    <a:pt x="2371" y="5715"/>
                  </a:lnTo>
                  <a:lnTo>
                    <a:pt x="2413" y="5715"/>
                  </a:lnTo>
                  <a:lnTo>
                    <a:pt x="2455" y="5715"/>
                  </a:lnTo>
                  <a:lnTo>
                    <a:pt x="2498" y="5715"/>
                  </a:lnTo>
                  <a:lnTo>
                    <a:pt x="2582" y="5715"/>
                  </a:lnTo>
                  <a:lnTo>
                    <a:pt x="2625" y="5715"/>
                  </a:lnTo>
                  <a:lnTo>
                    <a:pt x="2667" y="5757"/>
                  </a:lnTo>
                  <a:lnTo>
                    <a:pt x="2709" y="5715"/>
                  </a:lnTo>
                  <a:lnTo>
                    <a:pt x="2752" y="5715"/>
                  </a:lnTo>
                  <a:lnTo>
                    <a:pt x="2794" y="5715"/>
                  </a:lnTo>
                  <a:lnTo>
                    <a:pt x="2836" y="5715"/>
                  </a:lnTo>
                  <a:lnTo>
                    <a:pt x="2836" y="5757"/>
                  </a:lnTo>
                  <a:lnTo>
                    <a:pt x="2963" y="5757"/>
                  </a:lnTo>
                  <a:lnTo>
                    <a:pt x="2963" y="5715"/>
                  </a:lnTo>
                  <a:lnTo>
                    <a:pt x="3048" y="5715"/>
                  </a:lnTo>
                  <a:lnTo>
                    <a:pt x="3048" y="5630"/>
                  </a:lnTo>
                  <a:lnTo>
                    <a:pt x="3090" y="5630"/>
                  </a:lnTo>
                  <a:lnTo>
                    <a:pt x="3133" y="5588"/>
                  </a:lnTo>
                  <a:lnTo>
                    <a:pt x="3217" y="5588"/>
                  </a:lnTo>
                  <a:lnTo>
                    <a:pt x="3260" y="5588"/>
                  </a:lnTo>
                  <a:lnTo>
                    <a:pt x="3302" y="5545"/>
                  </a:lnTo>
                  <a:lnTo>
                    <a:pt x="3302" y="5588"/>
                  </a:lnTo>
                  <a:lnTo>
                    <a:pt x="3344" y="5588"/>
                  </a:lnTo>
                  <a:lnTo>
                    <a:pt x="3387" y="5588"/>
                  </a:lnTo>
                  <a:lnTo>
                    <a:pt x="3471" y="5588"/>
                  </a:lnTo>
                  <a:lnTo>
                    <a:pt x="3514" y="5588"/>
                  </a:lnTo>
                  <a:lnTo>
                    <a:pt x="3514" y="5630"/>
                  </a:lnTo>
                  <a:lnTo>
                    <a:pt x="3514" y="5672"/>
                  </a:lnTo>
                  <a:lnTo>
                    <a:pt x="3556" y="5757"/>
                  </a:lnTo>
                  <a:lnTo>
                    <a:pt x="3683" y="5842"/>
                  </a:lnTo>
                  <a:lnTo>
                    <a:pt x="3683" y="5926"/>
                  </a:lnTo>
                  <a:lnTo>
                    <a:pt x="3725" y="5926"/>
                  </a:lnTo>
                  <a:lnTo>
                    <a:pt x="3725" y="5969"/>
                  </a:lnTo>
                  <a:lnTo>
                    <a:pt x="3810" y="5969"/>
                  </a:lnTo>
                  <a:lnTo>
                    <a:pt x="3810" y="6053"/>
                  </a:lnTo>
                  <a:lnTo>
                    <a:pt x="3852" y="6096"/>
                  </a:lnTo>
                  <a:lnTo>
                    <a:pt x="3852" y="6138"/>
                  </a:lnTo>
                  <a:lnTo>
                    <a:pt x="3895" y="6138"/>
                  </a:lnTo>
                  <a:lnTo>
                    <a:pt x="3937" y="6180"/>
                  </a:lnTo>
                  <a:lnTo>
                    <a:pt x="4022" y="6138"/>
                  </a:lnTo>
                  <a:lnTo>
                    <a:pt x="4064" y="6138"/>
                  </a:lnTo>
                  <a:lnTo>
                    <a:pt x="4276" y="6180"/>
                  </a:lnTo>
                  <a:lnTo>
                    <a:pt x="4445" y="6138"/>
                  </a:lnTo>
                  <a:lnTo>
                    <a:pt x="4487" y="6138"/>
                  </a:lnTo>
                  <a:lnTo>
                    <a:pt x="4572" y="6180"/>
                  </a:lnTo>
                  <a:lnTo>
                    <a:pt x="4530" y="6223"/>
                  </a:lnTo>
                  <a:lnTo>
                    <a:pt x="4572" y="6265"/>
                  </a:lnTo>
                  <a:lnTo>
                    <a:pt x="4614" y="6307"/>
                  </a:lnTo>
                  <a:lnTo>
                    <a:pt x="4614" y="6265"/>
                  </a:lnTo>
                  <a:lnTo>
                    <a:pt x="4657" y="6223"/>
                  </a:lnTo>
                  <a:lnTo>
                    <a:pt x="4699" y="6180"/>
                  </a:lnTo>
                  <a:lnTo>
                    <a:pt x="4741" y="6223"/>
                  </a:lnTo>
                  <a:lnTo>
                    <a:pt x="4741" y="6265"/>
                  </a:lnTo>
                  <a:lnTo>
                    <a:pt x="4784" y="6180"/>
                  </a:lnTo>
                  <a:lnTo>
                    <a:pt x="4826" y="6180"/>
                  </a:lnTo>
                  <a:lnTo>
                    <a:pt x="4953" y="6265"/>
                  </a:lnTo>
                  <a:lnTo>
                    <a:pt x="4953" y="6307"/>
                  </a:lnTo>
                  <a:lnTo>
                    <a:pt x="4953" y="6350"/>
                  </a:lnTo>
                  <a:lnTo>
                    <a:pt x="4953" y="6477"/>
                  </a:lnTo>
                  <a:lnTo>
                    <a:pt x="4868" y="6604"/>
                  </a:lnTo>
                  <a:lnTo>
                    <a:pt x="4953" y="6604"/>
                  </a:lnTo>
                  <a:lnTo>
                    <a:pt x="4995" y="6604"/>
                  </a:lnTo>
                  <a:lnTo>
                    <a:pt x="5080" y="6646"/>
                  </a:lnTo>
                  <a:lnTo>
                    <a:pt x="5165" y="6688"/>
                  </a:lnTo>
                  <a:lnTo>
                    <a:pt x="5207" y="6688"/>
                  </a:lnTo>
                  <a:lnTo>
                    <a:pt x="5461" y="6688"/>
                  </a:lnTo>
                  <a:lnTo>
                    <a:pt x="5800" y="6688"/>
                  </a:lnTo>
                  <a:lnTo>
                    <a:pt x="5927" y="6688"/>
                  </a:lnTo>
                  <a:lnTo>
                    <a:pt x="5969" y="6646"/>
                  </a:lnTo>
                  <a:lnTo>
                    <a:pt x="6011" y="6604"/>
                  </a:lnTo>
                  <a:lnTo>
                    <a:pt x="6054" y="6561"/>
                  </a:lnTo>
                  <a:lnTo>
                    <a:pt x="6054" y="6519"/>
                  </a:lnTo>
                  <a:lnTo>
                    <a:pt x="6096" y="6307"/>
                  </a:lnTo>
                  <a:lnTo>
                    <a:pt x="6138" y="6307"/>
                  </a:lnTo>
                  <a:lnTo>
                    <a:pt x="6138" y="6265"/>
                  </a:lnTo>
                  <a:lnTo>
                    <a:pt x="6265" y="6180"/>
                  </a:lnTo>
                  <a:lnTo>
                    <a:pt x="6265" y="6138"/>
                  </a:lnTo>
                  <a:lnTo>
                    <a:pt x="6392" y="6096"/>
                  </a:lnTo>
                  <a:lnTo>
                    <a:pt x="6519" y="6096"/>
                  </a:lnTo>
                  <a:lnTo>
                    <a:pt x="6562" y="6011"/>
                  </a:lnTo>
                  <a:lnTo>
                    <a:pt x="6562" y="5969"/>
                  </a:lnTo>
                  <a:lnTo>
                    <a:pt x="6604" y="5926"/>
                  </a:lnTo>
                  <a:lnTo>
                    <a:pt x="6604" y="5884"/>
                  </a:lnTo>
                  <a:lnTo>
                    <a:pt x="6646" y="5842"/>
                  </a:lnTo>
                  <a:lnTo>
                    <a:pt x="6646" y="5799"/>
                  </a:lnTo>
                  <a:lnTo>
                    <a:pt x="6646" y="5757"/>
                  </a:lnTo>
                  <a:lnTo>
                    <a:pt x="6646" y="5715"/>
                  </a:lnTo>
                  <a:lnTo>
                    <a:pt x="6689" y="5672"/>
                  </a:lnTo>
                  <a:lnTo>
                    <a:pt x="6773" y="5630"/>
                  </a:lnTo>
                  <a:lnTo>
                    <a:pt x="6816" y="5672"/>
                  </a:lnTo>
                  <a:lnTo>
                    <a:pt x="6858" y="5672"/>
                  </a:lnTo>
                  <a:lnTo>
                    <a:pt x="6900" y="5672"/>
                  </a:lnTo>
                  <a:lnTo>
                    <a:pt x="6985" y="5672"/>
                  </a:lnTo>
                  <a:lnTo>
                    <a:pt x="7112" y="5588"/>
                  </a:lnTo>
                  <a:lnTo>
                    <a:pt x="7112" y="5545"/>
                  </a:lnTo>
                  <a:lnTo>
                    <a:pt x="6985" y="5376"/>
                  </a:lnTo>
                  <a:lnTo>
                    <a:pt x="6943" y="5334"/>
                  </a:lnTo>
                  <a:lnTo>
                    <a:pt x="6943" y="5249"/>
                  </a:lnTo>
                  <a:lnTo>
                    <a:pt x="6900" y="5249"/>
                  </a:lnTo>
                  <a:lnTo>
                    <a:pt x="6900" y="5207"/>
                  </a:lnTo>
                  <a:lnTo>
                    <a:pt x="6900" y="5164"/>
                  </a:lnTo>
                  <a:lnTo>
                    <a:pt x="6900" y="5122"/>
                  </a:lnTo>
                  <a:lnTo>
                    <a:pt x="6900" y="5080"/>
                  </a:lnTo>
                  <a:lnTo>
                    <a:pt x="6943" y="4953"/>
                  </a:lnTo>
                  <a:lnTo>
                    <a:pt x="6943" y="4910"/>
                  </a:lnTo>
                  <a:lnTo>
                    <a:pt x="6985" y="4910"/>
                  </a:lnTo>
                  <a:lnTo>
                    <a:pt x="6985" y="4868"/>
                  </a:lnTo>
                  <a:lnTo>
                    <a:pt x="7027" y="4868"/>
                  </a:lnTo>
                  <a:lnTo>
                    <a:pt x="7027" y="4826"/>
                  </a:lnTo>
                  <a:lnTo>
                    <a:pt x="7027" y="4783"/>
                  </a:lnTo>
                  <a:lnTo>
                    <a:pt x="7070" y="4699"/>
                  </a:lnTo>
                  <a:lnTo>
                    <a:pt x="7070" y="4656"/>
                  </a:lnTo>
                  <a:lnTo>
                    <a:pt x="7154" y="4529"/>
                  </a:lnTo>
                  <a:lnTo>
                    <a:pt x="7154" y="4318"/>
                  </a:lnTo>
                  <a:lnTo>
                    <a:pt x="7070" y="4148"/>
                  </a:lnTo>
                  <a:lnTo>
                    <a:pt x="7070" y="4106"/>
                  </a:lnTo>
                  <a:lnTo>
                    <a:pt x="7070" y="4064"/>
                  </a:lnTo>
                  <a:lnTo>
                    <a:pt x="7027" y="4064"/>
                  </a:lnTo>
                  <a:lnTo>
                    <a:pt x="6985" y="4064"/>
                  </a:lnTo>
                  <a:lnTo>
                    <a:pt x="6943" y="4064"/>
                  </a:lnTo>
                  <a:lnTo>
                    <a:pt x="6900" y="3979"/>
                  </a:lnTo>
                  <a:lnTo>
                    <a:pt x="6858" y="3894"/>
                  </a:lnTo>
                  <a:lnTo>
                    <a:pt x="6773" y="3810"/>
                  </a:lnTo>
                  <a:lnTo>
                    <a:pt x="6773" y="3767"/>
                  </a:lnTo>
                  <a:lnTo>
                    <a:pt x="6731" y="3683"/>
                  </a:lnTo>
                  <a:lnTo>
                    <a:pt x="6731" y="3598"/>
                  </a:lnTo>
                  <a:lnTo>
                    <a:pt x="6689" y="3513"/>
                  </a:lnTo>
                  <a:lnTo>
                    <a:pt x="6689" y="3471"/>
                  </a:lnTo>
                  <a:lnTo>
                    <a:pt x="6646" y="3471"/>
                  </a:lnTo>
                  <a:lnTo>
                    <a:pt x="6604" y="3471"/>
                  </a:lnTo>
                  <a:lnTo>
                    <a:pt x="6562" y="3556"/>
                  </a:lnTo>
                  <a:lnTo>
                    <a:pt x="6519" y="3683"/>
                  </a:lnTo>
                  <a:lnTo>
                    <a:pt x="6435" y="3725"/>
                  </a:lnTo>
                  <a:lnTo>
                    <a:pt x="6435" y="3767"/>
                  </a:lnTo>
                  <a:lnTo>
                    <a:pt x="6392" y="3767"/>
                  </a:lnTo>
                  <a:lnTo>
                    <a:pt x="6181" y="3725"/>
                  </a:lnTo>
                  <a:lnTo>
                    <a:pt x="6096" y="3683"/>
                  </a:lnTo>
                  <a:lnTo>
                    <a:pt x="5969" y="3640"/>
                  </a:lnTo>
                  <a:lnTo>
                    <a:pt x="5884" y="3640"/>
                  </a:lnTo>
                  <a:lnTo>
                    <a:pt x="5927" y="3556"/>
                  </a:lnTo>
                  <a:lnTo>
                    <a:pt x="5842" y="3556"/>
                  </a:lnTo>
                  <a:lnTo>
                    <a:pt x="5715" y="3556"/>
                  </a:lnTo>
                  <a:lnTo>
                    <a:pt x="5461" y="3556"/>
                  </a:lnTo>
                  <a:lnTo>
                    <a:pt x="5376" y="3556"/>
                  </a:lnTo>
                  <a:lnTo>
                    <a:pt x="5334" y="3513"/>
                  </a:lnTo>
                  <a:lnTo>
                    <a:pt x="5165" y="3429"/>
                  </a:lnTo>
                  <a:lnTo>
                    <a:pt x="5122" y="3386"/>
                  </a:lnTo>
                  <a:lnTo>
                    <a:pt x="5038" y="3344"/>
                  </a:lnTo>
                  <a:lnTo>
                    <a:pt x="5080" y="3005"/>
                  </a:lnTo>
                  <a:lnTo>
                    <a:pt x="4995" y="2878"/>
                  </a:lnTo>
                  <a:lnTo>
                    <a:pt x="4911" y="2709"/>
                  </a:lnTo>
                  <a:lnTo>
                    <a:pt x="4953" y="2709"/>
                  </a:lnTo>
                  <a:lnTo>
                    <a:pt x="5038" y="2751"/>
                  </a:lnTo>
                  <a:lnTo>
                    <a:pt x="5122" y="2751"/>
                  </a:lnTo>
                  <a:lnTo>
                    <a:pt x="5165" y="2624"/>
                  </a:lnTo>
                  <a:lnTo>
                    <a:pt x="5249" y="2624"/>
                  </a:lnTo>
                  <a:lnTo>
                    <a:pt x="5334" y="2667"/>
                  </a:lnTo>
                  <a:lnTo>
                    <a:pt x="5376" y="2624"/>
                  </a:lnTo>
                  <a:lnTo>
                    <a:pt x="5122" y="2413"/>
                  </a:lnTo>
                  <a:lnTo>
                    <a:pt x="5122" y="2328"/>
                  </a:lnTo>
                  <a:lnTo>
                    <a:pt x="5165" y="2159"/>
                  </a:lnTo>
                  <a:lnTo>
                    <a:pt x="5165" y="2116"/>
                  </a:lnTo>
                  <a:lnTo>
                    <a:pt x="5122" y="2074"/>
                  </a:lnTo>
                  <a:lnTo>
                    <a:pt x="5080" y="2032"/>
                  </a:lnTo>
                  <a:lnTo>
                    <a:pt x="5038" y="2032"/>
                  </a:lnTo>
                  <a:lnTo>
                    <a:pt x="5038" y="1989"/>
                  </a:lnTo>
                  <a:lnTo>
                    <a:pt x="5038" y="1947"/>
                  </a:lnTo>
                  <a:lnTo>
                    <a:pt x="5038" y="1905"/>
                  </a:lnTo>
                  <a:lnTo>
                    <a:pt x="5080" y="1862"/>
                  </a:lnTo>
                  <a:lnTo>
                    <a:pt x="5038" y="1820"/>
                  </a:lnTo>
                  <a:lnTo>
                    <a:pt x="4953" y="1820"/>
                  </a:lnTo>
                  <a:lnTo>
                    <a:pt x="4784" y="1735"/>
                  </a:lnTo>
                  <a:lnTo>
                    <a:pt x="4699" y="1693"/>
                  </a:lnTo>
                  <a:lnTo>
                    <a:pt x="4614" y="1651"/>
                  </a:lnTo>
                  <a:lnTo>
                    <a:pt x="4530" y="1608"/>
                  </a:lnTo>
                  <a:lnTo>
                    <a:pt x="4530" y="1651"/>
                  </a:lnTo>
                  <a:lnTo>
                    <a:pt x="4487" y="1651"/>
                  </a:lnTo>
                  <a:lnTo>
                    <a:pt x="4360" y="1693"/>
                  </a:lnTo>
                  <a:lnTo>
                    <a:pt x="4191" y="1693"/>
                  </a:lnTo>
                  <a:lnTo>
                    <a:pt x="4149" y="1735"/>
                  </a:lnTo>
                  <a:lnTo>
                    <a:pt x="4064" y="1820"/>
                  </a:lnTo>
                  <a:lnTo>
                    <a:pt x="3979" y="1905"/>
                  </a:lnTo>
                  <a:lnTo>
                    <a:pt x="4022" y="2159"/>
                  </a:lnTo>
                  <a:lnTo>
                    <a:pt x="4022" y="2201"/>
                  </a:lnTo>
                  <a:lnTo>
                    <a:pt x="3979" y="2201"/>
                  </a:lnTo>
                  <a:lnTo>
                    <a:pt x="3937" y="2159"/>
                  </a:lnTo>
                  <a:lnTo>
                    <a:pt x="3895" y="2159"/>
                  </a:lnTo>
                  <a:lnTo>
                    <a:pt x="3810" y="2159"/>
                  </a:lnTo>
                  <a:lnTo>
                    <a:pt x="3768" y="2116"/>
                  </a:lnTo>
                  <a:lnTo>
                    <a:pt x="3725" y="2074"/>
                  </a:lnTo>
                  <a:lnTo>
                    <a:pt x="3725" y="2116"/>
                  </a:lnTo>
                  <a:lnTo>
                    <a:pt x="3683" y="2159"/>
                  </a:lnTo>
                  <a:lnTo>
                    <a:pt x="3641" y="2201"/>
                  </a:lnTo>
                  <a:lnTo>
                    <a:pt x="3598" y="2159"/>
                  </a:lnTo>
                  <a:lnTo>
                    <a:pt x="3556" y="2159"/>
                  </a:lnTo>
                  <a:lnTo>
                    <a:pt x="3556" y="2116"/>
                  </a:lnTo>
                  <a:lnTo>
                    <a:pt x="3556" y="2074"/>
                  </a:lnTo>
                  <a:lnTo>
                    <a:pt x="3514" y="2074"/>
                  </a:lnTo>
                  <a:lnTo>
                    <a:pt x="3471" y="2116"/>
                  </a:lnTo>
                  <a:lnTo>
                    <a:pt x="3471" y="2159"/>
                  </a:lnTo>
                  <a:lnTo>
                    <a:pt x="3429" y="2159"/>
                  </a:lnTo>
                  <a:lnTo>
                    <a:pt x="3429" y="2116"/>
                  </a:lnTo>
                  <a:lnTo>
                    <a:pt x="3387" y="2116"/>
                  </a:lnTo>
                  <a:lnTo>
                    <a:pt x="3387" y="2159"/>
                  </a:lnTo>
                  <a:lnTo>
                    <a:pt x="3344" y="2159"/>
                  </a:lnTo>
                  <a:lnTo>
                    <a:pt x="3302" y="2159"/>
                  </a:lnTo>
                  <a:lnTo>
                    <a:pt x="3302" y="2201"/>
                  </a:lnTo>
                  <a:lnTo>
                    <a:pt x="3260" y="2201"/>
                  </a:lnTo>
                  <a:lnTo>
                    <a:pt x="3217" y="2159"/>
                  </a:lnTo>
                  <a:lnTo>
                    <a:pt x="3217" y="2074"/>
                  </a:lnTo>
                  <a:lnTo>
                    <a:pt x="3175" y="2032"/>
                  </a:lnTo>
                  <a:lnTo>
                    <a:pt x="3175" y="1989"/>
                  </a:lnTo>
                  <a:lnTo>
                    <a:pt x="3133" y="1989"/>
                  </a:lnTo>
                  <a:lnTo>
                    <a:pt x="3133" y="1947"/>
                  </a:lnTo>
                  <a:lnTo>
                    <a:pt x="3133" y="1905"/>
                  </a:lnTo>
                  <a:lnTo>
                    <a:pt x="3090" y="1905"/>
                  </a:lnTo>
                  <a:lnTo>
                    <a:pt x="3048" y="1862"/>
                  </a:lnTo>
                  <a:lnTo>
                    <a:pt x="3006" y="1862"/>
                  </a:lnTo>
                  <a:lnTo>
                    <a:pt x="2963" y="1820"/>
                  </a:lnTo>
                  <a:lnTo>
                    <a:pt x="2963" y="1778"/>
                  </a:lnTo>
                  <a:lnTo>
                    <a:pt x="2921" y="1778"/>
                  </a:lnTo>
                  <a:lnTo>
                    <a:pt x="2921" y="1735"/>
                  </a:lnTo>
                  <a:lnTo>
                    <a:pt x="2963" y="1735"/>
                  </a:lnTo>
                  <a:lnTo>
                    <a:pt x="2963" y="1693"/>
                  </a:lnTo>
                  <a:lnTo>
                    <a:pt x="2921" y="1693"/>
                  </a:lnTo>
                  <a:lnTo>
                    <a:pt x="2879" y="1693"/>
                  </a:lnTo>
                  <a:lnTo>
                    <a:pt x="2836" y="1735"/>
                  </a:lnTo>
                  <a:lnTo>
                    <a:pt x="2794" y="1735"/>
                  </a:lnTo>
                  <a:lnTo>
                    <a:pt x="2752" y="1735"/>
                  </a:lnTo>
                  <a:lnTo>
                    <a:pt x="2709" y="1735"/>
                  </a:lnTo>
                  <a:lnTo>
                    <a:pt x="2709" y="1693"/>
                  </a:lnTo>
                  <a:lnTo>
                    <a:pt x="2667" y="1693"/>
                  </a:lnTo>
                  <a:lnTo>
                    <a:pt x="2667" y="1735"/>
                  </a:lnTo>
                  <a:lnTo>
                    <a:pt x="2625" y="1735"/>
                  </a:lnTo>
                  <a:lnTo>
                    <a:pt x="2582" y="1735"/>
                  </a:lnTo>
                  <a:lnTo>
                    <a:pt x="2582" y="1693"/>
                  </a:lnTo>
                  <a:lnTo>
                    <a:pt x="2540" y="1693"/>
                  </a:lnTo>
                  <a:lnTo>
                    <a:pt x="2498" y="1651"/>
                  </a:lnTo>
                  <a:lnTo>
                    <a:pt x="2498" y="1608"/>
                  </a:lnTo>
                  <a:lnTo>
                    <a:pt x="2455" y="1608"/>
                  </a:lnTo>
                  <a:lnTo>
                    <a:pt x="2413" y="1608"/>
                  </a:lnTo>
                  <a:lnTo>
                    <a:pt x="2371" y="1608"/>
                  </a:lnTo>
                  <a:lnTo>
                    <a:pt x="2371" y="1566"/>
                  </a:lnTo>
                  <a:lnTo>
                    <a:pt x="2328" y="1566"/>
                  </a:lnTo>
                  <a:lnTo>
                    <a:pt x="2286" y="1566"/>
                  </a:lnTo>
                  <a:lnTo>
                    <a:pt x="2244" y="1566"/>
                  </a:lnTo>
                  <a:lnTo>
                    <a:pt x="2201" y="1608"/>
                  </a:lnTo>
                  <a:lnTo>
                    <a:pt x="2201" y="1651"/>
                  </a:lnTo>
                  <a:lnTo>
                    <a:pt x="2159" y="1608"/>
                  </a:lnTo>
                  <a:lnTo>
                    <a:pt x="2159" y="1566"/>
                  </a:lnTo>
                  <a:lnTo>
                    <a:pt x="2117" y="1608"/>
                  </a:lnTo>
                  <a:lnTo>
                    <a:pt x="2159" y="1651"/>
                  </a:lnTo>
                  <a:lnTo>
                    <a:pt x="2032" y="1608"/>
                  </a:lnTo>
                  <a:lnTo>
                    <a:pt x="2074" y="1566"/>
                  </a:lnTo>
                  <a:lnTo>
                    <a:pt x="2074" y="1524"/>
                  </a:lnTo>
                  <a:lnTo>
                    <a:pt x="1990" y="1481"/>
                  </a:lnTo>
                  <a:lnTo>
                    <a:pt x="1990" y="1439"/>
                  </a:lnTo>
                  <a:lnTo>
                    <a:pt x="1905" y="1312"/>
                  </a:lnTo>
                  <a:lnTo>
                    <a:pt x="1905" y="1270"/>
                  </a:lnTo>
                  <a:lnTo>
                    <a:pt x="1905" y="1227"/>
                  </a:lnTo>
                  <a:lnTo>
                    <a:pt x="1863" y="1143"/>
                  </a:lnTo>
                  <a:lnTo>
                    <a:pt x="1820" y="1058"/>
                  </a:lnTo>
                  <a:lnTo>
                    <a:pt x="1778" y="973"/>
                  </a:lnTo>
                  <a:lnTo>
                    <a:pt x="1778" y="931"/>
                  </a:lnTo>
                  <a:lnTo>
                    <a:pt x="1820" y="931"/>
                  </a:lnTo>
                  <a:lnTo>
                    <a:pt x="1863" y="889"/>
                  </a:lnTo>
                  <a:lnTo>
                    <a:pt x="1990" y="846"/>
                  </a:lnTo>
                  <a:lnTo>
                    <a:pt x="2032" y="804"/>
                  </a:lnTo>
                  <a:lnTo>
                    <a:pt x="2074" y="804"/>
                  </a:lnTo>
                  <a:lnTo>
                    <a:pt x="2074" y="762"/>
                  </a:lnTo>
                  <a:lnTo>
                    <a:pt x="2159" y="677"/>
                  </a:lnTo>
                  <a:lnTo>
                    <a:pt x="2201" y="635"/>
                  </a:lnTo>
                  <a:lnTo>
                    <a:pt x="2244" y="550"/>
                  </a:lnTo>
                  <a:lnTo>
                    <a:pt x="2201" y="550"/>
                  </a:lnTo>
                  <a:lnTo>
                    <a:pt x="2159" y="465"/>
                  </a:lnTo>
                  <a:lnTo>
                    <a:pt x="2117" y="423"/>
                  </a:lnTo>
                  <a:lnTo>
                    <a:pt x="2074" y="381"/>
                  </a:lnTo>
                  <a:lnTo>
                    <a:pt x="1990" y="296"/>
                  </a:lnTo>
                  <a:lnTo>
                    <a:pt x="1947" y="254"/>
                  </a:lnTo>
                  <a:lnTo>
                    <a:pt x="1820" y="127"/>
                  </a:lnTo>
                  <a:lnTo>
                    <a:pt x="1820" y="84"/>
                  </a:lnTo>
                  <a:lnTo>
                    <a:pt x="1778" y="0"/>
                  </a:lnTo>
                  <a:close/>
                  <a:moveTo>
                    <a:pt x="2074" y="5757"/>
                  </a:moveTo>
                  <a:lnTo>
                    <a:pt x="2074" y="5799"/>
                  </a:lnTo>
                  <a:lnTo>
                    <a:pt x="2074" y="5842"/>
                  </a:lnTo>
                  <a:lnTo>
                    <a:pt x="2117" y="5799"/>
                  </a:lnTo>
                  <a:lnTo>
                    <a:pt x="2074" y="5757"/>
                  </a:lnTo>
                  <a:close/>
                </a:path>
              </a:pathLst>
            </a:custGeom>
            <a:grpFill/>
            <a:ln w="12700" cap="flat" cmpd="sng">
              <a:solidFill>
                <a:schemeClr val="tx1"/>
              </a:solidFill>
              <a:prstDash val="solid"/>
              <a:bevel/>
              <a:headEnd/>
              <a:tailEnd/>
            </a:ln>
          </p:spPr>
          <p:txBody>
            <a:bodyPr/>
            <a:lstStyle/>
            <a:p>
              <a:endParaRPr lang="nl-NL"/>
            </a:p>
          </p:txBody>
        </p:sp>
        <p:sp>
          <p:nvSpPr>
            <p:cNvPr id="121" name="Freeform 535">
              <a:extLst>
                <a:ext uri="{FF2B5EF4-FFF2-40B4-BE49-F238E27FC236}">
                  <a16:creationId xmlns:a16="http://schemas.microsoft.com/office/drawing/2014/main" id="{9ACE9A71-9732-1AF1-7128-448C6D08F870}"/>
                </a:ext>
              </a:extLst>
            </p:cNvPr>
            <p:cNvSpPr>
              <a:spLocks noEditPoints="1"/>
            </p:cNvSpPr>
            <p:nvPr/>
          </p:nvSpPr>
          <p:spPr bwMode="auto">
            <a:xfrm>
              <a:off x="3814733" y="5816431"/>
              <a:ext cx="3203921" cy="2236947"/>
            </a:xfrm>
            <a:custGeom>
              <a:avLst/>
              <a:gdLst/>
              <a:ahLst/>
              <a:cxnLst>
                <a:cxn ang="0">
                  <a:pos x="4699" y="592"/>
                </a:cxn>
                <a:cxn ang="0">
                  <a:pos x="4445" y="931"/>
                </a:cxn>
                <a:cxn ang="0">
                  <a:pos x="3979" y="1270"/>
                </a:cxn>
                <a:cxn ang="0">
                  <a:pos x="3471" y="1608"/>
                </a:cxn>
                <a:cxn ang="0">
                  <a:pos x="3132" y="2032"/>
                </a:cxn>
                <a:cxn ang="0">
                  <a:pos x="2413" y="2497"/>
                </a:cxn>
                <a:cxn ang="0">
                  <a:pos x="2497" y="3217"/>
                </a:cxn>
                <a:cxn ang="0">
                  <a:pos x="2921" y="3556"/>
                </a:cxn>
                <a:cxn ang="0">
                  <a:pos x="2921" y="3852"/>
                </a:cxn>
                <a:cxn ang="0">
                  <a:pos x="3259" y="4360"/>
                </a:cxn>
                <a:cxn ang="0">
                  <a:pos x="3513" y="4953"/>
                </a:cxn>
                <a:cxn ang="0">
                  <a:pos x="3090" y="5080"/>
                </a:cxn>
                <a:cxn ang="0">
                  <a:pos x="2455" y="4953"/>
                </a:cxn>
                <a:cxn ang="0">
                  <a:pos x="1905" y="5164"/>
                </a:cxn>
                <a:cxn ang="0">
                  <a:pos x="1270" y="5122"/>
                </a:cxn>
                <a:cxn ang="0">
                  <a:pos x="804" y="5545"/>
                </a:cxn>
                <a:cxn ang="0">
                  <a:pos x="381" y="5926"/>
                </a:cxn>
                <a:cxn ang="0">
                  <a:pos x="0" y="6096"/>
                </a:cxn>
                <a:cxn ang="0">
                  <a:pos x="84" y="6519"/>
                </a:cxn>
                <a:cxn ang="0">
                  <a:pos x="508" y="6773"/>
                </a:cxn>
                <a:cxn ang="0">
                  <a:pos x="719" y="7112"/>
                </a:cxn>
                <a:cxn ang="0">
                  <a:pos x="1397" y="7196"/>
                </a:cxn>
                <a:cxn ang="0">
                  <a:pos x="2074" y="6900"/>
                </a:cxn>
                <a:cxn ang="0">
                  <a:pos x="2455" y="6519"/>
                </a:cxn>
                <a:cxn ang="0">
                  <a:pos x="2963" y="6434"/>
                </a:cxn>
                <a:cxn ang="0">
                  <a:pos x="3513" y="6434"/>
                </a:cxn>
                <a:cxn ang="0">
                  <a:pos x="3979" y="6815"/>
                </a:cxn>
                <a:cxn ang="0">
                  <a:pos x="4487" y="7027"/>
                </a:cxn>
                <a:cxn ang="0">
                  <a:pos x="5080" y="6815"/>
                </a:cxn>
                <a:cxn ang="0">
                  <a:pos x="5418" y="7069"/>
                </a:cxn>
                <a:cxn ang="0">
                  <a:pos x="5545" y="6646"/>
                </a:cxn>
                <a:cxn ang="0">
                  <a:pos x="5588" y="6307"/>
                </a:cxn>
                <a:cxn ang="0">
                  <a:pos x="6053" y="6011"/>
                </a:cxn>
                <a:cxn ang="0">
                  <a:pos x="6519" y="5969"/>
                </a:cxn>
                <a:cxn ang="0">
                  <a:pos x="6561" y="5630"/>
                </a:cxn>
                <a:cxn ang="0">
                  <a:pos x="6985" y="5926"/>
                </a:cxn>
                <a:cxn ang="0">
                  <a:pos x="7493" y="6096"/>
                </a:cxn>
                <a:cxn ang="0">
                  <a:pos x="8001" y="6307"/>
                </a:cxn>
                <a:cxn ang="0">
                  <a:pos x="7958" y="5926"/>
                </a:cxn>
                <a:cxn ang="0">
                  <a:pos x="8509" y="6011"/>
                </a:cxn>
                <a:cxn ang="0">
                  <a:pos x="8847" y="5799"/>
                </a:cxn>
                <a:cxn ang="0">
                  <a:pos x="9567" y="5503"/>
                </a:cxn>
                <a:cxn ang="0">
                  <a:pos x="10033" y="5461"/>
                </a:cxn>
                <a:cxn ang="0">
                  <a:pos x="10202" y="4741"/>
                </a:cxn>
                <a:cxn ang="0">
                  <a:pos x="9567" y="4064"/>
                </a:cxn>
                <a:cxn ang="0">
                  <a:pos x="9567" y="3598"/>
                </a:cxn>
                <a:cxn ang="0">
                  <a:pos x="9186" y="3132"/>
                </a:cxn>
                <a:cxn ang="0">
                  <a:pos x="8424" y="3132"/>
                </a:cxn>
                <a:cxn ang="0">
                  <a:pos x="8001" y="2582"/>
                </a:cxn>
                <a:cxn ang="0">
                  <a:pos x="7535" y="2667"/>
                </a:cxn>
                <a:cxn ang="0">
                  <a:pos x="6942" y="2667"/>
                </a:cxn>
                <a:cxn ang="0">
                  <a:pos x="6561" y="2794"/>
                </a:cxn>
                <a:cxn ang="0">
                  <a:pos x="6392" y="2497"/>
                </a:cxn>
                <a:cxn ang="0">
                  <a:pos x="6138" y="2032"/>
                </a:cxn>
                <a:cxn ang="0">
                  <a:pos x="6138" y="1524"/>
                </a:cxn>
                <a:cxn ang="0">
                  <a:pos x="6350" y="1270"/>
                </a:cxn>
                <a:cxn ang="0">
                  <a:pos x="6223" y="635"/>
                </a:cxn>
                <a:cxn ang="0">
                  <a:pos x="5757" y="169"/>
                </a:cxn>
                <a:cxn ang="0">
                  <a:pos x="5207" y="381"/>
                </a:cxn>
              </a:cxnLst>
              <a:rect l="0" t="0" r="r" b="b"/>
              <a:pathLst>
                <a:path w="10371" h="7239">
                  <a:moveTo>
                    <a:pt x="4953" y="0"/>
                  </a:moveTo>
                  <a:lnTo>
                    <a:pt x="4868" y="42"/>
                  </a:lnTo>
                  <a:lnTo>
                    <a:pt x="4868" y="84"/>
                  </a:lnTo>
                  <a:lnTo>
                    <a:pt x="4826" y="211"/>
                  </a:lnTo>
                  <a:lnTo>
                    <a:pt x="4783" y="296"/>
                  </a:lnTo>
                  <a:lnTo>
                    <a:pt x="4783" y="338"/>
                  </a:lnTo>
                  <a:lnTo>
                    <a:pt x="4783" y="381"/>
                  </a:lnTo>
                  <a:lnTo>
                    <a:pt x="4741" y="465"/>
                  </a:lnTo>
                  <a:lnTo>
                    <a:pt x="4741" y="508"/>
                  </a:lnTo>
                  <a:lnTo>
                    <a:pt x="4741" y="550"/>
                  </a:lnTo>
                  <a:lnTo>
                    <a:pt x="4699" y="508"/>
                  </a:lnTo>
                  <a:lnTo>
                    <a:pt x="4699" y="592"/>
                  </a:lnTo>
                  <a:lnTo>
                    <a:pt x="4656" y="592"/>
                  </a:lnTo>
                  <a:lnTo>
                    <a:pt x="4656" y="550"/>
                  </a:lnTo>
                  <a:lnTo>
                    <a:pt x="4656" y="508"/>
                  </a:lnTo>
                  <a:lnTo>
                    <a:pt x="4614" y="592"/>
                  </a:lnTo>
                  <a:lnTo>
                    <a:pt x="4614" y="635"/>
                  </a:lnTo>
                  <a:lnTo>
                    <a:pt x="4656" y="635"/>
                  </a:lnTo>
                  <a:lnTo>
                    <a:pt x="4656" y="677"/>
                  </a:lnTo>
                  <a:lnTo>
                    <a:pt x="4614" y="677"/>
                  </a:lnTo>
                  <a:lnTo>
                    <a:pt x="4656" y="719"/>
                  </a:lnTo>
                  <a:lnTo>
                    <a:pt x="4614" y="762"/>
                  </a:lnTo>
                  <a:lnTo>
                    <a:pt x="4572" y="804"/>
                  </a:lnTo>
                  <a:lnTo>
                    <a:pt x="4445" y="931"/>
                  </a:lnTo>
                  <a:lnTo>
                    <a:pt x="4360" y="1016"/>
                  </a:lnTo>
                  <a:lnTo>
                    <a:pt x="4275" y="1058"/>
                  </a:lnTo>
                  <a:lnTo>
                    <a:pt x="4275" y="1100"/>
                  </a:lnTo>
                  <a:lnTo>
                    <a:pt x="4233" y="1100"/>
                  </a:lnTo>
                  <a:lnTo>
                    <a:pt x="4191" y="1143"/>
                  </a:lnTo>
                  <a:lnTo>
                    <a:pt x="4148" y="1143"/>
                  </a:lnTo>
                  <a:lnTo>
                    <a:pt x="4106" y="1185"/>
                  </a:lnTo>
                  <a:lnTo>
                    <a:pt x="4106" y="1227"/>
                  </a:lnTo>
                  <a:lnTo>
                    <a:pt x="4064" y="1227"/>
                  </a:lnTo>
                  <a:lnTo>
                    <a:pt x="4064" y="1270"/>
                  </a:lnTo>
                  <a:lnTo>
                    <a:pt x="4021" y="1270"/>
                  </a:lnTo>
                  <a:lnTo>
                    <a:pt x="3979" y="1270"/>
                  </a:lnTo>
                  <a:lnTo>
                    <a:pt x="3894" y="1312"/>
                  </a:lnTo>
                  <a:lnTo>
                    <a:pt x="3852" y="1354"/>
                  </a:lnTo>
                  <a:lnTo>
                    <a:pt x="3810" y="1354"/>
                  </a:lnTo>
                  <a:lnTo>
                    <a:pt x="3767" y="1397"/>
                  </a:lnTo>
                  <a:lnTo>
                    <a:pt x="3683" y="1439"/>
                  </a:lnTo>
                  <a:lnTo>
                    <a:pt x="3640" y="1439"/>
                  </a:lnTo>
                  <a:lnTo>
                    <a:pt x="3598" y="1481"/>
                  </a:lnTo>
                  <a:lnTo>
                    <a:pt x="3556" y="1524"/>
                  </a:lnTo>
                  <a:lnTo>
                    <a:pt x="3556" y="1566"/>
                  </a:lnTo>
                  <a:lnTo>
                    <a:pt x="3513" y="1566"/>
                  </a:lnTo>
                  <a:lnTo>
                    <a:pt x="3471" y="1566"/>
                  </a:lnTo>
                  <a:lnTo>
                    <a:pt x="3471" y="1608"/>
                  </a:lnTo>
                  <a:lnTo>
                    <a:pt x="3471" y="1651"/>
                  </a:lnTo>
                  <a:lnTo>
                    <a:pt x="3429" y="1651"/>
                  </a:lnTo>
                  <a:lnTo>
                    <a:pt x="3429" y="1693"/>
                  </a:lnTo>
                  <a:lnTo>
                    <a:pt x="3386" y="1693"/>
                  </a:lnTo>
                  <a:lnTo>
                    <a:pt x="3386" y="1735"/>
                  </a:lnTo>
                  <a:lnTo>
                    <a:pt x="3344" y="1735"/>
                  </a:lnTo>
                  <a:lnTo>
                    <a:pt x="3344" y="1778"/>
                  </a:lnTo>
                  <a:lnTo>
                    <a:pt x="3259" y="1820"/>
                  </a:lnTo>
                  <a:lnTo>
                    <a:pt x="3217" y="1862"/>
                  </a:lnTo>
                  <a:lnTo>
                    <a:pt x="3175" y="1905"/>
                  </a:lnTo>
                  <a:lnTo>
                    <a:pt x="3175" y="1947"/>
                  </a:lnTo>
                  <a:lnTo>
                    <a:pt x="3132" y="2032"/>
                  </a:lnTo>
                  <a:lnTo>
                    <a:pt x="3132" y="2116"/>
                  </a:lnTo>
                  <a:lnTo>
                    <a:pt x="3090" y="2201"/>
                  </a:lnTo>
                  <a:lnTo>
                    <a:pt x="3090" y="2243"/>
                  </a:lnTo>
                  <a:lnTo>
                    <a:pt x="3048" y="2328"/>
                  </a:lnTo>
                  <a:lnTo>
                    <a:pt x="3005" y="2370"/>
                  </a:lnTo>
                  <a:lnTo>
                    <a:pt x="2836" y="2370"/>
                  </a:lnTo>
                  <a:lnTo>
                    <a:pt x="2794" y="2370"/>
                  </a:lnTo>
                  <a:lnTo>
                    <a:pt x="2709" y="2455"/>
                  </a:lnTo>
                  <a:lnTo>
                    <a:pt x="2667" y="2413"/>
                  </a:lnTo>
                  <a:lnTo>
                    <a:pt x="2624" y="2455"/>
                  </a:lnTo>
                  <a:lnTo>
                    <a:pt x="2497" y="2497"/>
                  </a:lnTo>
                  <a:lnTo>
                    <a:pt x="2413" y="2497"/>
                  </a:lnTo>
                  <a:lnTo>
                    <a:pt x="2370" y="2540"/>
                  </a:lnTo>
                  <a:lnTo>
                    <a:pt x="2286" y="2540"/>
                  </a:lnTo>
                  <a:lnTo>
                    <a:pt x="2243" y="2751"/>
                  </a:lnTo>
                  <a:lnTo>
                    <a:pt x="2243" y="2794"/>
                  </a:lnTo>
                  <a:lnTo>
                    <a:pt x="2328" y="2836"/>
                  </a:lnTo>
                  <a:lnTo>
                    <a:pt x="2328" y="2794"/>
                  </a:lnTo>
                  <a:lnTo>
                    <a:pt x="2497" y="2921"/>
                  </a:lnTo>
                  <a:lnTo>
                    <a:pt x="2497" y="2963"/>
                  </a:lnTo>
                  <a:lnTo>
                    <a:pt x="2497" y="3005"/>
                  </a:lnTo>
                  <a:lnTo>
                    <a:pt x="2497" y="3048"/>
                  </a:lnTo>
                  <a:lnTo>
                    <a:pt x="2497" y="3090"/>
                  </a:lnTo>
                  <a:lnTo>
                    <a:pt x="2497" y="3217"/>
                  </a:lnTo>
                  <a:lnTo>
                    <a:pt x="2540" y="3259"/>
                  </a:lnTo>
                  <a:lnTo>
                    <a:pt x="2751" y="3259"/>
                  </a:lnTo>
                  <a:lnTo>
                    <a:pt x="2751" y="3302"/>
                  </a:lnTo>
                  <a:lnTo>
                    <a:pt x="2709" y="3302"/>
                  </a:lnTo>
                  <a:lnTo>
                    <a:pt x="2751" y="3344"/>
                  </a:lnTo>
                  <a:lnTo>
                    <a:pt x="2751" y="3386"/>
                  </a:lnTo>
                  <a:lnTo>
                    <a:pt x="2751" y="3429"/>
                  </a:lnTo>
                  <a:lnTo>
                    <a:pt x="2794" y="3429"/>
                  </a:lnTo>
                  <a:lnTo>
                    <a:pt x="2836" y="3429"/>
                  </a:lnTo>
                  <a:lnTo>
                    <a:pt x="2836" y="3513"/>
                  </a:lnTo>
                  <a:lnTo>
                    <a:pt x="2921" y="3513"/>
                  </a:lnTo>
                  <a:lnTo>
                    <a:pt x="2921" y="3556"/>
                  </a:lnTo>
                  <a:lnTo>
                    <a:pt x="2921" y="3598"/>
                  </a:lnTo>
                  <a:lnTo>
                    <a:pt x="2836" y="3598"/>
                  </a:lnTo>
                  <a:lnTo>
                    <a:pt x="2836" y="3640"/>
                  </a:lnTo>
                  <a:lnTo>
                    <a:pt x="2836" y="3683"/>
                  </a:lnTo>
                  <a:lnTo>
                    <a:pt x="2878" y="3683"/>
                  </a:lnTo>
                  <a:lnTo>
                    <a:pt x="2878" y="3725"/>
                  </a:lnTo>
                  <a:lnTo>
                    <a:pt x="2836" y="3725"/>
                  </a:lnTo>
                  <a:lnTo>
                    <a:pt x="2794" y="3725"/>
                  </a:lnTo>
                  <a:lnTo>
                    <a:pt x="2794" y="3767"/>
                  </a:lnTo>
                  <a:lnTo>
                    <a:pt x="2836" y="3767"/>
                  </a:lnTo>
                  <a:lnTo>
                    <a:pt x="2921" y="3810"/>
                  </a:lnTo>
                  <a:lnTo>
                    <a:pt x="2921" y="3852"/>
                  </a:lnTo>
                  <a:lnTo>
                    <a:pt x="2963" y="3852"/>
                  </a:lnTo>
                  <a:lnTo>
                    <a:pt x="3005" y="3852"/>
                  </a:lnTo>
                  <a:lnTo>
                    <a:pt x="3132" y="3810"/>
                  </a:lnTo>
                  <a:lnTo>
                    <a:pt x="3175" y="3894"/>
                  </a:lnTo>
                  <a:lnTo>
                    <a:pt x="3175" y="3937"/>
                  </a:lnTo>
                  <a:lnTo>
                    <a:pt x="3175" y="3979"/>
                  </a:lnTo>
                  <a:lnTo>
                    <a:pt x="3175" y="4021"/>
                  </a:lnTo>
                  <a:lnTo>
                    <a:pt x="3217" y="4064"/>
                  </a:lnTo>
                  <a:lnTo>
                    <a:pt x="3175" y="4106"/>
                  </a:lnTo>
                  <a:lnTo>
                    <a:pt x="3175" y="4148"/>
                  </a:lnTo>
                  <a:lnTo>
                    <a:pt x="3175" y="4360"/>
                  </a:lnTo>
                  <a:lnTo>
                    <a:pt x="3259" y="4360"/>
                  </a:lnTo>
                  <a:lnTo>
                    <a:pt x="3259" y="4402"/>
                  </a:lnTo>
                  <a:lnTo>
                    <a:pt x="3217" y="4402"/>
                  </a:lnTo>
                  <a:lnTo>
                    <a:pt x="3344" y="4487"/>
                  </a:lnTo>
                  <a:lnTo>
                    <a:pt x="3344" y="4614"/>
                  </a:lnTo>
                  <a:lnTo>
                    <a:pt x="3344" y="4656"/>
                  </a:lnTo>
                  <a:lnTo>
                    <a:pt x="3344" y="4699"/>
                  </a:lnTo>
                  <a:lnTo>
                    <a:pt x="3344" y="4741"/>
                  </a:lnTo>
                  <a:lnTo>
                    <a:pt x="3386" y="4783"/>
                  </a:lnTo>
                  <a:lnTo>
                    <a:pt x="3429" y="4826"/>
                  </a:lnTo>
                  <a:lnTo>
                    <a:pt x="3471" y="4826"/>
                  </a:lnTo>
                  <a:lnTo>
                    <a:pt x="3471" y="4868"/>
                  </a:lnTo>
                  <a:lnTo>
                    <a:pt x="3513" y="4953"/>
                  </a:lnTo>
                  <a:lnTo>
                    <a:pt x="3513" y="4995"/>
                  </a:lnTo>
                  <a:lnTo>
                    <a:pt x="3556" y="5037"/>
                  </a:lnTo>
                  <a:lnTo>
                    <a:pt x="3513" y="5080"/>
                  </a:lnTo>
                  <a:lnTo>
                    <a:pt x="3556" y="5122"/>
                  </a:lnTo>
                  <a:lnTo>
                    <a:pt x="3556" y="5164"/>
                  </a:lnTo>
                  <a:lnTo>
                    <a:pt x="3556" y="5207"/>
                  </a:lnTo>
                  <a:lnTo>
                    <a:pt x="3513" y="5249"/>
                  </a:lnTo>
                  <a:lnTo>
                    <a:pt x="3429" y="5291"/>
                  </a:lnTo>
                  <a:lnTo>
                    <a:pt x="3344" y="5249"/>
                  </a:lnTo>
                  <a:lnTo>
                    <a:pt x="3217" y="5207"/>
                  </a:lnTo>
                  <a:lnTo>
                    <a:pt x="3132" y="5164"/>
                  </a:lnTo>
                  <a:lnTo>
                    <a:pt x="3090" y="5080"/>
                  </a:lnTo>
                  <a:lnTo>
                    <a:pt x="3048" y="5080"/>
                  </a:lnTo>
                  <a:lnTo>
                    <a:pt x="3005" y="5080"/>
                  </a:lnTo>
                  <a:lnTo>
                    <a:pt x="2963" y="5037"/>
                  </a:lnTo>
                  <a:lnTo>
                    <a:pt x="2921" y="5037"/>
                  </a:lnTo>
                  <a:lnTo>
                    <a:pt x="2836" y="4995"/>
                  </a:lnTo>
                  <a:lnTo>
                    <a:pt x="2794" y="4953"/>
                  </a:lnTo>
                  <a:lnTo>
                    <a:pt x="2751" y="4953"/>
                  </a:lnTo>
                  <a:lnTo>
                    <a:pt x="2709" y="4953"/>
                  </a:lnTo>
                  <a:lnTo>
                    <a:pt x="2582" y="4953"/>
                  </a:lnTo>
                  <a:lnTo>
                    <a:pt x="2540" y="4910"/>
                  </a:lnTo>
                  <a:lnTo>
                    <a:pt x="2497" y="4910"/>
                  </a:lnTo>
                  <a:lnTo>
                    <a:pt x="2455" y="4953"/>
                  </a:lnTo>
                  <a:lnTo>
                    <a:pt x="2413" y="4995"/>
                  </a:lnTo>
                  <a:lnTo>
                    <a:pt x="2370" y="4995"/>
                  </a:lnTo>
                  <a:lnTo>
                    <a:pt x="2286" y="5037"/>
                  </a:lnTo>
                  <a:lnTo>
                    <a:pt x="2243" y="5037"/>
                  </a:lnTo>
                  <a:lnTo>
                    <a:pt x="2201" y="5080"/>
                  </a:lnTo>
                  <a:lnTo>
                    <a:pt x="2159" y="5080"/>
                  </a:lnTo>
                  <a:lnTo>
                    <a:pt x="2074" y="5037"/>
                  </a:lnTo>
                  <a:lnTo>
                    <a:pt x="2032" y="5080"/>
                  </a:lnTo>
                  <a:lnTo>
                    <a:pt x="1989" y="5080"/>
                  </a:lnTo>
                  <a:lnTo>
                    <a:pt x="1947" y="5122"/>
                  </a:lnTo>
                  <a:lnTo>
                    <a:pt x="1947" y="5164"/>
                  </a:lnTo>
                  <a:lnTo>
                    <a:pt x="1905" y="5164"/>
                  </a:lnTo>
                  <a:lnTo>
                    <a:pt x="1862" y="5207"/>
                  </a:lnTo>
                  <a:lnTo>
                    <a:pt x="1820" y="5207"/>
                  </a:lnTo>
                  <a:lnTo>
                    <a:pt x="1778" y="5164"/>
                  </a:lnTo>
                  <a:lnTo>
                    <a:pt x="1735" y="5122"/>
                  </a:lnTo>
                  <a:lnTo>
                    <a:pt x="1608" y="5122"/>
                  </a:lnTo>
                  <a:lnTo>
                    <a:pt x="1566" y="5122"/>
                  </a:lnTo>
                  <a:lnTo>
                    <a:pt x="1481" y="5037"/>
                  </a:lnTo>
                  <a:lnTo>
                    <a:pt x="1397" y="4995"/>
                  </a:lnTo>
                  <a:lnTo>
                    <a:pt x="1354" y="4995"/>
                  </a:lnTo>
                  <a:lnTo>
                    <a:pt x="1312" y="4995"/>
                  </a:lnTo>
                  <a:lnTo>
                    <a:pt x="1312" y="5080"/>
                  </a:lnTo>
                  <a:lnTo>
                    <a:pt x="1270" y="5122"/>
                  </a:lnTo>
                  <a:lnTo>
                    <a:pt x="1227" y="5164"/>
                  </a:lnTo>
                  <a:lnTo>
                    <a:pt x="1185" y="5164"/>
                  </a:lnTo>
                  <a:lnTo>
                    <a:pt x="1143" y="5164"/>
                  </a:lnTo>
                  <a:lnTo>
                    <a:pt x="1100" y="5122"/>
                  </a:lnTo>
                  <a:lnTo>
                    <a:pt x="1058" y="5080"/>
                  </a:lnTo>
                  <a:lnTo>
                    <a:pt x="1016" y="5164"/>
                  </a:lnTo>
                  <a:lnTo>
                    <a:pt x="973" y="5291"/>
                  </a:lnTo>
                  <a:lnTo>
                    <a:pt x="889" y="5376"/>
                  </a:lnTo>
                  <a:lnTo>
                    <a:pt x="846" y="5418"/>
                  </a:lnTo>
                  <a:lnTo>
                    <a:pt x="889" y="5418"/>
                  </a:lnTo>
                  <a:lnTo>
                    <a:pt x="846" y="5461"/>
                  </a:lnTo>
                  <a:lnTo>
                    <a:pt x="804" y="5545"/>
                  </a:lnTo>
                  <a:lnTo>
                    <a:pt x="762" y="5545"/>
                  </a:lnTo>
                  <a:lnTo>
                    <a:pt x="762" y="5588"/>
                  </a:lnTo>
                  <a:lnTo>
                    <a:pt x="719" y="5715"/>
                  </a:lnTo>
                  <a:lnTo>
                    <a:pt x="677" y="5757"/>
                  </a:lnTo>
                  <a:lnTo>
                    <a:pt x="677" y="5799"/>
                  </a:lnTo>
                  <a:lnTo>
                    <a:pt x="635" y="5799"/>
                  </a:lnTo>
                  <a:lnTo>
                    <a:pt x="550" y="5799"/>
                  </a:lnTo>
                  <a:lnTo>
                    <a:pt x="508" y="5799"/>
                  </a:lnTo>
                  <a:lnTo>
                    <a:pt x="508" y="5884"/>
                  </a:lnTo>
                  <a:lnTo>
                    <a:pt x="465" y="5926"/>
                  </a:lnTo>
                  <a:lnTo>
                    <a:pt x="423" y="5926"/>
                  </a:lnTo>
                  <a:lnTo>
                    <a:pt x="381" y="5926"/>
                  </a:lnTo>
                  <a:lnTo>
                    <a:pt x="338" y="5926"/>
                  </a:lnTo>
                  <a:lnTo>
                    <a:pt x="338" y="5969"/>
                  </a:lnTo>
                  <a:lnTo>
                    <a:pt x="338" y="6011"/>
                  </a:lnTo>
                  <a:lnTo>
                    <a:pt x="381" y="6053"/>
                  </a:lnTo>
                  <a:lnTo>
                    <a:pt x="381" y="6096"/>
                  </a:lnTo>
                  <a:lnTo>
                    <a:pt x="338" y="6096"/>
                  </a:lnTo>
                  <a:lnTo>
                    <a:pt x="296" y="6053"/>
                  </a:lnTo>
                  <a:lnTo>
                    <a:pt x="169" y="6096"/>
                  </a:lnTo>
                  <a:lnTo>
                    <a:pt x="127" y="6053"/>
                  </a:lnTo>
                  <a:lnTo>
                    <a:pt x="42" y="6096"/>
                  </a:lnTo>
                  <a:lnTo>
                    <a:pt x="0" y="6053"/>
                  </a:lnTo>
                  <a:lnTo>
                    <a:pt x="0" y="6096"/>
                  </a:lnTo>
                  <a:lnTo>
                    <a:pt x="0" y="6138"/>
                  </a:lnTo>
                  <a:lnTo>
                    <a:pt x="42" y="6180"/>
                  </a:lnTo>
                  <a:lnTo>
                    <a:pt x="0" y="6180"/>
                  </a:lnTo>
                  <a:lnTo>
                    <a:pt x="42" y="6223"/>
                  </a:lnTo>
                  <a:lnTo>
                    <a:pt x="84" y="6223"/>
                  </a:lnTo>
                  <a:lnTo>
                    <a:pt x="127" y="6223"/>
                  </a:lnTo>
                  <a:lnTo>
                    <a:pt x="211" y="6223"/>
                  </a:lnTo>
                  <a:lnTo>
                    <a:pt x="169" y="6392"/>
                  </a:lnTo>
                  <a:lnTo>
                    <a:pt x="169" y="6434"/>
                  </a:lnTo>
                  <a:lnTo>
                    <a:pt x="84" y="6434"/>
                  </a:lnTo>
                  <a:lnTo>
                    <a:pt x="84" y="6477"/>
                  </a:lnTo>
                  <a:lnTo>
                    <a:pt x="84" y="6519"/>
                  </a:lnTo>
                  <a:lnTo>
                    <a:pt x="127" y="6519"/>
                  </a:lnTo>
                  <a:lnTo>
                    <a:pt x="169" y="6561"/>
                  </a:lnTo>
                  <a:lnTo>
                    <a:pt x="254" y="6604"/>
                  </a:lnTo>
                  <a:lnTo>
                    <a:pt x="296" y="6646"/>
                  </a:lnTo>
                  <a:lnTo>
                    <a:pt x="338" y="6646"/>
                  </a:lnTo>
                  <a:lnTo>
                    <a:pt x="338" y="6688"/>
                  </a:lnTo>
                  <a:lnTo>
                    <a:pt x="381" y="6731"/>
                  </a:lnTo>
                  <a:lnTo>
                    <a:pt x="381" y="6773"/>
                  </a:lnTo>
                  <a:lnTo>
                    <a:pt x="423" y="6773"/>
                  </a:lnTo>
                  <a:lnTo>
                    <a:pt x="423" y="6815"/>
                  </a:lnTo>
                  <a:lnTo>
                    <a:pt x="465" y="6815"/>
                  </a:lnTo>
                  <a:lnTo>
                    <a:pt x="508" y="6773"/>
                  </a:lnTo>
                  <a:lnTo>
                    <a:pt x="550" y="6731"/>
                  </a:lnTo>
                  <a:lnTo>
                    <a:pt x="592" y="6731"/>
                  </a:lnTo>
                  <a:lnTo>
                    <a:pt x="635" y="6773"/>
                  </a:lnTo>
                  <a:lnTo>
                    <a:pt x="677" y="6815"/>
                  </a:lnTo>
                  <a:lnTo>
                    <a:pt x="804" y="6858"/>
                  </a:lnTo>
                  <a:lnTo>
                    <a:pt x="804" y="6900"/>
                  </a:lnTo>
                  <a:lnTo>
                    <a:pt x="804" y="6942"/>
                  </a:lnTo>
                  <a:lnTo>
                    <a:pt x="804" y="6985"/>
                  </a:lnTo>
                  <a:lnTo>
                    <a:pt x="846" y="7027"/>
                  </a:lnTo>
                  <a:lnTo>
                    <a:pt x="804" y="7069"/>
                  </a:lnTo>
                  <a:lnTo>
                    <a:pt x="762" y="7112"/>
                  </a:lnTo>
                  <a:lnTo>
                    <a:pt x="719" y="7112"/>
                  </a:lnTo>
                  <a:lnTo>
                    <a:pt x="719" y="7154"/>
                  </a:lnTo>
                  <a:lnTo>
                    <a:pt x="762" y="7196"/>
                  </a:lnTo>
                  <a:lnTo>
                    <a:pt x="846" y="7154"/>
                  </a:lnTo>
                  <a:lnTo>
                    <a:pt x="931" y="7154"/>
                  </a:lnTo>
                  <a:lnTo>
                    <a:pt x="1016" y="7154"/>
                  </a:lnTo>
                  <a:lnTo>
                    <a:pt x="1058" y="7154"/>
                  </a:lnTo>
                  <a:lnTo>
                    <a:pt x="1143" y="7154"/>
                  </a:lnTo>
                  <a:lnTo>
                    <a:pt x="1185" y="7154"/>
                  </a:lnTo>
                  <a:lnTo>
                    <a:pt x="1227" y="7154"/>
                  </a:lnTo>
                  <a:lnTo>
                    <a:pt x="1270" y="7112"/>
                  </a:lnTo>
                  <a:lnTo>
                    <a:pt x="1312" y="7154"/>
                  </a:lnTo>
                  <a:lnTo>
                    <a:pt x="1397" y="7196"/>
                  </a:lnTo>
                  <a:lnTo>
                    <a:pt x="1439" y="7239"/>
                  </a:lnTo>
                  <a:lnTo>
                    <a:pt x="1481" y="7196"/>
                  </a:lnTo>
                  <a:lnTo>
                    <a:pt x="1524" y="7154"/>
                  </a:lnTo>
                  <a:lnTo>
                    <a:pt x="1608" y="7154"/>
                  </a:lnTo>
                  <a:lnTo>
                    <a:pt x="1693" y="7196"/>
                  </a:lnTo>
                  <a:lnTo>
                    <a:pt x="1735" y="7196"/>
                  </a:lnTo>
                  <a:lnTo>
                    <a:pt x="1735" y="7154"/>
                  </a:lnTo>
                  <a:lnTo>
                    <a:pt x="1820" y="7112"/>
                  </a:lnTo>
                  <a:lnTo>
                    <a:pt x="2032" y="7027"/>
                  </a:lnTo>
                  <a:lnTo>
                    <a:pt x="2032" y="6985"/>
                  </a:lnTo>
                  <a:lnTo>
                    <a:pt x="2074" y="6985"/>
                  </a:lnTo>
                  <a:lnTo>
                    <a:pt x="2074" y="6900"/>
                  </a:lnTo>
                  <a:lnTo>
                    <a:pt x="2074" y="6815"/>
                  </a:lnTo>
                  <a:lnTo>
                    <a:pt x="2116" y="6731"/>
                  </a:lnTo>
                  <a:lnTo>
                    <a:pt x="2116" y="6688"/>
                  </a:lnTo>
                  <a:lnTo>
                    <a:pt x="2201" y="6561"/>
                  </a:lnTo>
                  <a:lnTo>
                    <a:pt x="2243" y="6519"/>
                  </a:lnTo>
                  <a:lnTo>
                    <a:pt x="2286" y="6477"/>
                  </a:lnTo>
                  <a:lnTo>
                    <a:pt x="2286" y="6434"/>
                  </a:lnTo>
                  <a:lnTo>
                    <a:pt x="2328" y="6392"/>
                  </a:lnTo>
                  <a:lnTo>
                    <a:pt x="2370" y="6392"/>
                  </a:lnTo>
                  <a:lnTo>
                    <a:pt x="2370" y="6434"/>
                  </a:lnTo>
                  <a:lnTo>
                    <a:pt x="2413" y="6477"/>
                  </a:lnTo>
                  <a:lnTo>
                    <a:pt x="2455" y="6519"/>
                  </a:lnTo>
                  <a:lnTo>
                    <a:pt x="2497" y="6519"/>
                  </a:lnTo>
                  <a:lnTo>
                    <a:pt x="2582" y="6519"/>
                  </a:lnTo>
                  <a:lnTo>
                    <a:pt x="2667" y="6519"/>
                  </a:lnTo>
                  <a:lnTo>
                    <a:pt x="2709" y="6477"/>
                  </a:lnTo>
                  <a:lnTo>
                    <a:pt x="2751" y="6392"/>
                  </a:lnTo>
                  <a:lnTo>
                    <a:pt x="2751" y="6350"/>
                  </a:lnTo>
                  <a:lnTo>
                    <a:pt x="2794" y="6350"/>
                  </a:lnTo>
                  <a:lnTo>
                    <a:pt x="2836" y="6350"/>
                  </a:lnTo>
                  <a:lnTo>
                    <a:pt x="2878" y="6350"/>
                  </a:lnTo>
                  <a:lnTo>
                    <a:pt x="2921" y="6392"/>
                  </a:lnTo>
                  <a:lnTo>
                    <a:pt x="2921" y="6434"/>
                  </a:lnTo>
                  <a:lnTo>
                    <a:pt x="2963" y="6434"/>
                  </a:lnTo>
                  <a:lnTo>
                    <a:pt x="3005" y="6434"/>
                  </a:lnTo>
                  <a:lnTo>
                    <a:pt x="3048" y="6477"/>
                  </a:lnTo>
                  <a:lnTo>
                    <a:pt x="3090" y="6477"/>
                  </a:lnTo>
                  <a:lnTo>
                    <a:pt x="3132" y="6434"/>
                  </a:lnTo>
                  <a:lnTo>
                    <a:pt x="3132" y="6392"/>
                  </a:lnTo>
                  <a:lnTo>
                    <a:pt x="3175" y="6350"/>
                  </a:lnTo>
                  <a:lnTo>
                    <a:pt x="3217" y="6350"/>
                  </a:lnTo>
                  <a:lnTo>
                    <a:pt x="3302" y="6350"/>
                  </a:lnTo>
                  <a:lnTo>
                    <a:pt x="3344" y="6350"/>
                  </a:lnTo>
                  <a:lnTo>
                    <a:pt x="3386" y="6350"/>
                  </a:lnTo>
                  <a:lnTo>
                    <a:pt x="3471" y="6392"/>
                  </a:lnTo>
                  <a:lnTo>
                    <a:pt x="3513" y="6434"/>
                  </a:lnTo>
                  <a:lnTo>
                    <a:pt x="3556" y="6434"/>
                  </a:lnTo>
                  <a:lnTo>
                    <a:pt x="3640" y="6434"/>
                  </a:lnTo>
                  <a:lnTo>
                    <a:pt x="3683" y="6477"/>
                  </a:lnTo>
                  <a:lnTo>
                    <a:pt x="3683" y="6561"/>
                  </a:lnTo>
                  <a:lnTo>
                    <a:pt x="3725" y="6604"/>
                  </a:lnTo>
                  <a:lnTo>
                    <a:pt x="3767" y="6646"/>
                  </a:lnTo>
                  <a:lnTo>
                    <a:pt x="3810" y="6688"/>
                  </a:lnTo>
                  <a:lnTo>
                    <a:pt x="3852" y="6688"/>
                  </a:lnTo>
                  <a:lnTo>
                    <a:pt x="3894" y="6688"/>
                  </a:lnTo>
                  <a:lnTo>
                    <a:pt x="3937" y="6731"/>
                  </a:lnTo>
                  <a:lnTo>
                    <a:pt x="3979" y="6731"/>
                  </a:lnTo>
                  <a:lnTo>
                    <a:pt x="3979" y="6815"/>
                  </a:lnTo>
                  <a:lnTo>
                    <a:pt x="4021" y="6815"/>
                  </a:lnTo>
                  <a:lnTo>
                    <a:pt x="4064" y="6858"/>
                  </a:lnTo>
                  <a:lnTo>
                    <a:pt x="4106" y="6858"/>
                  </a:lnTo>
                  <a:lnTo>
                    <a:pt x="4148" y="6858"/>
                  </a:lnTo>
                  <a:lnTo>
                    <a:pt x="4191" y="6900"/>
                  </a:lnTo>
                  <a:lnTo>
                    <a:pt x="4233" y="6942"/>
                  </a:lnTo>
                  <a:lnTo>
                    <a:pt x="4233" y="6985"/>
                  </a:lnTo>
                  <a:lnTo>
                    <a:pt x="4275" y="7027"/>
                  </a:lnTo>
                  <a:lnTo>
                    <a:pt x="4318" y="7027"/>
                  </a:lnTo>
                  <a:lnTo>
                    <a:pt x="4360" y="7027"/>
                  </a:lnTo>
                  <a:lnTo>
                    <a:pt x="4445" y="7027"/>
                  </a:lnTo>
                  <a:lnTo>
                    <a:pt x="4487" y="7027"/>
                  </a:lnTo>
                  <a:lnTo>
                    <a:pt x="4614" y="6985"/>
                  </a:lnTo>
                  <a:lnTo>
                    <a:pt x="4656" y="6985"/>
                  </a:lnTo>
                  <a:lnTo>
                    <a:pt x="4783" y="6985"/>
                  </a:lnTo>
                  <a:lnTo>
                    <a:pt x="4868" y="6985"/>
                  </a:lnTo>
                  <a:lnTo>
                    <a:pt x="4910" y="6985"/>
                  </a:lnTo>
                  <a:lnTo>
                    <a:pt x="4953" y="6985"/>
                  </a:lnTo>
                  <a:lnTo>
                    <a:pt x="4953" y="6942"/>
                  </a:lnTo>
                  <a:lnTo>
                    <a:pt x="4953" y="6900"/>
                  </a:lnTo>
                  <a:lnTo>
                    <a:pt x="4910" y="6858"/>
                  </a:lnTo>
                  <a:lnTo>
                    <a:pt x="4953" y="6815"/>
                  </a:lnTo>
                  <a:lnTo>
                    <a:pt x="5037" y="6815"/>
                  </a:lnTo>
                  <a:lnTo>
                    <a:pt x="5080" y="6815"/>
                  </a:lnTo>
                  <a:lnTo>
                    <a:pt x="5122" y="6858"/>
                  </a:lnTo>
                  <a:lnTo>
                    <a:pt x="5164" y="6900"/>
                  </a:lnTo>
                  <a:lnTo>
                    <a:pt x="5164" y="6942"/>
                  </a:lnTo>
                  <a:lnTo>
                    <a:pt x="5207" y="6985"/>
                  </a:lnTo>
                  <a:lnTo>
                    <a:pt x="5207" y="7027"/>
                  </a:lnTo>
                  <a:lnTo>
                    <a:pt x="5249" y="7069"/>
                  </a:lnTo>
                  <a:lnTo>
                    <a:pt x="5291" y="7069"/>
                  </a:lnTo>
                  <a:lnTo>
                    <a:pt x="5291" y="7112"/>
                  </a:lnTo>
                  <a:lnTo>
                    <a:pt x="5334" y="7154"/>
                  </a:lnTo>
                  <a:lnTo>
                    <a:pt x="5376" y="7154"/>
                  </a:lnTo>
                  <a:lnTo>
                    <a:pt x="5418" y="7112"/>
                  </a:lnTo>
                  <a:lnTo>
                    <a:pt x="5418" y="7069"/>
                  </a:lnTo>
                  <a:lnTo>
                    <a:pt x="5461" y="7027"/>
                  </a:lnTo>
                  <a:lnTo>
                    <a:pt x="5545" y="6985"/>
                  </a:lnTo>
                  <a:lnTo>
                    <a:pt x="5588" y="6985"/>
                  </a:lnTo>
                  <a:lnTo>
                    <a:pt x="5630" y="6900"/>
                  </a:lnTo>
                  <a:lnTo>
                    <a:pt x="5630" y="6858"/>
                  </a:lnTo>
                  <a:lnTo>
                    <a:pt x="5588" y="6858"/>
                  </a:lnTo>
                  <a:lnTo>
                    <a:pt x="5588" y="6773"/>
                  </a:lnTo>
                  <a:lnTo>
                    <a:pt x="5630" y="6773"/>
                  </a:lnTo>
                  <a:lnTo>
                    <a:pt x="5588" y="6731"/>
                  </a:lnTo>
                  <a:lnTo>
                    <a:pt x="5545" y="6731"/>
                  </a:lnTo>
                  <a:lnTo>
                    <a:pt x="5545" y="6688"/>
                  </a:lnTo>
                  <a:lnTo>
                    <a:pt x="5545" y="6646"/>
                  </a:lnTo>
                  <a:lnTo>
                    <a:pt x="5545" y="6604"/>
                  </a:lnTo>
                  <a:lnTo>
                    <a:pt x="5461" y="6519"/>
                  </a:lnTo>
                  <a:lnTo>
                    <a:pt x="5418" y="6519"/>
                  </a:lnTo>
                  <a:lnTo>
                    <a:pt x="5376" y="6519"/>
                  </a:lnTo>
                  <a:lnTo>
                    <a:pt x="5376" y="6477"/>
                  </a:lnTo>
                  <a:lnTo>
                    <a:pt x="5418" y="6434"/>
                  </a:lnTo>
                  <a:lnTo>
                    <a:pt x="5461" y="6434"/>
                  </a:lnTo>
                  <a:lnTo>
                    <a:pt x="5376" y="6392"/>
                  </a:lnTo>
                  <a:lnTo>
                    <a:pt x="5461" y="6265"/>
                  </a:lnTo>
                  <a:lnTo>
                    <a:pt x="5503" y="6265"/>
                  </a:lnTo>
                  <a:lnTo>
                    <a:pt x="5503" y="6307"/>
                  </a:lnTo>
                  <a:lnTo>
                    <a:pt x="5588" y="6307"/>
                  </a:lnTo>
                  <a:lnTo>
                    <a:pt x="5630" y="6307"/>
                  </a:lnTo>
                  <a:lnTo>
                    <a:pt x="5715" y="6265"/>
                  </a:lnTo>
                  <a:lnTo>
                    <a:pt x="5757" y="6265"/>
                  </a:lnTo>
                  <a:lnTo>
                    <a:pt x="5799" y="6223"/>
                  </a:lnTo>
                  <a:lnTo>
                    <a:pt x="5842" y="6180"/>
                  </a:lnTo>
                  <a:lnTo>
                    <a:pt x="5884" y="6223"/>
                  </a:lnTo>
                  <a:lnTo>
                    <a:pt x="5926" y="6180"/>
                  </a:lnTo>
                  <a:lnTo>
                    <a:pt x="5969" y="6138"/>
                  </a:lnTo>
                  <a:lnTo>
                    <a:pt x="6011" y="6138"/>
                  </a:lnTo>
                  <a:lnTo>
                    <a:pt x="5969" y="6096"/>
                  </a:lnTo>
                  <a:lnTo>
                    <a:pt x="6011" y="6053"/>
                  </a:lnTo>
                  <a:lnTo>
                    <a:pt x="6053" y="6011"/>
                  </a:lnTo>
                  <a:lnTo>
                    <a:pt x="6096" y="6053"/>
                  </a:lnTo>
                  <a:lnTo>
                    <a:pt x="6180" y="6138"/>
                  </a:lnTo>
                  <a:lnTo>
                    <a:pt x="6223" y="6138"/>
                  </a:lnTo>
                  <a:lnTo>
                    <a:pt x="6265" y="6138"/>
                  </a:lnTo>
                  <a:lnTo>
                    <a:pt x="6434" y="6180"/>
                  </a:lnTo>
                  <a:lnTo>
                    <a:pt x="6561" y="6180"/>
                  </a:lnTo>
                  <a:lnTo>
                    <a:pt x="6604" y="6223"/>
                  </a:lnTo>
                  <a:lnTo>
                    <a:pt x="6604" y="6138"/>
                  </a:lnTo>
                  <a:lnTo>
                    <a:pt x="6604" y="6096"/>
                  </a:lnTo>
                  <a:lnTo>
                    <a:pt x="6604" y="6053"/>
                  </a:lnTo>
                  <a:lnTo>
                    <a:pt x="6604" y="6011"/>
                  </a:lnTo>
                  <a:lnTo>
                    <a:pt x="6519" y="5969"/>
                  </a:lnTo>
                  <a:lnTo>
                    <a:pt x="6477" y="5969"/>
                  </a:lnTo>
                  <a:lnTo>
                    <a:pt x="6477" y="5926"/>
                  </a:lnTo>
                  <a:lnTo>
                    <a:pt x="6477" y="5884"/>
                  </a:lnTo>
                  <a:lnTo>
                    <a:pt x="6434" y="5799"/>
                  </a:lnTo>
                  <a:lnTo>
                    <a:pt x="6392" y="5757"/>
                  </a:lnTo>
                  <a:lnTo>
                    <a:pt x="6307" y="5757"/>
                  </a:lnTo>
                  <a:lnTo>
                    <a:pt x="6265" y="5757"/>
                  </a:lnTo>
                  <a:lnTo>
                    <a:pt x="6307" y="5715"/>
                  </a:lnTo>
                  <a:lnTo>
                    <a:pt x="6307" y="5672"/>
                  </a:lnTo>
                  <a:lnTo>
                    <a:pt x="6350" y="5672"/>
                  </a:lnTo>
                  <a:lnTo>
                    <a:pt x="6392" y="5715"/>
                  </a:lnTo>
                  <a:lnTo>
                    <a:pt x="6561" y="5630"/>
                  </a:lnTo>
                  <a:lnTo>
                    <a:pt x="6604" y="5672"/>
                  </a:lnTo>
                  <a:lnTo>
                    <a:pt x="6646" y="5672"/>
                  </a:lnTo>
                  <a:lnTo>
                    <a:pt x="6688" y="5715"/>
                  </a:lnTo>
                  <a:lnTo>
                    <a:pt x="6773" y="5757"/>
                  </a:lnTo>
                  <a:lnTo>
                    <a:pt x="6773" y="5799"/>
                  </a:lnTo>
                  <a:lnTo>
                    <a:pt x="6688" y="5799"/>
                  </a:lnTo>
                  <a:lnTo>
                    <a:pt x="6731" y="5842"/>
                  </a:lnTo>
                  <a:lnTo>
                    <a:pt x="6773" y="5884"/>
                  </a:lnTo>
                  <a:lnTo>
                    <a:pt x="6815" y="5926"/>
                  </a:lnTo>
                  <a:lnTo>
                    <a:pt x="6900" y="5969"/>
                  </a:lnTo>
                  <a:lnTo>
                    <a:pt x="6985" y="5969"/>
                  </a:lnTo>
                  <a:lnTo>
                    <a:pt x="6985" y="5926"/>
                  </a:lnTo>
                  <a:lnTo>
                    <a:pt x="7069" y="5926"/>
                  </a:lnTo>
                  <a:lnTo>
                    <a:pt x="7112" y="5969"/>
                  </a:lnTo>
                  <a:lnTo>
                    <a:pt x="7154" y="5969"/>
                  </a:lnTo>
                  <a:lnTo>
                    <a:pt x="7154" y="5926"/>
                  </a:lnTo>
                  <a:lnTo>
                    <a:pt x="7196" y="5926"/>
                  </a:lnTo>
                  <a:lnTo>
                    <a:pt x="7196" y="5884"/>
                  </a:lnTo>
                  <a:lnTo>
                    <a:pt x="7239" y="5926"/>
                  </a:lnTo>
                  <a:lnTo>
                    <a:pt x="7366" y="5969"/>
                  </a:lnTo>
                  <a:lnTo>
                    <a:pt x="7366" y="6011"/>
                  </a:lnTo>
                  <a:lnTo>
                    <a:pt x="7408" y="6096"/>
                  </a:lnTo>
                  <a:lnTo>
                    <a:pt x="7408" y="6138"/>
                  </a:lnTo>
                  <a:lnTo>
                    <a:pt x="7493" y="6096"/>
                  </a:lnTo>
                  <a:lnTo>
                    <a:pt x="7577" y="6096"/>
                  </a:lnTo>
                  <a:lnTo>
                    <a:pt x="7620" y="6096"/>
                  </a:lnTo>
                  <a:lnTo>
                    <a:pt x="7662" y="6138"/>
                  </a:lnTo>
                  <a:lnTo>
                    <a:pt x="7704" y="6138"/>
                  </a:lnTo>
                  <a:lnTo>
                    <a:pt x="7747" y="6180"/>
                  </a:lnTo>
                  <a:lnTo>
                    <a:pt x="7747" y="6223"/>
                  </a:lnTo>
                  <a:lnTo>
                    <a:pt x="7747" y="6265"/>
                  </a:lnTo>
                  <a:lnTo>
                    <a:pt x="7789" y="6265"/>
                  </a:lnTo>
                  <a:lnTo>
                    <a:pt x="7831" y="6265"/>
                  </a:lnTo>
                  <a:lnTo>
                    <a:pt x="7874" y="6265"/>
                  </a:lnTo>
                  <a:lnTo>
                    <a:pt x="7958" y="6307"/>
                  </a:lnTo>
                  <a:lnTo>
                    <a:pt x="8001" y="6307"/>
                  </a:lnTo>
                  <a:lnTo>
                    <a:pt x="7958" y="6223"/>
                  </a:lnTo>
                  <a:lnTo>
                    <a:pt x="8001" y="6265"/>
                  </a:lnTo>
                  <a:lnTo>
                    <a:pt x="7958" y="6180"/>
                  </a:lnTo>
                  <a:lnTo>
                    <a:pt x="7958" y="6138"/>
                  </a:lnTo>
                  <a:lnTo>
                    <a:pt x="8001" y="6096"/>
                  </a:lnTo>
                  <a:lnTo>
                    <a:pt x="7958" y="6096"/>
                  </a:lnTo>
                  <a:lnTo>
                    <a:pt x="7958" y="6053"/>
                  </a:lnTo>
                  <a:lnTo>
                    <a:pt x="7916" y="6053"/>
                  </a:lnTo>
                  <a:lnTo>
                    <a:pt x="7874" y="6011"/>
                  </a:lnTo>
                  <a:lnTo>
                    <a:pt x="7874" y="5969"/>
                  </a:lnTo>
                  <a:lnTo>
                    <a:pt x="7874" y="5884"/>
                  </a:lnTo>
                  <a:lnTo>
                    <a:pt x="7958" y="5926"/>
                  </a:lnTo>
                  <a:lnTo>
                    <a:pt x="8001" y="5926"/>
                  </a:lnTo>
                  <a:lnTo>
                    <a:pt x="8043" y="5969"/>
                  </a:lnTo>
                  <a:lnTo>
                    <a:pt x="8085" y="5969"/>
                  </a:lnTo>
                  <a:lnTo>
                    <a:pt x="8085" y="6011"/>
                  </a:lnTo>
                  <a:lnTo>
                    <a:pt x="8128" y="6011"/>
                  </a:lnTo>
                  <a:lnTo>
                    <a:pt x="8170" y="6011"/>
                  </a:lnTo>
                  <a:lnTo>
                    <a:pt x="8212" y="5969"/>
                  </a:lnTo>
                  <a:lnTo>
                    <a:pt x="8255" y="6053"/>
                  </a:lnTo>
                  <a:lnTo>
                    <a:pt x="8297" y="6053"/>
                  </a:lnTo>
                  <a:lnTo>
                    <a:pt x="8339" y="6096"/>
                  </a:lnTo>
                  <a:lnTo>
                    <a:pt x="8382" y="6053"/>
                  </a:lnTo>
                  <a:lnTo>
                    <a:pt x="8509" y="6011"/>
                  </a:lnTo>
                  <a:lnTo>
                    <a:pt x="8509" y="5969"/>
                  </a:lnTo>
                  <a:lnTo>
                    <a:pt x="8509" y="5926"/>
                  </a:lnTo>
                  <a:lnTo>
                    <a:pt x="8551" y="5926"/>
                  </a:lnTo>
                  <a:lnTo>
                    <a:pt x="8593" y="5884"/>
                  </a:lnTo>
                  <a:lnTo>
                    <a:pt x="8636" y="5884"/>
                  </a:lnTo>
                  <a:lnTo>
                    <a:pt x="8678" y="5884"/>
                  </a:lnTo>
                  <a:lnTo>
                    <a:pt x="8720" y="5842"/>
                  </a:lnTo>
                  <a:lnTo>
                    <a:pt x="8720" y="5799"/>
                  </a:lnTo>
                  <a:lnTo>
                    <a:pt x="8763" y="5799"/>
                  </a:lnTo>
                  <a:lnTo>
                    <a:pt x="8805" y="5757"/>
                  </a:lnTo>
                  <a:lnTo>
                    <a:pt x="8805" y="5799"/>
                  </a:lnTo>
                  <a:lnTo>
                    <a:pt x="8847" y="5799"/>
                  </a:lnTo>
                  <a:lnTo>
                    <a:pt x="8890" y="5757"/>
                  </a:lnTo>
                  <a:lnTo>
                    <a:pt x="8974" y="5715"/>
                  </a:lnTo>
                  <a:lnTo>
                    <a:pt x="9186" y="5630"/>
                  </a:lnTo>
                  <a:lnTo>
                    <a:pt x="9228" y="5630"/>
                  </a:lnTo>
                  <a:lnTo>
                    <a:pt x="9271" y="5630"/>
                  </a:lnTo>
                  <a:lnTo>
                    <a:pt x="9271" y="5588"/>
                  </a:lnTo>
                  <a:lnTo>
                    <a:pt x="9355" y="5545"/>
                  </a:lnTo>
                  <a:lnTo>
                    <a:pt x="9440" y="5503"/>
                  </a:lnTo>
                  <a:lnTo>
                    <a:pt x="9482" y="5503"/>
                  </a:lnTo>
                  <a:lnTo>
                    <a:pt x="9525" y="5461"/>
                  </a:lnTo>
                  <a:lnTo>
                    <a:pt x="9525" y="5503"/>
                  </a:lnTo>
                  <a:lnTo>
                    <a:pt x="9567" y="5503"/>
                  </a:lnTo>
                  <a:lnTo>
                    <a:pt x="9609" y="5503"/>
                  </a:lnTo>
                  <a:lnTo>
                    <a:pt x="9609" y="5545"/>
                  </a:lnTo>
                  <a:lnTo>
                    <a:pt x="9652" y="5588"/>
                  </a:lnTo>
                  <a:lnTo>
                    <a:pt x="9736" y="5672"/>
                  </a:lnTo>
                  <a:lnTo>
                    <a:pt x="9821" y="5630"/>
                  </a:lnTo>
                  <a:lnTo>
                    <a:pt x="9821" y="5588"/>
                  </a:lnTo>
                  <a:lnTo>
                    <a:pt x="9863" y="5588"/>
                  </a:lnTo>
                  <a:lnTo>
                    <a:pt x="9906" y="5545"/>
                  </a:lnTo>
                  <a:lnTo>
                    <a:pt x="9948" y="5545"/>
                  </a:lnTo>
                  <a:lnTo>
                    <a:pt x="9948" y="5503"/>
                  </a:lnTo>
                  <a:lnTo>
                    <a:pt x="9990" y="5461"/>
                  </a:lnTo>
                  <a:lnTo>
                    <a:pt x="10033" y="5461"/>
                  </a:lnTo>
                  <a:lnTo>
                    <a:pt x="10117" y="5334"/>
                  </a:lnTo>
                  <a:lnTo>
                    <a:pt x="10160" y="5291"/>
                  </a:lnTo>
                  <a:lnTo>
                    <a:pt x="10160" y="5249"/>
                  </a:lnTo>
                  <a:lnTo>
                    <a:pt x="10160" y="5207"/>
                  </a:lnTo>
                  <a:lnTo>
                    <a:pt x="10160" y="5080"/>
                  </a:lnTo>
                  <a:lnTo>
                    <a:pt x="10244" y="5037"/>
                  </a:lnTo>
                  <a:lnTo>
                    <a:pt x="10329" y="5037"/>
                  </a:lnTo>
                  <a:lnTo>
                    <a:pt x="10371" y="4953"/>
                  </a:lnTo>
                  <a:lnTo>
                    <a:pt x="10329" y="4910"/>
                  </a:lnTo>
                  <a:lnTo>
                    <a:pt x="10329" y="4826"/>
                  </a:lnTo>
                  <a:lnTo>
                    <a:pt x="10329" y="4783"/>
                  </a:lnTo>
                  <a:lnTo>
                    <a:pt x="10202" y="4741"/>
                  </a:lnTo>
                  <a:lnTo>
                    <a:pt x="10244" y="4741"/>
                  </a:lnTo>
                  <a:lnTo>
                    <a:pt x="9990" y="4572"/>
                  </a:lnTo>
                  <a:lnTo>
                    <a:pt x="9948" y="4529"/>
                  </a:lnTo>
                  <a:lnTo>
                    <a:pt x="9906" y="4445"/>
                  </a:lnTo>
                  <a:lnTo>
                    <a:pt x="9694" y="4360"/>
                  </a:lnTo>
                  <a:lnTo>
                    <a:pt x="9525" y="4360"/>
                  </a:lnTo>
                  <a:lnTo>
                    <a:pt x="9525" y="4318"/>
                  </a:lnTo>
                  <a:lnTo>
                    <a:pt x="9525" y="4233"/>
                  </a:lnTo>
                  <a:lnTo>
                    <a:pt x="9525" y="4191"/>
                  </a:lnTo>
                  <a:lnTo>
                    <a:pt x="9567" y="4148"/>
                  </a:lnTo>
                  <a:lnTo>
                    <a:pt x="9567" y="4106"/>
                  </a:lnTo>
                  <a:lnTo>
                    <a:pt x="9567" y="4064"/>
                  </a:lnTo>
                  <a:lnTo>
                    <a:pt x="9694" y="4064"/>
                  </a:lnTo>
                  <a:lnTo>
                    <a:pt x="9779" y="4021"/>
                  </a:lnTo>
                  <a:lnTo>
                    <a:pt x="9863" y="3979"/>
                  </a:lnTo>
                  <a:lnTo>
                    <a:pt x="9863" y="3937"/>
                  </a:lnTo>
                  <a:lnTo>
                    <a:pt x="9863" y="3894"/>
                  </a:lnTo>
                  <a:lnTo>
                    <a:pt x="9863" y="3852"/>
                  </a:lnTo>
                  <a:lnTo>
                    <a:pt x="9906" y="3852"/>
                  </a:lnTo>
                  <a:lnTo>
                    <a:pt x="9906" y="3810"/>
                  </a:lnTo>
                  <a:lnTo>
                    <a:pt x="9948" y="3640"/>
                  </a:lnTo>
                  <a:lnTo>
                    <a:pt x="9694" y="3640"/>
                  </a:lnTo>
                  <a:lnTo>
                    <a:pt x="9652" y="3640"/>
                  </a:lnTo>
                  <a:lnTo>
                    <a:pt x="9567" y="3598"/>
                  </a:lnTo>
                  <a:lnTo>
                    <a:pt x="9482" y="3556"/>
                  </a:lnTo>
                  <a:lnTo>
                    <a:pt x="9440" y="3556"/>
                  </a:lnTo>
                  <a:lnTo>
                    <a:pt x="9355" y="3556"/>
                  </a:lnTo>
                  <a:lnTo>
                    <a:pt x="9440" y="3429"/>
                  </a:lnTo>
                  <a:lnTo>
                    <a:pt x="9440" y="3302"/>
                  </a:lnTo>
                  <a:lnTo>
                    <a:pt x="9440" y="3259"/>
                  </a:lnTo>
                  <a:lnTo>
                    <a:pt x="9440" y="3217"/>
                  </a:lnTo>
                  <a:lnTo>
                    <a:pt x="9313" y="3132"/>
                  </a:lnTo>
                  <a:lnTo>
                    <a:pt x="9271" y="3132"/>
                  </a:lnTo>
                  <a:lnTo>
                    <a:pt x="9228" y="3217"/>
                  </a:lnTo>
                  <a:lnTo>
                    <a:pt x="9228" y="3175"/>
                  </a:lnTo>
                  <a:lnTo>
                    <a:pt x="9186" y="3132"/>
                  </a:lnTo>
                  <a:lnTo>
                    <a:pt x="9144" y="3175"/>
                  </a:lnTo>
                  <a:lnTo>
                    <a:pt x="9101" y="3217"/>
                  </a:lnTo>
                  <a:lnTo>
                    <a:pt x="9101" y="3259"/>
                  </a:lnTo>
                  <a:lnTo>
                    <a:pt x="9059" y="3217"/>
                  </a:lnTo>
                  <a:lnTo>
                    <a:pt x="9017" y="3175"/>
                  </a:lnTo>
                  <a:lnTo>
                    <a:pt x="9059" y="3132"/>
                  </a:lnTo>
                  <a:lnTo>
                    <a:pt x="8974" y="3090"/>
                  </a:lnTo>
                  <a:lnTo>
                    <a:pt x="8932" y="3090"/>
                  </a:lnTo>
                  <a:lnTo>
                    <a:pt x="8763" y="3132"/>
                  </a:lnTo>
                  <a:lnTo>
                    <a:pt x="8551" y="3090"/>
                  </a:lnTo>
                  <a:lnTo>
                    <a:pt x="8509" y="3090"/>
                  </a:lnTo>
                  <a:lnTo>
                    <a:pt x="8424" y="3132"/>
                  </a:lnTo>
                  <a:lnTo>
                    <a:pt x="8382" y="3090"/>
                  </a:lnTo>
                  <a:lnTo>
                    <a:pt x="8339" y="3090"/>
                  </a:lnTo>
                  <a:lnTo>
                    <a:pt x="8339" y="3048"/>
                  </a:lnTo>
                  <a:lnTo>
                    <a:pt x="8297" y="3005"/>
                  </a:lnTo>
                  <a:lnTo>
                    <a:pt x="8297" y="2921"/>
                  </a:lnTo>
                  <a:lnTo>
                    <a:pt x="8212" y="2921"/>
                  </a:lnTo>
                  <a:lnTo>
                    <a:pt x="8212" y="2878"/>
                  </a:lnTo>
                  <a:lnTo>
                    <a:pt x="8170" y="2878"/>
                  </a:lnTo>
                  <a:lnTo>
                    <a:pt x="8170" y="2794"/>
                  </a:lnTo>
                  <a:lnTo>
                    <a:pt x="8043" y="2709"/>
                  </a:lnTo>
                  <a:lnTo>
                    <a:pt x="8001" y="2624"/>
                  </a:lnTo>
                  <a:lnTo>
                    <a:pt x="8001" y="2582"/>
                  </a:lnTo>
                  <a:lnTo>
                    <a:pt x="8001" y="2540"/>
                  </a:lnTo>
                  <a:lnTo>
                    <a:pt x="7958" y="2540"/>
                  </a:lnTo>
                  <a:lnTo>
                    <a:pt x="7874" y="2540"/>
                  </a:lnTo>
                  <a:lnTo>
                    <a:pt x="7831" y="2540"/>
                  </a:lnTo>
                  <a:lnTo>
                    <a:pt x="7789" y="2540"/>
                  </a:lnTo>
                  <a:lnTo>
                    <a:pt x="7789" y="2497"/>
                  </a:lnTo>
                  <a:lnTo>
                    <a:pt x="7747" y="2540"/>
                  </a:lnTo>
                  <a:lnTo>
                    <a:pt x="7704" y="2540"/>
                  </a:lnTo>
                  <a:lnTo>
                    <a:pt x="7620" y="2540"/>
                  </a:lnTo>
                  <a:lnTo>
                    <a:pt x="7577" y="2582"/>
                  </a:lnTo>
                  <a:lnTo>
                    <a:pt x="7535" y="2582"/>
                  </a:lnTo>
                  <a:lnTo>
                    <a:pt x="7535" y="2667"/>
                  </a:lnTo>
                  <a:lnTo>
                    <a:pt x="7450" y="2667"/>
                  </a:lnTo>
                  <a:lnTo>
                    <a:pt x="7450" y="2709"/>
                  </a:lnTo>
                  <a:lnTo>
                    <a:pt x="7323" y="2709"/>
                  </a:lnTo>
                  <a:lnTo>
                    <a:pt x="7323" y="2667"/>
                  </a:lnTo>
                  <a:lnTo>
                    <a:pt x="7281" y="2667"/>
                  </a:lnTo>
                  <a:lnTo>
                    <a:pt x="7239" y="2667"/>
                  </a:lnTo>
                  <a:lnTo>
                    <a:pt x="7196" y="2667"/>
                  </a:lnTo>
                  <a:lnTo>
                    <a:pt x="7154" y="2709"/>
                  </a:lnTo>
                  <a:lnTo>
                    <a:pt x="7112" y="2667"/>
                  </a:lnTo>
                  <a:lnTo>
                    <a:pt x="7069" y="2667"/>
                  </a:lnTo>
                  <a:lnTo>
                    <a:pt x="6985" y="2667"/>
                  </a:lnTo>
                  <a:lnTo>
                    <a:pt x="6942" y="2667"/>
                  </a:lnTo>
                  <a:lnTo>
                    <a:pt x="6900" y="2667"/>
                  </a:lnTo>
                  <a:lnTo>
                    <a:pt x="6858" y="2667"/>
                  </a:lnTo>
                  <a:lnTo>
                    <a:pt x="6858" y="2709"/>
                  </a:lnTo>
                  <a:lnTo>
                    <a:pt x="6815" y="2667"/>
                  </a:lnTo>
                  <a:lnTo>
                    <a:pt x="6773" y="2667"/>
                  </a:lnTo>
                  <a:lnTo>
                    <a:pt x="6688" y="2667"/>
                  </a:lnTo>
                  <a:lnTo>
                    <a:pt x="6688" y="2624"/>
                  </a:lnTo>
                  <a:lnTo>
                    <a:pt x="6646" y="2624"/>
                  </a:lnTo>
                  <a:lnTo>
                    <a:pt x="6561" y="2667"/>
                  </a:lnTo>
                  <a:lnTo>
                    <a:pt x="6561" y="2709"/>
                  </a:lnTo>
                  <a:lnTo>
                    <a:pt x="6604" y="2751"/>
                  </a:lnTo>
                  <a:lnTo>
                    <a:pt x="6561" y="2794"/>
                  </a:lnTo>
                  <a:lnTo>
                    <a:pt x="6561" y="2751"/>
                  </a:lnTo>
                  <a:lnTo>
                    <a:pt x="6561" y="2709"/>
                  </a:lnTo>
                  <a:lnTo>
                    <a:pt x="6519" y="2709"/>
                  </a:lnTo>
                  <a:lnTo>
                    <a:pt x="6477" y="2709"/>
                  </a:lnTo>
                  <a:lnTo>
                    <a:pt x="6434" y="2624"/>
                  </a:lnTo>
                  <a:lnTo>
                    <a:pt x="6434" y="2582"/>
                  </a:lnTo>
                  <a:lnTo>
                    <a:pt x="6477" y="2540"/>
                  </a:lnTo>
                  <a:lnTo>
                    <a:pt x="6519" y="2540"/>
                  </a:lnTo>
                  <a:lnTo>
                    <a:pt x="6519" y="2497"/>
                  </a:lnTo>
                  <a:lnTo>
                    <a:pt x="6477" y="2497"/>
                  </a:lnTo>
                  <a:lnTo>
                    <a:pt x="6434" y="2497"/>
                  </a:lnTo>
                  <a:lnTo>
                    <a:pt x="6392" y="2497"/>
                  </a:lnTo>
                  <a:lnTo>
                    <a:pt x="6350" y="2455"/>
                  </a:lnTo>
                  <a:lnTo>
                    <a:pt x="6350" y="2413"/>
                  </a:lnTo>
                  <a:lnTo>
                    <a:pt x="6350" y="2370"/>
                  </a:lnTo>
                  <a:lnTo>
                    <a:pt x="6350" y="2328"/>
                  </a:lnTo>
                  <a:lnTo>
                    <a:pt x="6307" y="2286"/>
                  </a:lnTo>
                  <a:lnTo>
                    <a:pt x="6265" y="2243"/>
                  </a:lnTo>
                  <a:lnTo>
                    <a:pt x="6265" y="2116"/>
                  </a:lnTo>
                  <a:lnTo>
                    <a:pt x="6223" y="2116"/>
                  </a:lnTo>
                  <a:lnTo>
                    <a:pt x="6223" y="2074"/>
                  </a:lnTo>
                  <a:lnTo>
                    <a:pt x="6223" y="2032"/>
                  </a:lnTo>
                  <a:lnTo>
                    <a:pt x="6180" y="2032"/>
                  </a:lnTo>
                  <a:lnTo>
                    <a:pt x="6138" y="2032"/>
                  </a:lnTo>
                  <a:lnTo>
                    <a:pt x="6096" y="2032"/>
                  </a:lnTo>
                  <a:lnTo>
                    <a:pt x="6096" y="1905"/>
                  </a:lnTo>
                  <a:lnTo>
                    <a:pt x="6096" y="1862"/>
                  </a:lnTo>
                  <a:lnTo>
                    <a:pt x="6053" y="1862"/>
                  </a:lnTo>
                  <a:lnTo>
                    <a:pt x="6011" y="1862"/>
                  </a:lnTo>
                  <a:lnTo>
                    <a:pt x="6011" y="1820"/>
                  </a:lnTo>
                  <a:lnTo>
                    <a:pt x="6053" y="1820"/>
                  </a:lnTo>
                  <a:lnTo>
                    <a:pt x="6053" y="1735"/>
                  </a:lnTo>
                  <a:lnTo>
                    <a:pt x="6053" y="1651"/>
                  </a:lnTo>
                  <a:lnTo>
                    <a:pt x="6053" y="1566"/>
                  </a:lnTo>
                  <a:lnTo>
                    <a:pt x="6096" y="1566"/>
                  </a:lnTo>
                  <a:lnTo>
                    <a:pt x="6138" y="1524"/>
                  </a:lnTo>
                  <a:lnTo>
                    <a:pt x="6180" y="1524"/>
                  </a:lnTo>
                  <a:lnTo>
                    <a:pt x="6138" y="1481"/>
                  </a:lnTo>
                  <a:lnTo>
                    <a:pt x="6096" y="1481"/>
                  </a:lnTo>
                  <a:lnTo>
                    <a:pt x="6053" y="1439"/>
                  </a:lnTo>
                  <a:lnTo>
                    <a:pt x="6053" y="1397"/>
                  </a:lnTo>
                  <a:lnTo>
                    <a:pt x="6096" y="1397"/>
                  </a:lnTo>
                  <a:lnTo>
                    <a:pt x="6096" y="1354"/>
                  </a:lnTo>
                  <a:lnTo>
                    <a:pt x="6180" y="1354"/>
                  </a:lnTo>
                  <a:lnTo>
                    <a:pt x="6265" y="1312"/>
                  </a:lnTo>
                  <a:lnTo>
                    <a:pt x="6307" y="1312"/>
                  </a:lnTo>
                  <a:lnTo>
                    <a:pt x="6307" y="1270"/>
                  </a:lnTo>
                  <a:lnTo>
                    <a:pt x="6350" y="1270"/>
                  </a:lnTo>
                  <a:lnTo>
                    <a:pt x="6350" y="1185"/>
                  </a:lnTo>
                  <a:lnTo>
                    <a:pt x="6350" y="1143"/>
                  </a:lnTo>
                  <a:lnTo>
                    <a:pt x="6350" y="1100"/>
                  </a:lnTo>
                  <a:lnTo>
                    <a:pt x="6307" y="1100"/>
                  </a:lnTo>
                  <a:lnTo>
                    <a:pt x="6265" y="1058"/>
                  </a:lnTo>
                  <a:lnTo>
                    <a:pt x="6265" y="973"/>
                  </a:lnTo>
                  <a:lnTo>
                    <a:pt x="6265" y="931"/>
                  </a:lnTo>
                  <a:lnTo>
                    <a:pt x="6307" y="889"/>
                  </a:lnTo>
                  <a:lnTo>
                    <a:pt x="6307" y="804"/>
                  </a:lnTo>
                  <a:lnTo>
                    <a:pt x="6265" y="762"/>
                  </a:lnTo>
                  <a:lnTo>
                    <a:pt x="6223" y="719"/>
                  </a:lnTo>
                  <a:lnTo>
                    <a:pt x="6223" y="635"/>
                  </a:lnTo>
                  <a:lnTo>
                    <a:pt x="6180" y="508"/>
                  </a:lnTo>
                  <a:lnTo>
                    <a:pt x="6180" y="465"/>
                  </a:lnTo>
                  <a:lnTo>
                    <a:pt x="6138" y="423"/>
                  </a:lnTo>
                  <a:lnTo>
                    <a:pt x="6011" y="381"/>
                  </a:lnTo>
                  <a:lnTo>
                    <a:pt x="5969" y="338"/>
                  </a:lnTo>
                  <a:lnTo>
                    <a:pt x="5969" y="296"/>
                  </a:lnTo>
                  <a:lnTo>
                    <a:pt x="5969" y="254"/>
                  </a:lnTo>
                  <a:lnTo>
                    <a:pt x="5926" y="211"/>
                  </a:lnTo>
                  <a:lnTo>
                    <a:pt x="5884" y="169"/>
                  </a:lnTo>
                  <a:lnTo>
                    <a:pt x="5842" y="169"/>
                  </a:lnTo>
                  <a:lnTo>
                    <a:pt x="5799" y="127"/>
                  </a:lnTo>
                  <a:lnTo>
                    <a:pt x="5757" y="169"/>
                  </a:lnTo>
                  <a:lnTo>
                    <a:pt x="5715" y="169"/>
                  </a:lnTo>
                  <a:lnTo>
                    <a:pt x="5672" y="169"/>
                  </a:lnTo>
                  <a:lnTo>
                    <a:pt x="5630" y="211"/>
                  </a:lnTo>
                  <a:lnTo>
                    <a:pt x="5545" y="296"/>
                  </a:lnTo>
                  <a:lnTo>
                    <a:pt x="5461" y="381"/>
                  </a:lnTo>
                  <a:lnTo>
                    <a:pt x="5418" y="423"/>
                  </a:lnTo>
                  <a:lnTo>
                    <a:pt x="5376" y="381"/>
                  </a:lnTo>
                  <a:lnTo>
                    <a:pt x="5376" y="338"/>
                  </a:lnTo>
                  <a:lnTo>
                    <a:pt x="5334" y="381"/>
                  </a:lnTo>
                  <a:lnTo>
                    <a:pt x="5291" y="423"/>
                  </a:lnTo>
                  <a:lnTo>
                    <a:pt x="5207" y="465"/>
                  </a:lnTo>
                  <a:lnTo>
                    <a:pt x="5207" y="381"/>
                  </a:lnTo>
                  <a:lnTo>
                    <a:pt x="5122" y="254"/>
                  </a:lnTo>
                  <a:lnTo>
                    <a:pt x="5080" y="169"/>
                  </a:lnTo>
                  <a:lnTo>
                    <a:pt x="4995" y="42"/>
                  </a:lnTo>
                  <a:lnTo>
                    <a:pt x="4953" y="0"/>
                  </a:lnTo>
                  <a:close/>
                  <a:moveTo>
                    <a:pt x="3556" y="1524"/>
                  </a:moveTo>
                  <a:lnTo>
                    <a:pt x="3471" y="1481"/>
                  </a:lnTo>
                  <a:lnTo>
                    <a:pt x="3513" y="1524"/>
                  </a:lnTo>
                  <a:lnTo>
                    <a:pt x="3556" y="1524"/>
                  </a:lnTo>
                  <a:close/>
                </a:path>
              </a:pathLst>
            </a:custGeom>
            <a:grpFill/>
            <a:ln w="12700" cap="flat" cmpd="sng">
              <a:solidFill>
                <a:schemeClr val="tx1"/>
              </a:solidFill>
              <a:prstDash val="solid"/>
              <a:bevel/>
              <a:headEnd/>
              <a:tailEnd/>
            </a:ln>
          </p:spPr>
          <p:txBody>
            <a:bodyPr/>
            <a:lstStyle/>
            <a:p>
              <a:endParaRPr lang="nl-NL"/>
            </a:p>
          </p:txBody>
        </p:sp>
        <p:sp>
          <p:nvSpPr>
            <p:cNvPr id="122" name="Freeform 536">
              <a:extLst>
                <a:ext uri="{FF2B5EF4-FFF2-40B4-BE49-F238E27FC236}">
                  <a16:creationId xmlns:a16="http://schemas.microsoft.com/office/drawing/2014/main" id="{0AD6C03B-18CA-BF0A-2436-73D72479D1C7}"/>
                </a:ext>
              </a:extLst>
            </p:cNvPr>
            <p:cNvSpPr>
              <a:spLocks/>
            </p:cNvSpPr>
            <p:nvPr/>
          </p:nvSpPr>
          <p:spPr bwMode="auto">
            <a:xfrm>
              <a:off x="3464305" y="6443514"/>
              <a:ext cx="1449142" cy="1019668"/>
            </a:xfrm>
            <a:custGeom>
              <a:avLst/>
              <a:gdLst/>
              <a:ahLst/>
              <a:cxnLst>
                <a:cxn ang="0">
                  <a:pos x="1100" y="84"/>
                </a:cxn>
                <a:cxn ang="0">
                  <a:pos x="889" y="211"/>
                </a:cxn>
                <a:cxn ang="0">
                  <a:pos x="719" y="381"/>
                </a:cxn>
                <a:cxn ang="0">
                  <a:pos x="550" y="423"/>
                </a:cxn>
                <a:cxn ang="0">
                  <a:pos x="296" y="592"/>
                </a:cxn>
                <a:cxn ang="0">
                  <a:pos x="84" y="677"/>
                </a:cxn>
                <a:cxn ang="0">
                  <a:pos x="127" y="889"/>
                </a:cxn>
                <a:cxn ang="0">
                  <a:pos x="296" y="1100"/>
                </a:cxn>
                <a:cxn ang="0">
                  <a:pos x="423" y="1481"/>
                </a:cxn>
                <a:cxn ang="0">
                  <a:pos x="127" y="1481"/>
                </a:cxn>
                <a:cxn ang="0">
                  <a:pos x="0" y="1608"/>
                </a:cxn>
                <a:cxn ang="0">
                  <a:pos x="211" y="2032"/>
                </a:cxn>
                <a:cxn ang="0">
                  <a:pos x="423" y="2159"/>
                </a:cxn>
                <a:cxn ang="0">
                  <a:pos x="84" y="2455"/>
                </a:cxn>
                <a:cxn ang="0">
                  <a:pos x="211" y="2582"/>
                </a:cxn>
                <a:cxn ang="0">
                  <a:pos x="169" y="2751"/>
                </a:cxn>
                <a:cxn ang="0">
                  <a:pos x="423" y="3090"/>
                </a:cxn>
                <a:cxn ang="0">
                  <a:pos x="592" y="3302"/>
                </a:cxn>
                <a:cxn ang="0">
                  <a:pos x="804" y="3132"/>
                </a:cxn>
                <a:cxn ang="0">
                  <a:pos x="1058" y="3090"/>
                </a:cxn>
                <a:cxn ang="0">
                  <a:pos x="1312" y="3048"/>
                </a:cxn>
                <a:cxn ang="0">
                  <a:pos x="1566" y="2794"/>
                </a:cxn>
                <a:cxn ang="0">
                  <a:pos x="1862" y="2751"/>
                </a:cxn>
                <a:cxn ang="0">
                  <a:pos x="2032" y="3005"/>
                </a:cxn>
                <a:cxn ang="0">
                  <a:pos x="2370" y="3132"/>
                </a:cxn>
                <a:cxn ang="0">
                  <a:pos x="2624" y="3005"/>
                </a:cxn>
                <a:cxn ang="0">
                  <a:pos x="3005" y="3175"/>
                </a:cxn>
                <a:cxn ang="0">
                  <a:pos x="3217" y="3005"/>
                </a:cxn>
                <a:cxn ang="0">
                  <a:pos x="3556" y="2963"/>
                </a:cxn>
                <a:cxn ang="0">
                  <a:pos x="3894" y="2921"/>
                </a:cxn>
                <a:cxn ang="0">
                  <a:pos x="4191" y="3048"/>
                </a:cxn>
                <a:cxn ang="0">
                  <a:pos x="4656" y="3217"/>
                </a:cxn>
                <a:cxn ang="0">
                  <a:pos x="4656" y="2963"/>
                </a:cxn>
                <a:cxn ang="0">
                  <a:pos x="4487" y="2709"/>
                </a:cxn>
                <a:cxn ang="0">
                  <a:pos x="4402" y="2370"/>
                </a:cxn>
                <a:cxn ang="0">
                  <a:pos x="4318" y="1989"/>
                </a:cxn>
                <a:cxn ang="0">
                  <a:pos x="4106" y="1820"/>
                </a:cxn>
                <a:cxn ang="0">
                  <a:pos x="3979" y="1693"/>
                </a:cxn>
                <a:cxn ang="0">
                  <a:pos x="4064" y="1566"/>
                </a:cxn>
                <a:cxn ang="0">
                  <a:pos x="3894" y="1397"/>
                </a:cxn>
                <a:cxn ang="0">
                  <a:pos x="3683" y="1227"/>
                </a:cxn>
                <a:cxn ang="0">
                  <a:pos x="3640" y="889"/>
                </a:cxn>
                <a:cxn ang="0">
                  <a:pos x="3386" y="465"/>
                </a:cxn>
                <a:cxn ang="0">
                  <a:pos x="3175" y="296"/>
                </a:cxn>
                <a:cxn ang="0">
                  <a:pos x="2751" y="211"/>
                </a:cxn>
                <a:cxn ang="0">
                  <a:pos x="2455" y="719"/>
                </a:cxn>
                <a:cxn ang="0">
                  <a:pos x="2201" y="1143"/>
                </a:cxn>
                <a:cxn ang="0">
                  <a:pos x="1439" y="1227"/>
                </a:cxn>
                <a:cxn ang="0">
                  <a:pos x="1312" y="889"/>
                </a:cxn>
                <a:cxn ang="0">
                  <a:pos x="1439" y="635"/>
                </a:cxn>
                <a:cxn ang="0">
                  <a:pos x="1397" y="465"/>
                </a:cxn>
                <a:cxn ang="0">
                  <a:pos x="1397" y="211"/>
                </a:cxn>
                <a:cxn ang="0">
                  <a:pos x="1524" y="127"/>
                </a:cxn>
                <a:cxn ang="0">
                  <a:pos x="1312" y="0"/>
                </a:cxn>
              </a:cxnLst>
              <a:rect l="0" t="0" r="r" b="b"/>
              <a:pathLst>
                <a:path w="4699" h="3302">
                  <a:moveTo>
                    <a:pt x="1227" y="0"/>
                  </a:moveTo>
                  <a:lnTo>
                    <a:pt x="1227" y="42"/>
                  </a:lnTo>
                  <a:lnTo>
                    <a:pt x="1185" y="42"/>
                  </a:lnTo>
                  <a:lnTo>
                    <a:pt x="1185" y="84"/>
                  </a:lnTo>
                  <a:lnTo>
                    <a:pt x="1185" y="127"/>
                  </a:lnTo>
                  <a:lnTo>
                    <a:pt x="1100" y="84"/>
                  </a:lnTo>
                  <a:lnTo>
                    <a:pt x="1100" y="127"/>
                  </a:lnTo>
                  <a:lnTo>
                    <a:pt x="1016" y="169"/>
                  </a:lnTo>
                  <a:lnTo>
                    <a:pt x="1016" y="211"/>
                  </a:lnTo>
                  <a:lnTo>
                    <a:pt x="973" y="211"/>
                  </a:lnTo>
                  <a:lnTo>
                    <a:pt x="931" y="211"/>
                  </a:lnTo>
                  <a:lnTo>
                    <a:pt x="889" y="211"/>
                  </a:lnTo>
                  <a:lnTo>
                    <a:pt x="804" y="169"/>
                  </a:lnTo>
                  <a:lnTo>
                    <a:pt x="762" y="211"/>
                  </a:lnTo>
                  <a:lnTo>
                    <a:pt x="762" y="254"/>
                  </a:lnTo>
                  <a:lnTo>
                    <a:pt x="804" y="296"/>
                  </a:lnTo>
                  <a:lnTo>
                    <a:pt x="762" y="338"/>
                  </a:lnTo>
                  <a:lnTo>
                    <a:pt x="719" y="381"/>
                  </a:lnTo>
                  <a:lnTo>
                    <a:pt x="719" y="423"/>
                  </a:lnTo>
                  <a:lnTo>
                    <a:pt x="677" y="423"/>
                  </a:lnTo>
                  <a:lnTo>
                    <a:pt x="635" y="423"/>
                  </a:lnTo>
                  <a:lnTo>
                    <a:pt x="635" y="465"/>
                  </a:lnTo>
                  <a:lnTo>
                    <a:pt x="592" y="423"/>
                  </a:lnTo>
                  <a:lnTo>
                    <a:pt x="550" y="423"/>
                  </a:lnTo>
                  <a:lnTo>
                    <a:pt x="508" y="423"/>
                  </a:lnTo>
                  <a:lnTo>
                    <a:pt x="465" y="465"/>
                  </a:lnTo>
                  <a:lnTo>
                    <a:pt x="381" y="508"/>
                  </a:lnTo>
                  <a:lnTo>
                    <a:pt x="381" y="550"/>
                  </a:lnTo>
                  <a:lnTo>
                    <a:pt x="338" y="550"/>
                  </a:lnTo>
                  <a:lnTo>
                    <a:pt x="296" y="592"/>
                  </a:lnTo>
                  <a:lnTo>
                    <a:pt x="254" y="592"/>
                  </a:lnTo>
                  <a:lnTo>
                    <a:pt x="254" y="635"/>
                  </a:lnTo>
                  <a:lnTo>
                    <a:pt x="211" y="635"/>
                  </a:lnTo>
                  <a:lnTo>
                    <a:pt x="169" y="677"/>
                  </a:lnTo>
                  <a:lnTo>
                    <a:pt x="127" y="677"/>
                  </a:lnTo>
                  <a:lnTo>
                    <a:pt x="84" y="677"/>
                  </a:lnTo>
                  <a:lnTo>
                    <a:pt x="42" y="677"/>
                  </a:lnTo>
                  <a:lnTo>
                    <a:pt x="42" y="719"/>
                  </a:lnTo>
                  <a:lnTo>
                    <a:pt x="84" y="762"/>
                  </a:lnTo>
                  <a:lnTo>
                    <a:pt x="84" y="846"/>
                  </a:lnTo>
                  <a:lnTo>
                    <a:pt x="84" y="889"/>
                  </a:lnTo>
                  <a:lnTo>
                    <a:pt x="127" y="889"/>
                  </a:lnTo>
                  <a:lnTo>
                    <a:pt x="127" y="931"/>
                  </a:lnTo>
                  <a:lnTo>
                    <a:pt x="169" y="973"/>
                  </a:lnTo>
                  <a:lnTo>
                    <a:pt x="211" y="973"/>
                  </a:lnTo>
                  <a:lnTo>
                    <a:pt x="211" y="1016"/>
                  </a:lnTo>
                  <a:lnTo>
                    <a:pt x="254" y="1058"/>
                  </a:lnTo>
                  <a:lnTo>
                    <a:pt x="296" y="1100"/>
                  </a:lnTo>
                  <a:lnTo>
                    <a:pt x="381" y="1100"/>
                  </a:lnTo>
                  <a:lnTo>
                    <a:pt x="423" y="1143"/>
                  </a:lnTo>
                  <a:lnTo>
                    <a:pt x="592" y="1270"/>
                  </a:lnTo>
                  <a:lnTo>
                    <a:pt x="465" y="1312"/>
                  </a:lnTo>
                  <a:lnTo>
                    <a:pt x="465" y="1481"/>
                  </a:lnTo>
                  <a:lnTo>
                    <a:pt x="423" y="1481"/>
                  </a:lnTo>
                  <a:lnTo>
                    <a:pt x="381" y="1481"/>
                  </a:lnTo>
                  <a:lnTo>
                    <a:pt x="296" y="1481"/>
                  </a:lnTo>
                  <a:lnTo>
                    <a:pt x="254" y="1481"/>
                  </a:lnTo>
                  <a:lnTo>
                    <a:pt x="254" y="1439"/>
                  </a:lnTo>
                  <a:lnTo>
                    <a:pt x="169" y="1439"/>
                  </a:lnTo>
                  <a:lnTo>
                    <a:pt x="127" y="1481"/>
                  </a:lnTo>
                  <a:lnTo>
                    <a:pt x="84" y="1524"/>
                  </a:lnTo>
                  <a:lnTo>
                    <a:pt x="127" y="1524"/>
                  </a:lnTo>
                  <a:lnTo>
                    <a:pt x="84" y="1566"/>
                  </a:lnTo>
                  <a:lnTo>
                    <a:pt x="84" y="1608"/>
                  </a:lnTo>
                  <a:lnTo>
                    <a:pt x="42" y="1608"/>
                  </a:lnTo>
                  <a:lnTo>
                    <a:pt x="0" y="1608"/>
                  </a:lnTo>
                  <a:lnTo>
                    <a:pt x="0" y="1651"/>
                  </a:lnTo>
                  <a:lnTo>
                    <a:pt x="169" y="1735"/>
                  </a:lnTo>
                  <a:lnTo>
                    <a:pt x="211" y="1778"/>
                  </a:lnTo>
                  <a:lnTo>
                    <a:pt x="169" y="1778"/>
                  </a:lnTo>
                  <a:lnTo>
                    <a:pt x="169" y="1905"/>
                  </a:lnTo>
                  <a:lnTo>
                    <a:pt x="211" y="2032"/>
                  </a:lnTo>
                  <a:lnTo>
                    <a:pt x="211" y="2074"/>
                  </a:lnTo>
                  <a:lnTo>
                    <a:pt x="254" y="2074"/>
                  </a:lnTo>
                  <a:lnTo>
                    <a:pt x="211" y="2116"/>
                  </a:lnTo>
                  <a:lnTo>
                    <a:pt x="296" y="2116"/>
                  </a:lnTo>
                  <a:lnTo>
                    <a:pt x="465" y="2116"/>
                  </a:lnTo>
                  <a:lnTo>
                    <a:pt x="423" y="2159"/>
                  </a:lnTo>
                  <a:lnTo>
                    <a:pt x="381" y="2201"/>
                  </a:lnTo>
                  <a:lnTo>
                    <a:pt x="338" y="2201"/>
                  </a:lnTo>
                  <a:lnTo>
                    <a:pt x="211" y="2286"/>
                  </a:lnTo>
                  <a:lnTo>
                    <a:pt x="169" y="2413"/>
                  </a:lnTo>
                  <a:lnTo>
                    <a:pt x="127" y="2455"/>
                  </a:lnTo>
                  <a:lnTo>
                    <a:pt x="84" y="2455"/>
                  </a:lnTo>
                  <a:lnTo>
                    <a:pt x="84" y="2497"/>
                  </a:lnTo>
                  <a:lnTo>
                    <a:pt x="42" y="2540"/>
                  </a:lnTo>
                  <a:lnTo>
                    <a:pt x="84" y="2624"/>
                  </a:lnTo>
                  <a:lnTo>
                    <a:pt x="127" y="2624"/>
                  </a:lnTo>
                  <a:lnTo>
                    <a:pt x="169" y="2582"/>
                  </a:lnTo>
                  <a:lnTo>
                    <a:pt x="211" y="2582"/>
                  </a:lnTo>
                  <a:lnTo>
                    <a:pt x="254" y="2582"/>
                  </a:lnTo>
                  <a:lnTo>
                    <a:pt x="296" y="2582"/>
                  </a:lnTo>
                  <a:lnTo>
                    <a:pt x="338" y="2582"/>
                  </a:lnTo>
                  <a:lnTo>
                    <a:pt x="381" y="2709"/>
                  </a:lnTo>
                  <a:lnTo>
                    <a:pt x="338" y="2709"/>
                  </a:lnTo>
                  <a:lnTo>
                    <a:pt x="169" y="2751"/>
                  </a:lnTo>
                  <a:lnTo>
                    <a:pt x="211" y="2794"/>
                  </a:lnTo>
                  <a:lnTo>
                    <a:pt x="254" y="2878"/>
                  </a:lnTo>
                  <a:lnTo>
                    <a:pt x="296" y="2963"/>
                  </a:lnTo>
                  <a:lnTo>
                    <a:pt x="338" y="3005"/>
                  </a:lnTo>
                  <a:lnTo>
                    <a:pt x="381" y="3048"/>
                  </a:lnTo>
                  <a:lnTo>
                    <a:pt x="423" y="3090"/>
                  </a:lnTo>
                  <a:lnTo>
                    <a:pt x="423" y="3132"/>
                  </a:lnTo>
                  <a:lnTo>
                    <a:pt x="465" y="3175"/>
                  </a:lnTo>
                  <a:lnTo>
                    <a:pt x="465" y="3259"/>
                  </a:lnTo>
                  <a:lnTo>
                    <a:pt x="465" y="3302"/>
                  </a:lnTo>
                  <a:lnTo>
                    <a:pt x="508" y="3302"/>
                  </a:lnTo>
                  <a:lnTo>
                    <a:pt x="592" y="3302"/>
                  </a:lnTo>
                  <a:lnTo>
                    <a:pt x="635" y="3302"/>
                  </a:lnTo>
                  <a:lnTo>
                    <a:pt x="677" y="3259"/>
                  </a:lnTo>
                  <a:lnTo>
                    <a:pt x="719" y="3259"/>
                  </a:lnTo>
                  <a:lnTo>
                    <a:pt x="719" y="3217"/>
                  </a:lnTo>
                  <a:lnTo>
                    <a:pt x="762" y="3217"/>
                  </a:lnTo>
                  <a:lnTo>
                    <a:pt x="804" y="3132"/>
                  </a:lnTo>
                  <a:lnTo>
                    <a:pt x="846" y="3090"/>
                  </a:lnTo>
                  <a:lnTo>
                    <a:pt x="889" y="3090"/>
                  </a:lnTo>
                  <a:lnTo>
                    <a:pt x="931" y="3090"/>
                  </a:lnTo>
                  <a:lnTo>
                    <a:pt x="973" y="3132"/>
                  </a:lnTo>
                  <a:lnTo>
                    <a:pt x="1016" y="3132"/>
                  </a:lnTo>
                  <a:lnTo>
                    <a:pt x="1058" y="3090"/>
                  </a:lnTo>
                  <a:lnTo>
                    <a:pt x="1058" y="3048"/>
                  </a:lnTo>
                  <a:lnTo>
                    <a:pt x="1100" y="3005"/>
                  </a:lnTo>
                  <a:lnTo>
                    <a:pt x="1143" y="2963"/>
                  </a:lnTo>
                  <a:lnTo>
                    <a:pt x="1185" y="2963"/>
                  </a:lnTo>
                  <a:lnTo>
                    <a:pt x="1227" y="2963"/>
                  </a:lnTo>
                  <a:lnTo>
                    <a:pt x="1312" y="3048"/>
                  </a:lnTo>
                  <a:lnTo>
                    <a:pt x="1354" y="3048"/>
                  </a:lnTo>
                  <a:lnTo>
                    <a:pt x="1397" y="3005"/>
                  </a:lnTo>
                  <a:lnTo>
                    <a:pt x="1397" y="2963"/>
                  </a:lnTo>
                  <a:lnTo>
                    <a:pt x="1439" y="2921"/>
                  </a:lnTo>
                  <a:lnTo>
                    <a:pt x="1524" y="2836"/>
                  </a:lnTo>
                  <a:lnTo>
                    <a:pt x="1566" y="2794"/>
                  </a:lnTo>
                  <a:lnTo>
                    <a:pt x="1608" y="2794"/>
                  </a:lnTo>
                  <a:lnTo>
                    <a:pt x="1693" y="2751"/>
                  </a:lnTo>
                  <a:lnTo>
                    <a:pt x="1735" y="2751"/>
                  </a:lnTo>
                  <a:lnTo>
                    <a:pt x="1778" y="2709"/>
                  </a:lnTo>
                  <a:lnTo>
                    <a:pt x="1820" y="2751"/>
                  </a:lnTo>
                  <a:lnTo>
                    <a:pt x="1862" y="2751"/>
                  </a:lnTo>
                  <a:lnTo>
                    <a:pt x="1947" y="2794"/>
                  </a:lnTo>
                  <a:lnTo>
                    <a:pt x="1989" y="2836"/>
                  </a:lnTo>
                  <a:lnTo>
                    <a:pt x="1989" y="2878"/>
                  </a:lnTo>
                  <a:lnTo>
                    <a:pt x="1989" y="2921"/>
                  </a:lnTo>
                  <a:lnTo>
                    <a:pt x="2032" y="2963"/>
                  </a:lnTo>
                  <a:lnTo>
                    <a:pt x="2032" y="3005"/>
                  </a:lnTo>
                  <a:lnTo>
                    <a:pt x="2159" y="3048"/>
                  </a:lnTo>
                  <a:lnTo>
                    <a:pt x="2201" y="3048"/>
                  </a:lnTo>
                  <a:lnTo>
                    <a:pt x="2243" y="3090"/>
                  </a:lnTo>
                  <a:lnTo>
                    <a:pt x="2286" y="3132"/>
                  </a:lnTo>
                  <a:lnTo>
                    <a:pt x="2328" y="3132"/>
                  </a:lnTo>
                  <a:lnTo>
                    <a:pt x="2370" y="3132"/>
                  </a:lnTo>
                  <a:lnTo>
                    <a:pt x="2413" y="3090"/>
                  </a:lnTo>
                  <a:lnTo>
                    <a:pt x="2455" y="3048"/>
                  </a:lnTo>
                  <a:lnTo>
                    <a:pt x="2455" y="2963"/>
                  </a:lnTo>
                  <a:lnTo>
                    <a:pt x="2497" y="2963"/>
                  </a:lnTo>
                  <a:lnTo>
                    <a:pt x="2540" y="2963"/>
                  </a:lnTo>
                  <a:lnTo>
                    <a:pt x="2624" y="3005"/>
                  </a:lnTo>
                  <a:lnTo>
                    <a:pt x="2709" y="3090"/>
                  </a:lnTo>
                  <a:lnTo>
                    <a:pt x="2751" y="3090"/>
                  </a:lnTo>
                  <a:lnTo>
                    <a:pt x="2878" y="3090"/>
                  </a:lnTo>
                  <a:lnTo>
                    <a:pt x="2921" y="3132"/>
                  </a:lnTo>
                  <a:lnTo>
                    <a:pt x="2963" y="3175"/>
                  </a:lnTo>
                  <a:lnTo>
                    <a:pt x="3005" y="3175"/>
                  </a:lnTo>
                  <a:lnTo>
                    <a:pt x="3048" y="3132"/>
                  </a:lnTo>
                  <a:lnTo>
                    <a:pt x="3090" y="3132"/>
                  </a:lnTo>
                  <a:lnTo>
                    <a:pt x="3090" y="3090"/>
                  </a:lnTo>
                  <a:lnTo>
                    <a:pt x="3132" y="3048"/>
                  </a:lnTo>
                  <a:lnTo>
                    <a:pt x="3175" y="3048"/>
                  </a:lnTo>
                  <a:lnTo>
                    <a:pt x="3217" y="3005"/>
                  </a:lnTo>
                  <a:lnTo>
                    <a:pt x="3302" y="3048"/>
                  </a:lnTo>
                  <a:lnTo>
                    <a:pt x="3344" y="3048"/>
                  </a:lnTo>
                  <a:lnTo>
                    <a:pt x="3386" y="3005"/>
                  </a:lnTo>
                  <a:lnTo>
                    <a:pt x="3429" y="3005"/>
                  </a:lnTo>
                  <a:lnTo>
                    <a:pt x="3513" y="2963"/>
                  </a:lnTo>
                  <a:lnTo>
                    <a:pt x="3556" y="2963"/>
                  </a:lnTo>
                  <a:lnTo>
                    <a:pt x="3598" y="2921"/>
                  </a:lnTo>
                  <a:lnTo>
                    <a:pt x="3640" y="2878"/>
                  </a:lnTo>
                  <a:lnTo>
                    <a:pt x="3683" y="2878"/>
                  </a:lnTo>
                  <a:lnTo>
                    <a:pt x="3725" y="2921"/>
                  </a:lnTo>
                  <a:lnTo>
                    <a:pt x="3852" y="2921"/>
                  </a:lnTo>
                  <a:lnTo>
                    <a:pt x="3894" y="2921"/>
                  </a:lnTo>
                  <a:lnTo>
                    <a:pt x="3937" y="2921"/>
                  </a:lnTo>
                  <a:lnTo>
                    <a:pt x="3979" y="2963"/>
                  </a:lnTo>
                  <a:lnTo>
                    <a:pt x="4064" y="3005"/>
                  </a:lnTo>
                  <a:lnTo>
                    <a:pt x="4106" y="3005"/>
                  </a:lnTo>
                  <a:lnTo>
                    <a:pt x="4148" y="3048"/>
                  </a:lnTo>
                  <a:lnTo>
                    <a:pt x="4191" y="3048"/>
                  </a:lnTo>
                  <a:lnTo>
                    <a:pt x="4233" y="3048"/>
                  </a:lnTo>
                  <a:lnTo>
                    <a:pt x="4275" y="3132"/>
                  </a:lnTo>
                  <a:lnTo>
                    <a:pt x="4360" y="3175"/>
                  </a:lnTo>
                  <a:lnTo>
                    <a:pt x="4487" y="3217"/>
                  </a:lnTo>
                  <a:lnTo>
                    <a:pt x="4572" y="3259"/>
                  </a:lnTo>
                  <a:lnTo>
                    <a:pt x="4656" y="3217"/>
                  </a:lnTo>
                  <a:lnTo>
                    <a:pt x="4699" y="3175"/>
                  </a:lnTo>
                  <a:lnTo>
                    <a:pt x="4699" y="3132"/>
                  </a:lnTo>
                  <a:lnTo>
                    <a:pt x="4699" y="3090"/>
                  </a:lnTo>
                  <a:lnTo>
                    <a:pt x="4656" y="3048"/>
                  </a:lnTo>
                  <a:lnTo>
                    <a:pt x="4699" y="3005"/>
                  </a:lnTo>
                  <a:lnTo>
                    <a:pt x="4656" y="2963"/>
                  </a:lnTo>
                  <a:lnTo>
                    <a:pt x="4656" y="2921"/>
                  </a:lnTo>
                  <a:lnTo>
                    <a:pt x="4614" y="2836"/>
                  </a:lnTo>
                  <a:lnTo>
                    <a:pt x="4614" y="2794"/>
                  </a:lnTo>
                  <a:lnTo>
                    <a:pt x="4572" y="2794"/>
                  </a:lnTo>
                  <a:lnTo>
                    <a:pt x="4529" y="2751"/>
                  </a:lnTo>
                  <a:lnTo>
                    <a:pt x="4487" y="2709"/>
                  </a:lnTo>
                  <a:lnTo>
                    <a:pt x="4487" y="2667"/>
                  </a:lnTo>
                  <a:lnTo>
                    <a:pt x="4487" y="2624"/>
                  </a:lnTo>
                  <a:lnTo>
                    <a:pt x="4487" y="2582"/>
                  </a:lnTo>
                  <a:lnTo>
                    <a:pt x="4487" y="2455"/>
                  </a:lnTo>
                  <a:lnTo>
                    <a:pt x="4360" y="2370"/>
                  </a:lnTo>
                  <a:lnTo>
                    <a:pt x="4402" y="2370"/>
                  </a:lnTo>
                  <a:lnTo>
                    <a:pt x="4402" y="2328"/>
                  </a:lnTo>
                  <a:lnTo>
                    <a:pt x="4318" y="2328"/>
                  </a:lnTo>
                  <a:lnTo>
                    <a:pt x="4318" y="2116"/>
                  </a:lnTo>
                  <a:lnTo>
                    <a:pt x="4318" y="2074"/>
                  </a:lnTo>
                  <a:lnTo>
                    <a:pt x="4360" y="2032"/>
                  </a:lnTo>
                  <a:lnTo>
                    <a:pt x="4318" y="1989"/>
                  </a:lnTo>
                  <a:lnTo>
                    <a:pt x="4318" y="1947"/>
                  </a:lnTo>
                  <a:lnTo>
                    <a:pt x="4318" y="1905"/>
                  </a:lnTo>
                  <a:lnTo>
                    <a:pt x="4318" y="1862"/>
                  </a:lnTo>
                  <a:lnTo>
                    <a:pt x="4275" y="1778"/>
                  </a:lnTo>
                  <a:lnTo>
                    <a:pt x="4148" y="1820"/>
                  </a:lnTo>
                  <a:lnTo>
                    <a:pt x="4106" y="1820"/>
                  </a:lnTo>
                  <a:lnTo>
                    <a:pt x="4064" y="1820"/>
                  </a:lnTo>
                  <a:lnTo>
                    <a:pt x="4064" y="1778"/>
                  </a:lnTo>
                  <a:lnTo>
                    <a:pt x="3979" y="1735"/>
                  </a:lnTo>
                  <a:lnTo>
                    <a:pt x="3937" y="1735"/>
                  </a:lnTo>
                  <a:lnTo>
                    <a:pt x="3937" y="1693"/>
                  </a:lnTo>
                  <a:lnTo>
                    <a:pt x="3979" y="1693"/>
                  </a:lnTo>
                  <a:lnTo>
                    <a:pt x="4021" y="1693"/>
                  </a:lnTo>
                  <a:lnTo>
                    <a:pt x="4021" y="1651"/>
                  </a:lnTo>
                  <a:lnTo>
                    <a:pt x="3979" y="1651"/>
                  </a:lnTo>
                  <a:lnTo>
                    <a:pt x="3979" y="1608"/>
                  </a:lnTo>
                  <a:lnTo>
                    <a:pt x="3979" y="1566"/>
                  </a:lnTo>
                  <a:lnTo>
                    <a:pt x="4064" y="1566"/>
                  </a:lnTo>
                  <a:lnTo>
                    <a:pt x="4064" y="1524"/>
                  </a:lnTo>
                  <a:lnTo>
                    <a:pt x="4064" y="1481"/>
                  </a:lnTo>
                  <a:lnTo>
                    <a:pt x="3979" y="1481"/>
                  </a:lnTo>
                  <a:lnTo>
                    <a:pt x="3979" y="1397"/>
                  </a:lnTo>
                  <a:lnTo>
                    <a:pt x="3937" y="1397"/>
                  </a:lnTo>
                  <a:lnTo>
                    <a:pt x="3894" y="1397"/>
                  </a:lnTo>
                  <a:lnTo>
                    <a:pt x="3894" y="1354"/>
                  </a:lnTo>
                  <a:lnTo>
                    <a:pt x="3894" y="1312"/>
                  </a:lnTo>
                  <a:lnTo>
                    <a:pt x="3852" y="1270"/>
                  </a:lnTo>
                  <a:lnTo>
                    <a:pt x="3894" y="1270"/>
                  </a:lnTo>
                  <a:lnTo>
                    <a:pt x="3894" y="1227"/>
                  </a:lnTo>
                  <a:lnTo>
                    <a:pt x="3683" y="1227"/>
                  </a:lnTo>
                  <a:lnTo>
                    <a:pt x="3640" y="1185"/>
                  </a:lnTo>
                  <a:lnTo>
                    <a:pt x="3640" y="1058"/>
                  </a:lnTo>
                  <a:lnTo>
                    <a:pt x="3640" y="1016"/>
                  </a:lnTo>
                  <a:lnTo>
                    <a:pt x="3640" y="973"/>
                  </a:lnTo>
                  <a:lnTo>
                    <a:pt x="3640" y="931"/>
                  </a:lnTo>
                  <a:lnTo>
                    <a:pt x="3640" y="889"/>
                  </a:lnTo>
                  <a:lnTo>
                    <a:pt x="3471" y="762"/>
                  </a:lnTo>
                  <a:lnTo>
                    <a:pt x="3471" y="804"/>
                  </a:lnTo>
                  <a:lnTo>
                    <a:pt x="3386" y="762"/>
                  </a:lnTo>
                  <a:lnTo>
                    <a:pt x="3386" y="719"/>
                  </a:lnTo>
                  <a:lnTo>
                    <a:pt x="3429" y="508"/>
                  </a:lnTo>
                  <a:lnTo>
                    <a:pt x="3386" y="465"/>
                  </a:lnTo>
                  <a:lnTo>
                    <a:pt x="3344" y="423"/>
                  </a:lnTo>
                  <a:lnTo>
                    <a:pt x="3302" y="381"/>
                  </a:lnTo>
                  <a:lnTo>
                    <a:pt x="3259" y="381"/>
                  </a:lnTo>
                  <a:lnTo>
                    <a:pt x="3259" y="338"/>
                  </a:lnTo>
                  <a:lnTo>
                    <a:pt x="3217" y="296"/>
                  </a:lnTo>
                  <a:lnTo>
                    <a:pt x="3175" y="296"/>
                  </a:lnTo>
                  <a:lnTo>
                    <a:pt x="3132" y="296"/>
                  </a:lnTo>
                  <a:lnTo>
                    <a:pt x="3090" y="296"/>
                  </a:lnTo>
                  <a:lnTo>
                    <a:pt x="3048" y="254"/>
                  </a:lnTo>
                  <a:lnTo>
                    <a:pt x="2963" y="254"/>
                  </a:lnTo>
                  <a:lnTo>
                    <a:pt x="2921" y="211"/>
                  </a:lnTo>
                  <a:lnTo>
                    <a:pt x="2751" y="211"/>
                  </a:lnTo>
                  <a:lnTo>
                    <a:pt x="2667" y="169"/>
                  </a:lnTo>
                  <a:lnTo>
                    <a:pt x="2540" y="423"/>
                  </a:lnTo>
                  <a:lnTo>
                    <a:pt x="2540" y="465"/>
                  </a:lnTo>
                  <a:lnTo>
                    <a:pt x="2540" y="508"/>
                  </a:lnTo>
                  <a:lnTo>
                    <a:pt x="2497" y="592"/>
                  </a:lnTo>
                  <a:lnTo>
                    <a:pt x="2455" y="719"/>
                  </a:lnTo>
                  <a:lnTo>
                    <a:pt x="2413" y="804"/>
                  </a:lnTo>
                  <a:lnTo>
                    <a:pt x="2413" y="889"/>
                  </a:lnTo>
                  <a:lnTo>
                    <a:pt x="2370" y="931"/>
                  </a:lnTo>
                  <a:lnTo>
                    <a:pt x="2370" y="973"/>
                  </a:lnTo>
                  <a:lnTo>
                    <a:pt x="2286" y="1143"/>
                  </a:lnTo>
                  <a:lnTo>
                    <a:pt x="2201" y="1143"/>
                  </a:lnTo>
                  <a:lnTo>
                    <a:pt x="2159" y="1143"/>
                  </a:lnTo>
                  <a:lnTo>
                    <a:pt x="2116" y="1143"/>
                  </a:lnTo>
                  <a:lnTo>
                    <a:pt x="1862" y="1100"/>
                  </a:lnTo>
                  <a:lnTo>
                    <a:pt x="1820" y="1100"/>
                  </a:lnTo>
                  <a:lnTo>
                    <a:pt x="1608" y="1185"/>
                  </a:lnTo>
                  <a:lnTo>
                    <a:pt x="1439" y="1227"/>
                  </a:lnTo>
                  <a:lnTo>
                    <a:pt x="1439" y="1058"/>
                  </a:lnTo>
                  <a:lnTo>
                    <a:pt x="1397" y="1058"/>
                  </a:lnTo>
                  <a:lnTo>
                    <a:pt x="1397" y="973"/>
                  </a:lnTo>
                  <a:lnTo>
                    <a:pt x="1397" y="931"/>
                  </a:lnTo>
                  <a:lnTo>
                    <a:pt x="1354" y="931"/>
                  </a:lnTo>
                  <a:lnTo>
                    <a:pt x="1312" y="889"/>
                  </a:lnTo>
                  <a:lnTo>
                    <a:pt x="1397" y="889"/>
                  </a:lnTo>
                  <a:lnTo>
                    <a:pt x="1397" y="846"/>
                  </a:lnTo>
                  <a:lnTo>
                    <a:pt x="1397" y="804"/>
                  </a:lnTo>
                  <a:lnTo>
                    <a:pt x="1397" y="719"/>
                  </a:lnTo>
                  <a:lnTo>
                    <a:pt x="1397" y="635"/>
                  </a:lnTo>
                  <a:lnTo>
                    <a:pt x="1439" y="635"/>
                  </a:lnTo>
                  <a:lnTo>
                    <a:pt x="1524" y="592"/>
                  </a:lnTo>
                  <a:lnTo>
                    <a:pt x="1439" y="550"/>
                  </a:lnTo>
                  <a:lnTo>
                    <a:pt x="1439" y="465"/>
                  </a:lnTo>
                  <a:lnTo>
                    <a:pt x="1439" y="423"/>
                  </a:lnTo>
                  <a:lnTo>
                    <a:pt x="1397" y="423"/>
                  </a:lnTo>
                  <a:lnTo>
                    <a:pt x="1397" y="465"/>
                  </a:lnTo>
                  <a:lnTo>
                    <a:pt x="1354" y="423"/>
                  </a:lnTo>
                  <a:lnTo>
                    <a:pt x="1312" y="296"/>
                  </a:lnTo>
                  <a:lnTo>
                    <a:pt x="1312" y="254"/>
                  </a:lnTo>
                  <a:lnTo>
                    <a:pt x="1354" y="254"/>
                  </a:lnTo>
                  <a:lnTo>
                    <a:pt x="1397" y="254"/>
                  </a:lnTo>
                  <a:lnTo>
                    <a:pt x="1397" y="211"/>
                  </a:lnTo>
                  <a:lnTo>
                    <a:pt x="1439" y="211"/>
                  </a:lnTo>
                  <a:lnTo>
                    <a:pt x="1481" y="211"/>
                  </a:lnTo>
                  <a:lnTo>
                    <a:pt x="1481" y="169"/>
                  </a:lnTo>
                  <a:lnTo>
                    <a:pt x="1524" y="169"/>
                  </a:lnTo>
                  <a:lnTo>
                    <a:pt x="1566" y="169"/>
                  </a:lnTo>
                  <a:lnTo>
                    <a:pt x="1524" y="127"/>
                  </a:lnTo>
                  <a:lnTo>
                    <a:pt x="1481" y="127"/>
                  </a:lnTo>
                  <a:lnTo>
                    <a:pt x="1439" y="169"/>
                  </a:lnTo>
                  <a:lnTo>
                    <a:pt x="1397" y="169"/>
                  </a:lnTo>
                  <a:lnTo>
                    <a:pt x="1354" y="127"/>
                  </a:lnTo>
                  <a:lnTo>
                    <a:pt x="1312" y="169"/>
                  </a:lnTo>
                  <a:lnTo>
                    <a:pt x="1312" y="0"/>
                  </a:lnTo>
                  <a:lnTo>
                    <a:pt x="1270" y="0"/>
                  </a:lnTo>
                  <a:lnTo>
                    <a:pt x="1227" y="0"/>
                  </a:lnTo>
                  <a:close/>
                </a:path>
              </a:pathLst>
            </a:custGeom>
            <a:grpFill/>
            <a:ln w="12700" cap="flat" cmpd="sng">
              <a:solidFill>
                <a:schemeClr val="tx1"/>
              </a:solidFill>
              <a:prstDash val="solid"/>
              <a:bevel/>
              <a:headEnd/>
              <a:tailEnd/>
            </a:ln>
          </p:spPr>
          <p:txBody>
            <a:bodyPr/>
            <a:lstStyle/>
            <a:p>
              <a:endParaRPr lang="nl-NL"/>
            </a:p>
          </p:txBody>
        </p:sp>
        <p:grpSp>
          <p:nvGrpSpPr>
            <p:cNvPr id="123" name="Group 537">
              <a:extLst>
                <a:ext uri="{FF2B5EF4-FFF2-40B4-BE49-F238E27FC236}">
                  <a16:creationId xmlns:a16="http://schemas.microsoft.com/office/drawing/2014/main" id="{8CE02C73-EBBB-2049-30C2-E10CC50B6FB2}"/>
                </a:ext>
              </a:extLst>
            </p:cNvPr>
            <p:cNvGrpSpPr>
              <a:grpSpLocks/>
            </p:cNvGrpSpPr>
            <p:nvPr/>
          </p:nvGrpSpPr>
          <p:grpSpPr bwMode="auto">
            <a:xfrm>
              <a:off x="2953153" y="3961529"/>
              <a:ext cx="1425428" cy="2861397"/>
              <a:chOff x="1430" y="-106"/>
              <a:chExt cx="1082" cy="2176"/>
            </a:xfrm>
            <a:grpFill/>
          </p:grpSpPr>
          <p:sp>
            <p:nvSpPr>
              <p:cNvPr id="146" name="Freeform 538">
                <a:extLst>
                  <a:ext uri="{FF2B5EF4-FFF2-40B4-BE49-F238E27FC236}">
                    <a16:creationId xmlns:a16="http://schemas.microsoft.com/office/drawing/2014/main" id="{DB79B14C-AD74-F467-70BA-1CC8F95408CD}"/>
                  </a:ext>
                </a:extLst>
              </p:cNvPr>
              <p:cNvSpPr>
                <a:spLocks noEditPoints="1"/>
              </p:cNvSpPr>
              <p:nvPr/>
            </p:nvSpPr>
            <p:spPr bwMode="auto">
              <a:xfrm>
                <a:off x="1430" y="361"/>
                <a:ext cx="1082" cy="1709"/>
              </a:xfrm>
              <a:custGeom>
                <a:avLst/>
                <a:gdLst/>
                <a:ahLst/>
                <a:cxnLst>
                  <a:cxn ang="0">
                    <a:pos x="1270" y="720"/>
                  </a:cxn>
                  <a:cxn ang="0">
                    <a:pos x="931" y="1905"/>
                  </a:cxn>
                  <a:cxn ang="0">
                    <a:pos x="804" y="2709"/>
                  </a:cxn>
                  <a:cxn ang="0">
                    <a:pos x="677" y="3556"/>
                  </a:cxn>
                  <a:cxn ang="0">
                    <a:pos x="550" y="4487"/>
                  </a:cxn>
                  <a:cxn ang="0">
                    <a:pos x="592" y="4614"/>
                  </a:cxn>
                  <a:cxn ang="0">
                    <a:pos x="381" y="4868"/>
                  </a:cxn>
                  <a:cxn ang="0">
                    <a:pos x="429" y="5883"/>
                  </a:cxn>
                  <a:cxn ang="0">
                    <a:pos x="553" y="6142"/>
                  </a:cxn>
                  <a:cxn ang="0">
                    <a:pos x="338" y="6689"/>
                  </a:cxn>
                  <a:cxn ang="0">
                    <a:pos x="719" y="6816"/>
                  </a:cxn>
                  <a:cxn ang="0">
                    <a:pos x="1058" y="6731"/>
                  </a:cxn>
                  <a:cxn ang="0">
                    <a:pos x="1397" y="6816"/>
                  </a:cxn>
                  <a:cxn ang="0">
                    <a:pos x="1735" y="6731"/>
                  </a:cxn>
                  <a:cxn ang="0">
                    <a:pos x="2032" y="6604"/>
                  </a:cxn>
                  <a:cxn ang="0">
                    <a:pos x="2328" y="6477"/>
                  </a:cxn>
                  <a:cxn ang="0">
                    <a:pos x="2540" y="6265"/>
                  </a:cxn>
                  <a:cxn ang="0">
                    <a:pos x="2836" y="6138"/>
                  </a:cxn>
                  <a:cxn ang="0">
                    <a:pos x="3048" y="6223"/>
                  </a:cxn>
                  <a:cxn ang="0">
                    <a:pos x="3090" y="6265"/>
                  </a:cxn>
                  <a:cxn ang="0">
                    <a:pos x="3048" y="6477"/>
                  </a:cxn>
                  <a:cxn ang="0">
                    <a:pos x="3048" y="6858"/>
                  </a:cxn>
                  <a:cxn ang="0">
                    <a:pos x="3090" y="7112"/>
                  </a:cxn>
                  <a:cxn ang="0">
                    <a:pos x="3937" y="7197"/>
                  </a:cxn>
                  <a:cxn ang="0">
                    <a:pos x="4318" y="6223"/>
                  </a:cxn>
                  <a:cxn ang="0">
                    <a:pos x="4402" y="6054"/>
                  </a:cxn>
                  <a:cxn ang="0">
                    <a:pos x="4106" y="5969"/>
                  </a:cxn>
                  <a:cxn ang="0">
                    <a:pos x="3683" y="5969"/>
                  </a:cxn>
                  <a:cxn ang="0">
                    <a:pos x="3259" y="5715"/>
                  </a:cxn>
                  <a:cxn ang="0">
                    <a:pos x="3048" y="5715"/>
                  </a:cxn>
                  <a:cxn ang="0">
                    <a:pos x="2878" y="5630"/>
                  </a:cxn>
                  <a:cxn ang="0">
                    <a:pos x="2624" y="5503"/>
                  </a:cxn>
                  <a:cxn ang="0">
                    <a:pos x="2751" y="5376"/>
                  </a:cxn>
                  <a:cxn ang="0">
                    <a:pos x="2963" y="5292"/>
                  </a:cxn>
                  <a:cxn ang="0">
                    <a:pos x="3217" y="4995"/>
                  </a:cxn>
                  <a:cxn ang="0">
                    <a:pos x="3132" y="4784"/>
                  </a:cxn>
                  <a:cxn ang="0">
                    <a:pos x="3048" y="4572"/>
                  </a:cxn>
                  <a:cxn ang="0">
                    <a:pos x="3259" y="4360"/>
                  </a:cxn>
                  <a:cxn ang="0">
                    <a:pos x="3217" y="4022"/>
                  </a:cxn>
                  <a:cxn ang="0">
                    <a:pos x="3005" y="3471"/>
                  </a:cxn>
                  <a:cxn ang="0">
                    <a:pos x="2963" y="3090"/>
                  </a:cxn>
                  <a:cxn ang="0">
                    <a:pos x="3175" y="3006"/>
                  </a:cxn>
                  <a:cxn ang="0">
                    <a:pos x="3471" y="3048"/>
                  </a:cxn>
                  <a:cxn ang="0">
                    <a:pos x="3852" y="3006"/>
                  </a:cxn>
                  <a:cxn ang="0">
                    <a:pos x="4148" y="2794"/>
                  </a:cxn>
                  <a:cxn ang="0">
                    <a:pos x="4402" y="2498"/>
                  </a:cxn>
                  <a:cxn ang="0">
                    <a:pos x="4445" y="2244"/>
                  </a:cxn>
                  <a:cxn ang="0">
                    <a:pos x="4275" y="1947"/>
                  </a:cxn>
                  <a:cxn ang="0">
                    <a:pos x="3852" y="2074"/>
                  </a:cxn>
                  <a:cxn ang="0">
                    <a:pos x="3556" y="1778"/>
                  </a:cxn>
                  <a:cxn ang="0">
                    <a:pos x="3259" y="635"/>
                  </a:cxn>
                  <a:cxn ang="0">
                    <a:pos x="2878" y="254"/>
                  </a:cxn>
                  <a:cxn ang="0">
                    <a:pos x="2413" y="593"/>
                  </a:cxn>
                  <a:cxn ang="0">
                    <a:pos x="1778" y="423"/>
                  </a:cxn>
                  <a:cxn ang="0">
                    <a:pos x="1693" y="85"/>
                  </a:cxn>
                  <a:cxn ang="0">
                    <a:pos x="1778" y="42"/>
                  </a:cxn>
                  <a:cxn ang="0">
                    <a:pos x="3090" y="296"/>
                  </a:cxn>
                  <a:cxn ang="0">
                    <a:pos x="3327" y="2531"/>
                  </a:cxn>
                  <a:cxn ang="0">
                    <a:pos x="3134" y="2676"/>
                  </a:cxn>
                  <a:cxn ang="0">
                    <a:pos x="3429" y="4614"/>
                  </a:cxn>
                  <a:cxn ang="0">
                    <a:pos x="3513" y="4614"/>
                  </a:cxn>
                </a:cxnLst>
                <a:rect l="0" t="0" r="r" b="b"/>
                <a:pathLst>
                  <a:path w="4614" h="7281">
                    <a:moveTo>
                      <a:pt x="1397" y="0"/>
                    </a:moveTo>
                    <a:lnTo>
                      <a:pt x="1312" y="127"/>
                    </a:lnTo>
                    <a:lnTo>
                      <a:pt x="1312" y="169"/>
                    </a:lnTo>
                    <a:lnTo>
                      <a:pt x="1312" y="212"/>
                    </a:lnTo>
                    <a:lnTo>
                      <a:pt x="1312" y="296"/>
                    </a:lnTo>
                    <a:lnTo>
                      <a:pt x="1270" y="423"/>
                    </a:lnTo>
                    <a:lnTo>
                      <a:pt x="1270" y="550"/>
                    </a:lnTo>
                    <a:lnTo>
                      <a:pt x="1270" y="720"/>
                    </a:lnTo>
                    <a:lnTo>
                      <a:pt x="1185" y="974"/>
                    </a:lnTo>
                    <a:lnTo>
                      <a:pt x="1143" y="1228"/>
                    </a:lnTo>
                    <a:lnTo>
                      <a:pt x="1058" y="1482"/>
                    </a:lnTo>
                    <a:lnTo>
                      <a:pt x="1058" y="1566"/>
                    </a:lnTo>
                    <a:lnTo>
                      <a:pt x="1016" y="1566"/>
                    </a:lnTo>
                    <a:lnTo>
                      <a:pt x="1016" y="1651"/>
                    </a:lnTo>
                    <a:lnTo>
                      <a:pt x="931" y="1820"/>
                    </a:lnTo>
                    <a:lnTo>
                      <a:pt x="931" y="1905"/>
                    </a:lnTo>
                    <a:lnTo>
                      <a:pt x="846" y="2159"/>
                    </a:lnTo>
                    <a:lnTo>
                      <a:pt x="846" y="2201"/>
                    </a:lnTo>
                    <a:lnTo>
                      <a:pt x="846" y="2244"/>
                    </a:lnTo>
                    <a:lnTo>
                      <a:pt x="846" y="2286"/>
                    </a:lnTo>
                    <a:lnTo>
                      <a:pt x="846" y="2328"/>
                    </a:lnTo>
                    <a:lnTo>
                      <a:pt x="846" y="2455"/>
                    </a:lnTo>
                    <a:lnTo>
                      <a:pt x="804" y="2625"/>
                    </a:lnTo>
                    <a:lnTo>
                      <a:pt x="804" y="2709"/>
                    </a:lnTo>
                    <a:lnTo>
                      <a:pt x="804" y="2794"/>
                    </a:lnTo>
                    <a:lnTo>
                      <a:pt x="762" y="2963"/>
                    </a:lnTo>
                    <a:lnTo>
                      <a:pt x="762" y="3048"/>
                    </a:lnTo>
                    <a:lnTo>
                      <a:pt x="762" y="3090"/>
                    </a:lnTo>
                    <a:lnTo>
                      <a:pt x="762" y="3175"/>
                    </a:lnTo>
                    <a:lnTo>
                      <a:pt x="719" y="3217"/>
                    </a:lnTo>
                    <a:lnTo>
                      <a:pt x="719" y="3260"/>
                    </a:lnTo>
                    <a:lnTo>
                      <a:pt x="677" y="3556"/>
                    </a:lnTo>
                    <a:lnTo>
                      <a:pt x="635" y="3937"/>
                    </a:lnTo>
                    <a:lnTo>
                      <a:pt x="592" y="4149"/>
                    </a:lnTo>
                    <a:lnTo>
                      <a:pt x="550" y="4233"/>
                    </a:lnTo>
                    <a:lnTo>
                      <a:pt x="508" y="4318"/>
                    </a:lnTo>
                    <a:lnTo>
                      <a:pt x="465" y="4403"/>
                    </a:lnTo>
                    <a:lnTo>
                      <a:pt x="423" y="4530"/>
                    </a:lnTo>
                    <a:lnTo>
                      <a:pt x="508" y="4487"/>
                    </a:lnTo>
                    <a:lnTo>
                      <a:pt x="550" y="4487"/>
                    </a:lnTo>
                    <a:lnTo>
                      <a:pt x="635" y="4445"/>
                    </a:lnTo>
                    <a:lnTo>
                      <a:pt x="677" y="4487"/>
                    </a:lnTo>
                    <a:lnTo>
                      <a:pt x="635" y="4487"/>
                    </a:lnTo>
                    <a:lnTo>
                      <a:pt x="635" y="4530"/>
                    </a:lnTo>
                    <a:lnTo>
                      <a:pt x="550" y="4530"/>
                    </a:lnTo>
                    <a:lnTo>
                      <a:pt x="508" y="4572"/>
                    </a:lnTo>
                    <a:lnTo>
                      <a:pt x="592" y="4572"/>
                    </a:lnTo>
                    <a:lnTo>
                      <a:pt x="592" y="4614"/>
                    </a:lnTo>
                    <a:lnTo>
                      <a:pt x="508" y="4572"/>
                    </a:lnTo>
                    <a:lnTo>
                      <a:pt x="465" y="4572"/>
                    </a:lnTo>
                    <a:lnTo>
                      <a:pt x="465" y="4614"/>
                    </a:lnTo>
                    <a:lnTo>
                      <a:pt x="381" y="4572"/>
                    </a:lnTo>
                    <a:lnTo>
                      <a:pt x="381" y="4657"/>
                    </a:lnTo>
                    <a:lnTo>
                      <a:pt x="423" y="4741"/>
                    </a:lnTo>
                    <a:lnTo>
                      <a:pt x="381" y="4784"/>
                    </a:lnTo>
                    <a:lnTo>
                      <a:pt x="381" y="4868"/>
                    </a:lnTo>
                    <a:lnTo>
                      <a:pt x="338" y="4953"/>
                    </a:lnTo>
                    <a:lnTo>
                      <a:pt x="296" y="5122"/>
                    </a:lnTo>
                    <a:lnTo>
                      <a:pt x="254" y="5249"/>
                    </a:lnTo>
                    <a:lnTo>
                      <a:pt x="169" y="5461"/>
                    </a:lnTo>
                    <a:lnTo>
                      <a:pt x="0" y="5800"/>
                    </a:lnTo>
                    <a:lnTo>
                      <a:pt x="296" y="5927"/>
                    </a:lnTo>
                    <a:lnTo>
                      <a:pt x="423" y="5969"/>
                    </a:lnTo>
                    <a:lnTo>
                      <a:pt x="429" y="5883"/>
                    </a:lnTo>
                    <a:lnTo>
                      <a:pt x="466" y="5918"/>
                    </a:lnTo>
                    <a:lnTo>
                      <a:pt x="516" y="5876"/>
                    </a:lnTo>
                    <a:lnTo>
                      <a:pt x="602" y="5881"/>
                    </a:lnTo>
                    <a:lnTo>
                      <a:pt x="677" y="5919"/>
                    </a:lnTo>
                    <a:lnTo>
                      <a:pt x="643" y="5999"/>
                    </a:lnTo>
                    <a:lnTo>
                      <a:pt x="599" y="6037"/>
                    </a:lnTo>
                    <a:lnTo>
                      <a:pt x="598" y="6124"/>
                    </a:lnTo>
                    <a:lnTo>
                      <a:pt x="553" y="6142"/>
                    </a:lnTo>
                    <a:lnTo>
                      <a:pt x="551" y="6226"/>
                    </a:lnTo>
                    <a:lnTo>
                      <a:pt x="429" y="6336"/>
                    </a:lnTo>
                    <a:lnTo>
                      <a:pt x="423" y="6477"/>
                    </a:lnTo>
                    <a:lnTo>
                      <a:pt x="423" y="6562"/>
                    </a:lnTo>
                    <a:lnTo>
                      <a:pt x="381" y="6604"/>
                    </a:lnTo>
                    <a:lnTo>
                      <a:pt x="381" y="6646"/>
                    </a:lnTo>
                    <a:lnTo>
                      <a:pt x="338" y="6646"/>
                    </a:lnTo>
                    <a:lnTo>
                      <a:pt x="338" y="6689"/>
                    </a:lnTo>
                    <a:lnTo>
                      <a:pt x="338" y="6731"/>
                    </a:lnTo>
                    <a:lnTo>
                      <a:pt x="338" y="6773"/>
                    </a:lnTo>
                    <a:lnTo>
                      <a:pt x="381" y="6773"/>
                    </a:lnTo>
                    <a:lnTo>
                      <a:pt x="423" y="6816"/>
                    </a:lnTo>
                    <a:lnTo>
                      <a:pt x="465" y="6816"/>
                    </a:lnTo>
                    <a:lnTo>
                      <a:pt x="508" y="6773"/>
                    </a:lnTo>
                    <a:lnTo>
                      <a:pt x="592" y="6816"/>
                    </a:lnTo>
                    <a:lnTo>
                      <a:pt x="719" y="6816"/>
                    </a:lnTo>
                    <a:lnTo>
                      <a:pt x="762" y="6816"/>
                    </a:lnTo>
                    <a:lnTo>
                      <a:pt x="804" y="6816"/>
                    </a:lnTo>
                    <a:lnTo>
                      <a:pt x="846" y="6773"/>
                    </a:lnTo>
                    <a:lnTo>
                      <a:pt x="931" y="6731"/>
                    </a:lnTo>
                    <a:lnTo>
                      <a:pt x="973" y="6731"/>
                    </a:lnTo>
                    <a:lnTo>
                      <a:pt x="973" y="6689"/>
                    </a:lnTo>
                    <a:lnTo>
                      <a:pt x="1016" y="6731"/>
                    </a:lnTo>
                    <a:lnTo>
                      <a:pt x="1058" y="6731"/>
                    </a:lnTo>
                    <a:lnTo>
                      <a:pt x="1100" y="6731"/>
                    </a:lnTo>
                    <a:lnTo>
                      <a:pt x="1143" y="6689"/>
                    </a:lnTo>
                    <a:lnTo>
                      <a:pt x="1185" y="6646"/>
                    </a:lnTo>
                    <a:lnTo>
                      <a:pt x="1312" y="6689"/>
                    </a:lnTo>
                    <a:lnTo>
                      <a:pt x="1270" y="6816"/>
                    </a:lnTo>
                    <a:lnTo>
                      <a:pt x="1312" y="6858"/>
                    </a:lnTo>
                    <a:lnTo>
                      <a:pt x="1354" y="6900"/>
                    </a:lnTo>
                    <a:lnTo>
                      <a:pt x="1397" y="6816"/>
                    </a:lnTo>
                    <a:lnTo>
                      <a:pt x="1439" y="6816"/>
                    </a:lnTo>
                    <a:lnTo>
                      <a:pt x="1524" y="6816"/>
                    </a:lnTo>
                    <a:lnTo>
                      <a:pt x="1566" y="6773"/>
                    </a:lnTo>
                    <a:lnTo>
                      <a:pt x="1566" y="6731"/>
                    </a:lnTo>
                    <a:lnTo>
                      <a:pt x="1608" y="6731"/>
                    </a:lnTo>
                    <a:lnTo>
                      <a:pt x="1651" y="6731"/>
                    </a:lnTo>
                    <a:lnTo>
                      <a:pt x="1693" y="6731"/>
                    </a:lnTo>
                    <a:lnTo>
                      <a:pt x="1735" y="6731"/>
                    </a:lnTo>
                    <a:lnTo>
                      <a:pt x="1778" y="6731"/>
                    </a:lnTo>
                    <a:lnTo>
                      <a:pt x="1820" y="6731"/>
                    </a:lnTo>
                    <a:lnTo>
                      <a:pt x="1862" y="6689"/>
                    </a:lnTo>
                    <a:lnTo>
                      <a:pt x="1905" y="6689"/>
                    </a:lnTo>
                    <a:lnTo>
                      <a:pt x="1905" y="6646"/>
                    </a:lnTo>
                    <a:lnTo>
                      <a:pt x="1947" y="6646"/>
                    </a:lnTo>
                    <a:lnTo>
                      <a:pt x="1989" y="6604"/>
                    </a:lnTo>
                    <a:lnTo>
                      <a:pt x="2032" y="6604"/>
                    </a:lnTo>
                    <a:lnTo>
                      <a:pt x="2032" y="6562"/>
                    </a:lnTo>
                    <a:lnTo>
                      <a:pt x="2116" y="6519"/>
                    </a:lnTo>
                    <a:lnTo>
                      <a:pt x="2159" y="6477"/>
                    </a:lnTo>
                    <a:lnTo>
                      <a:pt x="2201" y="6477"/>
                    </a:lnTo>
                    <a:lnTo>
                      <a:pt x="2243" y="6477"/>
                    </a:lnTo>
                    <a:lnTo>
                      <a:pt x="2286" y="6519"/>
                    </a:lnTo>
                    <a:lnTo>
                      <a:pt x="2286" y="6477"/>
                    </a:lnTo>
                    <a:lnTo>
                      <a:pt x="2328" y="6477"/>
                    </a:lnTo>
                    <a:lnTo>
                      <a:pt x="2370" y="6477"/>
                    </a:lnTo>
                    <a:lnTo>
                      <a:pt x="2370" y="6435"/>
                    </a:lnTo>
                    <a:lnTo>
                      <a:pt x="2413" y="6392"/>
                    </a:lnTo>
                    <a:lnTo>
                      <a:pt x="2455" y="6350"/>
                    </a:lnTo>
                    <a:lnTo>
                      <a:pt x="2413" y="6308"/>
                    </a:lnTo>
                    <a:lnTo>
                      <a:pt x="2413" y="6265"/>
                    </a:lnTo>
                    <a:lnTo>
                      <a:pt x="2455" y="6223"/>
                    </a:lnTo>
                    <a:lnTo>
                      <a:pt x="2540" y="6265"/>
                    </a:lnTo>
                    <a:lnTo>
                      <a:pt x="2582" y="6265"/>
                    </a:lnTo>
                    <a:lnTo>
                      <a:pt x="2624" y="6265"/>
                    </a:lnTo>
                    <a:lnTo>
                      <a:pt x="2667" y="6265"/>
                    </a:lnTo>
                    <a:lnTo>
                      <a:pt x="2667" y="6223"/>
                    </a:lnTo>
                    <a:lnTo>
                      <a:pt x="2751" y="6181"/>
                    </a:lnTo>
                    <a:lnTo>
                      <a:pt x="2751" y="6138"/>
                    </a:lnTo>
                    <a:lnTo>
                      <a:pt x="2836" y="6181"/>
                    </a:lnTo>
                    <a:lnTo>
                      <a:pt x="2836" y="6138"/>
                    </a:lnTo>
                    <a:lnTo>
                      <a:pt x="2836" y="6096"/>
                    </a:lnTo>
                    <a:lnTo>
                      <a:pt x="2878" y="6096"/>
                    </a:lnTo>
                    <a:lnTo>
                      <a:pt x="2878" y="6054"/>
                    </a:lnTo>
                    <a:lnTo>
                      <a:pt x="2921" y="6054"/>
                    </a:lnTo>
                    <a:lnTo>
                      <a:pt x="2963" y="6054"/>
                    </a:lnTo>
                    <a:lnTo>
                      <a:pt x="2963" y="6223"/>
                    </a:lnTo>
                    <a:lnTo>
                      <a:pt x="3005" y="6181"/>
                    </a:lnTo>
                    <a:lnTo>
                      <a:pt x="3048" y="6223"/>
                    </a:lnTo>
                    <a:lnTo>
                      <a:pt x="3090" y="6223"/>
                    </a:lnTo>
                    <a:lnTo>
                      <a:pt x="3132" y="6181"/>
                    </a:lnTo>
                    <a:lnTo>
                      <a:pt x="3175" y="6181"/>
                    </a:lnTo>
                    <a:lnTo>
                      <a:pt x="3217" y="6223"/>
                    </a:lnTo>
                    <a:lnTo>
                      <a:pt x="3175" y="6223"/>
                    </a:lnTo>
                    <a:lnTo>
                      <a:pt x="3132" y="6223"/>
                    </a:lnTo>
                    <a:lnTo>
                      <a:pt x="3132" y="6265"/>
                    </a:lnTo>
                    <a:lnTo>
                      <a:pt x="3090" y="6265"/>
                    </a:lnTo>
                    <a:lnTo>
                      <a:pt x="3048" y="6265"/>
                    </a:lnTo>
                    <a:lnTo>
                      <a:pt x="3048" y="6308"/>
                    </a:lnTo>
                    <a:lnTo>
                      <a:pt x="3005" y="6308"/>
                    </a:lnTo>
                    <a:lnTo>
                      <a:pt x="2963" y="6308"/>
                    </a:lnTo>
                    <a:lnTo>
                      <a:pt x="2963" y="6350"/>
                    </a:lnTo>
                    <a:lnTo>
                      <a:pt x="3005" y="6477"/>
                    </a:lnTo>
                    <a:lnTo>
                      <a:pt x="3048" y="6519"/>
                    </a:lnTo>
                    <a:lnTo>
                      <a:pt x="3048" y="6477"/>
                    </a:lnTo>
                    <a:lnTo>
                      <a:pt x="3090" y="6477"/>
                    </a:lnTo>
                    <a:lnTo>
                      <a:pt x="3090" y="6519"/>
                    </a:lnTo>
                    <a:lnTo>
                      <a:pt x="3090" y="6604"/>
                    </a:lnTo>
                    <a:lnTo>
                      <a:pt x="3175" y="6646"/>
                    </a:lnTo>
                    <a:lnTo>
                      <a:pt x="3090" y="6689"/>
                    </a:lnTo>
                    <a:lnTo>
                      <a:pt x="3048" y="6689"/>
                    </a:lnTo>
                    <a:lnTo>
                      <a:pt x="3048" y="6773"/>
                    </a:lnTo>
                    <a:lnTo>
                      <a:pt x="3048" y="6858"/>
                    </a:lnTo>
                    <a:lnTo>
                      <a:pt x="3048" y="6900"/>
                    </a:lnTo>
                    <a:lnTo>
                      <a:pt x="3048" y="6943"/>
                    </a:lnTo>
                    <a:lnTo>
                      <a:pt x="2963" y="6943"/>
                    </a:lnTo>
                    <a:lnTo>
                      <a:pt x="3005" y="6985"/>
                    </a:lnTo>
                    <a:lnTo>
                      <a:pt x="3048" y="6985"/>
                    </a:lnTo>
                    <a:lnTo>
                      <a:pt x="3048" y="7027"/>
                    </a:lnTo>
                    <a:lnTo>
                      <a:pt x="3048" y="7112"/>
                    </a:lnTo>
                    <a:lnTo>
                      <a:pt x="3090" y="7112"/>
                    </a:lnTo>
                    <a:lnTo>
                      <a:pt x="3090" y="7281"/>
                    </a:lnTo>
                    <a:lnTo>
                      <a:pt x="3259" y="7239"/>
                    </a:lnTo>
                    <a:lnTo>
                      <a:pt x="3471" y="7154"/>
                    </a:lnTo>
                    <a:lnTo>
                      <a:pt x="3513" y="7154"/>
                    </a:lnTo>
                    <a:lnTo>
                      <a:pt x="3767" y="7197"/>
                    </a:lnTo>
                    <a:lnTo>
                      <a:pt x="3810" y="7197"/>
                    </a:lnTo>
                    <a:lnTo>
                      <a:pt x="3852" y="7197"/>
                    </a:lnTo>
                    <a:lnTo>
                      <a:pt x="3937" y="7197"/>
                    </a:lnTo>
                    <a:lnTo>
                      <a:pt x="4064" y="6943"/>
                    </a:lnTo>
                    <a:lnTo>
                      <a:pt x="4064" y="6858"/>
                    </a:lnTo>
                    <a:lnTo>
                      <a:pt x="4106" y="6773"/>
                    </a:lnTo>
                    <a:lnTo>
                      <a:pt x="4148" y="6646"/>
                    </a:lnTo>
                    <a:lnTo>
                      <a:pt x="4191" y="6562"/>
                    </a:lnTo>
                    <a:lnTo>
                      <a:pt x="4191" y="6519"/>
                    </a:lnTo>
                    <a:lnTo>
                      <a:pt x="4191" y="6477"/>
                    </a:lnTo>
                    <a:lnTo>
                      <a:pt x="4318" y="6223"/>
                    </a:lnTo>
                    <a:lnTo>
                      <a:pt x="4402" y="6265"/>
                    </a:lnTo>
                    <a:lnTo>
                      <a:pt x="4572" y="6265"/>
                    </a:lnTo>
                    <a:lnTo>
                      <a:pt x="4487" y="6181"/>
                    </a:lnTo>
                    <a:lnTo>
                      <a:pt x="4487" y="6138"/>
                    </a:lnTo>
                    <a:lnTo>
                      <a:pt x="4529" y="6096"/>
                    </a:lnTo>
                    <a:lnTo>
                      <a:pt x="4487" y="6096"/>
                    </a:lnTo>
                    <a:lnTo>
                      <a:pt x="4445" y="6096"/>
                    </a:lnTo>
                    <a:lnTo>
                      <a:pt x="4402" y="6054"/>
                    </a:lnTo>
                    <a:lnTo>
                      <a:pt x="4360" y="6054"/>
                    </a:lnTo>
                    <a:lnTo>
                      <a:pt x="4318" y="6011"/>
                    </a:lnTo>
                    <a:lnTo>
                      <a:pt x="4275" y="6011"/>
                    </a:lnTo>
                    <a:lnTo>
                      <a:pt x="4275" y="5969"/>
                    </a:lnTo>
                    <a:lnTo>
                      <a:pt x="4233" y="5927"/>
                    </a:lnTo>
                    <a:lnTo>
                      <a:pt x="4191" y="5969"/>
                    </a:lnTo>
                    <a:lnTo>
                      <a:pt x="4148" y="5969"/>
                    </a:lnTo>
                    <a:lnTo>
                      <a:pt x="4106" y="5969"/>
                    </a:lnTo>
                    <a:lnTo>
                      <a:pt x="3937" y="5969"/>
                    </a:lnTo>
                    <a:lnTo>
                      <a:pt x="3894" y="6011"/>
                    </a:lnTo>
                    <a:lnTo>
                      <a:pt x="3852" y="6011"/>
                    </a:lnTo>
                    <a:lnTo>
                      <a:pt x="3810" y="6054"/>
                    </a:lnTo>
                    <a:lnTo>
                      <a:pt x="3767" y="6054"/>
                    </a:lnTo>
                    <a:lnTo>
                      <a:pt x="3767" y="6011"/>
                    </a:lnTo>
                    <a:lnTo>
                      <a:pt x="3725" y="6011"/>
                    </a:lnTo>
                    <a:lnTo>
                      <a:pt x="3683" y="5969"/>
                    </a:lnTo>
                    <a:lnTo>
                      <a:pt x="3640" y="5927"/>
                    </a:lnTo>
                    <a:lnTo>
                      <a:pt x="3598" y="5842"/>
                    </a:lnTo>
                    <a:lnTo>
                      <a:pt x="3556" y="5842"/>
                    </a:lnTo>
                    <a:lnTo>
                      <a:pt x="3556" y="5800"/>
                    </a:lnTo>
                    <a:lnTo>
                      <a:pt x="3471" y="5800"/>
                    </a:lnTo>
                    <a:lnTo>
                      <a:pt x="3429" y="5800"/>
                    </a:lnTo>
                    <a:lnTo>
                      <a:pt x="3386" y="5715"/>
                    </a:lnTo>
                    <a:lnTo>
                      <a:pt x="3259" y="5715"/>
                    </a:lnTo>
                    <a:lnTo>
                      <a:pt x="3217" y="5715"/>
                    </a:lnTo>
                    <a:lnTo>
                      <a:pt x="3175" y="5715"/>
                    </a:lnTo>
                    <a:lnTo>
                      <a:pt x="3090" y="5757"/>
                    </a:lnTo>
                    <a:lnTo>
                      <a:pt x="3048" y="5715"/>
                    </a:lnTo>
                    <a:lnTo>
                      <a:pt x="3048" y="5757"/>
                    </a:lnTo>
                    <a:lnTo>
                      <a:pt x="3005" y="5757"/>
                    </a:lnTo>
                    <a:lnTo>
                      <a:pt x="3005" y="5715"/>
                    </a:lnTo>
                    <a:lnTo>
                      <a:pt x="3048" y="5715"/>
                    </a:lnTo>
                    <a:lnTo>
                      <a:pt x="3048" y="5673"/>
                    </a:lnTo>
                    <a:lnTo>
                      <a:pt x="3005" y="5630"/>
                    </a:lnTo>
                    <a:lnTo>
                      <a:pt x="2963" y="5630"/>
                    </a:lnTo>
                    <a:lnTo>
                      <a:pt x="2921" y="5673"/>
                    </a:lnTo>
                    <a:lnTo>
                      <a:pt x="2878" y="5673"/>
                    </a:lnTo>
                    <a:lnTo>
                      <a:pt x="2836" y="5673"/>
                    </a:lnTo>
                    <a:lnTo>
                      <a:pt x="2836" y="5630"/>
                    </a:lnTo>
                    <a:lnTo>
                      <a:pt x="2878" y="5630"/>
                    </a:lnTo>
                    <a:lnTo>
                      <a:pt x="2878" y="5588"/>
                    </a:lnTo>
                    <a:lnTo>
                      <a:pt x="2878" y="5546"/>
                    </a:lnTo>
                    <a:lnTo>
                      <a:pt x="2794" y="5503"/>
                    </a:lnTo>
                    <a:lnTo>
                      <a:pt x="2751" y="5503"/>
                    </a:lnTo>
                    <a:lnTo>
                      <a:pt x="2751" y="5546"/>
                    </a:lnTo>
                    <a:lnTo>
                      <a:pt x="2709" y="5546"/>
                    </a:lnTo>
                    <a:lnTo>
                      <a:pt x="2667" y="5503"/>
                    </a:lnTo>
                    <a:lnTo>
                      <a:pt x="2624" y="5503"/>
                    </a:lnTo>
                    <a:lnTo>
                      <a:pt x="2624" y="5461"/>
                    </a:lnTo>
                    <a:lnTo>
                      <a:pt x="2667" y="5461"/>
                    </a:lnTo>
                    <a:lnTo>
                      <a:pt x="2709" y="5461"/>
                    </a:lnTo>
                    <a:lnTo>
                      <a:pt x="2751" y="5419"/>
                    </a:lnTo>
                    <a:lnTo>
                      <a:pt x="2624" y="5334"/>
                    </a:lnTo>
                    <a:lnTo>
                      <a:pt x="2624" y="5292"/>
                    </a:lnTo>
                    <a:lnTo>
                      <a:pt x="2709" y="5334"/>
                    </a:lnTo>
                    <a:lnTo>
                      <a:pt x="2751" y="5376"/>
                    </a:lnTo>
                    <a:lnTo>
                      <a:pt x="2794" y="5376"/>
                    </a:lnTo>
                    <a:lnTo>
                      <a:pt x="2836" y="5334"/>
                    </a:lnTo>
                    <a:lnTo>
                      <a:pt x="2836" y="5376"/>
                    </a:lnTo>
                    <a:lnTo>
                      <a:pt x="2878" y="5419"/>
                    </a:lnTo>
                    <a:lnTo>
                      <a:pt x="2921" y="5376"/>
                    </a:lnTo>
                    <a:lnTo>
                      <a:pt x="2921" y="5334"/>
                    </a:lnTo>
                    <a:lnTo>
                      <a:pt x="2921" y="5292"/>
                    </a:lnTo>
                    <a:lnTo>
                      <a:pt x="2963" y="5292"/>
                    </a:lnTo>
                    <a:lnTo>
                      <a:pt x="3005" y="5249"/>
                    </a:lnTo>
                    <a:lnTo>
                      <a:pt x="3005" y="5165"/>
                    </a:lnTo>
                    <a:lnTo>
                      <a:pt x="3048" y="5122"/>
                    </a:lnTo>
                    <a:lnTo>
                      <a:pt x="3090" y="5080"/>
                    </a:lnTo>
                    <a:lnTo>
                      <a:pt x="3132" y="5038"/>
                    </a:lnTo>
                    <a:lnTo>
                      <a:pt x="3175" y="5038"/>
                    </a:lnTo>
                    <a:lnTo>
                      <a:pt x="3217" y="5038"/>
                    </a:lnTo>
                    <a:lnTo>
                      <a:pt x="3217" y="4995"/>
                    </a:lnTo>
                    <a:lnTo>
                      <a:pt x="3259" y="4953"/>
                    </a:lnTo>
                    <a:lnTo>
                      <a:pt x="3259" y="4911"/>
                    </a:lnTo>
                    <a:lnTo>
                      <a:pt x="3344" y="4826"/>
                    </a:lnTo>
                    <a:lnTo>
                      <a:pt x="3302" y="4826"/>
                    </a:lnTo>
                    <a:lnTo>
                      <a:pt x="3259" y="4826"/>
                    </a:lnTo>
                    <a:lnTo>
                      <a:pt x="3217" y="4784"/>
                    </a:lnTo>
                    <a:lnTo>
                      <a:pt x="3217" y="4826"/>
                    </a:lnTo>
                    <a:lnTo>
                      <a:pt x="3132" y="4784"/>
                    </a:lnTo>
                    <a:lnTo>
                      <a:pt x="3132" y="4741"/>
                    </a:lnTo>
                    <a:lnTo>
                      <a:pt x="3132" y="4699"/>
                    </a:lnTo>
                    <a:lnTo>
                      <a:pt x="3132" y="4657"/>
                    </a:lnTo>
                    <a:lnTo>
                      <a:pt x="3175" y="4614"/>
                    </a:lnTo>
                    <a:lnTo>
                      <a:pt x="3175" y="4572"/>
                    </a:lnTo>
                    <a:lnTo>
                      <a:pt x="3132" y="4572"/>
                    </a:lnTo>
                    <a:lnTo>
                      <a:pt x="3090" y="4614"/>
                    </a:lnTo>
                    <a:lnTo>
                      <a:pt x="3048" y="4572"/>
                    </a:lnTo>
                    <a:lnTo>
                      <a:pt x="3132" y="4530"/>
                    </a:lnTo>
                    <a:lnTo>
                      <a:pt x="3217" y="4530"/>
                    </a:lnTo>
                    <a:lnTo>
                      <a:pt x="3217" y="4487"/>
                    </a:lnTo>
                    <a:lnTo>
                      <a:pt x="3175" y="4445"/>
                    </a:lnTo>
                    <a:lnTo>
                      <a:pt x="3175" y="4403"/>
                    </a:lnTo>
                    <a:lnTo>
                      <a:pt x="3175" y="4360"/>
                    </a:lnTo>
                    <a:lnTo>
                      <a:pt x="3217" y="4318"/>
                    </a:lnTo>
                    <a:lnTo>
                      <a:pt x="3259" y="4360"/>
                    </a:lnTo>
                    <a:lnTo>
                      <a:pt x="3259" y="4318"/>
                    </a:lnTo>
                    <a:lnTo>
                      <a:pt x="3302" y="4276"/>
                    </a:lnTo>
                    <a:lnTo>
                      <a:pt x="3344" y="4191"/>
                    </a:lnTo>
                    <a:lnTo>
                      <a:pt x="3302" y="4191"/>
                    </a:lnTo>
                    <a:lnTo>
                      <a:pt x="3302" y="4106"/>
                    </a:lnTo>
                    <a:lnTo>
                      <a:pt x="3259" y="4106"/>
                    </a:lnTo>
                    <a:lnTo>
                      <a:pt x="3259" y="4064"/>
                    </a:lnTo>
                    <a:lnTo>
                      <a:pt x="3217" y="4022"/>
                    </a:lnTo>
                    <a:lnTo>
                      <a:pt x="3217" y="3979"/>
                    </a:lnTo>
                    <a:lnTo>
                      <a:pt x="3175" y="3895"/>
                    </a:lnTo>
                    <a:lnTo>
                      <a:pt x="3175" y="3852"/>
                    </a:lnTo>
                    <a:lnTo>
                      <a:pt x="3090" y="3725"/>
                    </a:lnTo>
                    <a:lnTo>
                      <a:pt x="3090" y="3683"/>
                    </a:lnTo>
                    <a:lnTo>
                      <a:pt x="3048" y="3641"/>
                    </a:lnTo>
                    <a:lnTo>
                      <a:pt x="3048" y="3556"/>
                    </a:lnTo>
                    <a:lnTo>
                      <a:pt x="3005" y="3471"/>
                    </a:lnTo>
                    <a:lnTo>
                      <a:pt x="3005" y="3429"/>
                    </a:lnTo>
                    <a:lnTo>
                      <a:pt x="2963" y="3387"/>
                    </a:lnTo>
                    <a:lnTo>
                      <a:pt x="3005" y="3344"/>
                    </a:lnTo>
                    <a:lnTo>
                      <a:pt x="2963" y="3302"/>
                    </a:lnTo>
                    <a:lnTo>
                      <a:pt x="2963" y="3260"/>
                    </a:lnTo>
                    <a:lnTo>
                      <a:pt x="2963" y="3217"/>
                    </a:lnTo>
                    <a:lnTo>
                      <a:pt x="2963" y="3175"/>
                    </a:lnTo>
                    <a:lnTo>
                      <a:pt x="2963" y="3090"/>
                    </a:lnTo>
                    <a:lnTo>
                      <a:pt x="2963" y="3048"/>
                    </a:lnTo>
                    <a:lnTo>
                      <a:pt x="3005" y="3048"/>
                    </a:lnTo>
                    <a:lnTo>
                      <a:pt x="3005" y="3006"/>
                    </a:lnTo>
                    <a:lnTo>
                      <a:pt x="3048" y="3006"/>
                    </a:lnTo>
                    <a:lnTo>
                      <a:pt x="3090" y="2963"/>
                    </a:lnTo>
                    <a:lnTo>
                      <a:pt x="3132" y="2963"/>
                    </a:lnTo>
                    <a:lnTo>
                      <a:pt x="3175" y="2963"/>
                    </a:lnTo>
                    <a:lnTo>
                      <a:pt x="3175" y="3006"/>
                    </a:lnTo>
                    <a:lnTo>
                      <a:pt x="3217" y="3048"/>
                    </a:lnTo>
                    <a:lnTo>
                      <a:pt x="3217" y="3006"/>
                    </a:lnTo>
                    <a:lnTo>
                      <a:pt x="3259" y="2963"/>
                    </a:lnTo>
                    <a:lnTo>
                      <a:pt x="3302" y="2963"/>
                    </a:lnTo>
                    <a:lnTo>
                      <a:pt x="3344" y="2963"/>
                    </a:lnTo>
                    <a:lnTo>
                      <a:pt x="3386" y="2963"/>
                    </a:lnTo>
                    <a:lnTo>
                      <a:pt x="3429" y="3006"/>
                    </a:lnTo>
                    <a:lnTo>
                      <a:pt x="3471" y="3048"/>
                    </a:lnTo>
                    <a:lnTo>
                      <a:pt x="3513" y="3048"/>
                    </a:lnTo>
                    <a:lnTo>
                      <a:pt x="3556" y="3090"/>
                    </a:lnTo>
                    <a:lnTo>
                      <a:pt x="3556" y="3133"/>
                    </a:lnTo>
                    <a:lnTo>
                      <a:pt x="3640" y="3133"/>
                    </a:lnTo>
                    <a:lnTo>
                      <a:pt x="3683" y="3133"/>
                    </a:lnTo>
                    <a:lnTo>
                      <a:pt x="3725" y="3133"/>
                    </a:lnTo>
                    <a:lnTo>
                      <a:pt x="3767" y="3090"/>
                    </a:lnTo>
                    <a:lnTo>
                      <a:pt x="3852" y="3006"/>
                    </a:lnTo>
                    <a:lnTo>
                      <a:pt x="3894" y="3006"/>
                    </a:lnTo>
                    <a:lnTo>
                      <a:pt x="3979" y="3006"/>
                    </a:lnTo>
                    <a:lnTo>
                      <a:pt x="3979" y="2963"/>
                    </a:lnTo>
                    <a:lnTo>
                      <a:pt x="4021" y="2921"/>
                    </a:lnTo>
                    <a:lnTo>
                      <a:pt x="4064" y="2921"/>
                    </a:lnTo>
                    <a:lnTo>
                      <a:pt x="4064" y="2879"/>
                    </a:lnTo>
                    <a:lnTo>
                      <a:pt x="4148" y="2836"/>
                    </a:lnTo>
                    <a:lnTo>
                      <a:pt x="4148" y="2794"/>
                    </a:lnTo>
                    <a:lnTo>
                      <a:pt x="4191" y="2752"/>
                    </a:lnTo>
                    <a:lnTo>
                      <a:pt x="4191" y="2667"/>
                    </a:lnTo>
                    <a:lnTo>
                      <a:pt x="4191" y="2625"/>
                    </a:lnTo>
                    <a:lnTo>
                      <a:pt x="4233" y="2540"/>
                    </a:lnTo>
                    <a:lnTo>
                      <a:pt x="4275" y="2540"/>
                    </a:lnTo>
                    <a:lnTo>
                      <a:pt x="4318" y="2540"/>
                    </a:lnTo>
                    <a:lnTo>
                      <a:pt x="4360" y="2540"/>
                    </a:lnTo>
                    <a:lnTo>
                      <a:pt x="4402" y="2498"/>
                    </a:lnTo>
                    <a:lnTo>
                      <a:pt x="4445" y="2498"/>
                    </a:lnTo>
                    <a:lnTo>
                      <a:pt x="4402" y="2455"/>
                    </a:lnTo>
                    <a:lnTo>
                      <a:pt x="4445" y="2455"/>
                    </a:lnTo>
                    <a:lnTo>
                      <a:pt x="4487" y="2413"/>
                    </a:lnTo>
                    <a:lnTo>
                      <a:pt x="4529" y="2371"/>
                    </a:lnTo>
                    <a:lnTo>
                      <a:pt x="4487" y="2328"/>
                    </a:lnTo>
                    <a:lnTo>
                      <a:pt x="4445" y="2286"/>
                    </a:lnTo>
                    <a:lnTo>
                      <a:pt x="4445" y="2244"/>
                    </a:lnTo>
                    <a:lnTo>
                      <a:pt x="4445" y="2201"/>
                    </a:lnTo>
                    <a:lnTo>
                      <a:pt x="4445" y="2159"/>
                    </a:lnTo>
                    <a:lnTo>
                      <a:pt x="4445" y="2117"/>
                    </a:lnTo>
                    <a:lnTo>
                      <a:pt x="4445" y="2074"/>
                    </a:lnTo>
                    <a:lnTo>
                      <a:pt x="4445" y="2032"/>
                    </a:lnTo>
                    <a:lnTo>
                      <a:pt x="4402" y="2032"/>
                    </a:lnTo>
                    <a:lnTo>
                      <a:pt x="4360" y="1990"/>
                    </a:lnTo>
                    <a:lnTo>
                      <a:pt x="4275" y="1947"/>
                    </a:lnTo>
                    <a:lnTo>
                      <a:pt x="4148" y="1947"/>
                    </a:lnTo>
                    <a:lnTo>
                      <a:pt x="4106" y="1947"/>
                    </a:lnTo>
                    <a:lnTo>
                      <a:pt x="4064" y="1905"/>
                    </a:lnTo>
                    <a:lnTo>
                      <a:pt x="3979" y="1905"/>
                    </a:lnTo>
                    <a:lnTo>
                      <a:pt x="3937" y="1905"/>
                    </a:lnTo>
                    <a:lnTo>
                      <a:pt x="3894" y="1990"/>
                    </a:lnTo>
                    <a:lnTo>
                      <a:pt x="3852" y="2032"/>
                    </a:lnTo>
                    <a:lnTo>
                      <a:pt x="3852" y="2074"/>
                    </a:lnTo>
                    <a:lnTo>
                      <a:pt x="3810" y="2032"/>
                    </a:lnTo>
                    <a:lnTo>
                      <a:pt x="3767" y="2032"/>
                    </a:lnTo>
                    <a:lnTo>
                      <a:pt x="3725" y="2032"/>
                    </a:lnTo>
                    <a:lnTo>
                      <a:pt x="3683" y="2032"/>
                    </a:lnTo>
                    <a:lnTo>
                      <a:pt x="3598" y="1947"/>
                    </a:lnTo>
                    <a:lnTo>
                      <a:pt x="3556" y="1905"/>
                    </a:lnTo>
                    <a:lnTo>
                      <a:pt x="3513" y="1863"/>
                    </a:lnTo>
                    <a:lnTo>
                      <a:pt x="3556" y="1778"/>
                    </a:lnTo>
                    <a:lnTo>
                      <a:pt x="3513" y="1778"/>
                    </a:lnTo>
                    <a:lnTo>
                      <a:pt x="3471" y="1736"/>
                    </a:lnTo>
                    <a:lnTo>
                      <a:pt x="3429" y="1736"/>
                    </a:lnTo>
                    <a:lnTo>
                      <a:pt x="3513" y="1101"/>
                    </a:lnTo>
                    <a:lnTo>
                      <a:pt x="3429" y="974"/>
                    </a:lnTo>
                    <a:lnTo>
                      <a:pt x="3302" y="720"/>
                    </a:lnTo>
                    <a:lnTo>
                      <a:pt x="3302" y="677"/>
                    </a:lnTo>
                    <a:lnTo>
                      <a:pt x="3259" y="635"/>
                    </a:lnTo>
                    <a:lnTo>
                      <a:pt x="3132" y="381"/>
                    </a:lnTo>
                    <a:lnTo>
                      <a:pt x="3090" y="381"/>
                    </a:lnTo>
                    <a:lnTo>
                      <a:pt x="3090" y="296"/>
                    </a:lnTo>
                    <a:lnTo>
                      <a:pt x="3048" y="254"/>
                    </a:lnTo>
                    <a:lnTo>
                      <a:pt x="3005" y="254"/>
                    </a:lnTo>
                    <a:lnTo>
                      <a:pt x="2963" y="296"/>
                    </a:lnTo>
                    <a:lnTo>
                      <a:pt x="2921" y="296"/>
                    </a:lnTo>
                    <a:lnTo>
                      <a:pt x="2878" y="254"/>
                    </a:lnTo>
                    <a:lnTo>
                      <a:pt x="2836" y="254"/>
                    </a:lnTo>
                    <a:lnTo>
                      <a:pt x="2794" y="296"/>
                    </a:lnTo>
                    <a:lnTo>
                      <a:pt x="2709" y="296"/>
                    </a:lnTo>
                    <a:lnTo>
                      <a:pt x="2624" y="381"/>
                    </a:lnTo>
                    <a:lnTo>
                      <a:pt x="2624" y="423"/>
                    </a:lnTo>
                    <a:lnTo>
                      <a:pt x="2540" y="550"/>
                    </a:lnTo>
                    <a:lnTo>
                      <a:pt x="2497" y="550"/>
                    </a:lnTo>
                    <a:lnTo>
                      <a:pt x="2413" y="593"/>
                    </a:lnTo>
                    <a:lnTo>
                      <a:pt x="2370" y="635"/>
                    </a:lnTo>
                    <a:lnTo>
                      <a:pt x="2201" y="720"/>
                    </a:lnTo>
                    <a:lnTo>
                      <a:pt x="2159" y="677"/>
                    </a:lnTo>
                    <a:lnTo>
                      <a:pt x="2032" y="593"/>
                    </a:lnTo>
                    <a:lnTo>
                      <a:pt x="1989" y="593"/>
                    </a:lnTo>
                    <a:lnTo>
                      <a:pt x="1862" y="508"/>
                    </a:lnTo>
                    <a:lnTo>
                      <a:pt x="1820" y="466"/>
                    </a:lnTo>
                    <a:lnTo>
                      <a:pt x="1778" y="423"/>
                    </a:lnTo>
                    <a:lnTo>
                      <a:pt x="1735" y="339"/>
                    </a:lnTo>
                    <a:lnTo>
                      <a:pt x="1735" y="254"/>
                    </a:lnTo>
                    <a:lnTo>
                      <a:pt x="1735" y="169"/>
                    </a:lnTo>
                    <a:lnTo>
                      <a:pt x="1778" y="85"/>
                    </a:lnTo>
                    <a:lnTo>
                      <a:pt x="1778" y="42"/>
                    </a:lnTo>
                    <a:lnTo>
                      <a:pt x="1735" y="42"/>
                    </a:lnTo>
                    <a:lnTo>
                      <a:pt x="1735" y="85"/>
                    </a:lnTo>
                    <a:lnTo>
                      <a:pt x="1693" y="85"/>
                    </a:lnTo>
                    <a:lnTo>
                      <a:pt x="1651" y="85"/>
                    </a:lnTo>
                    <a:lnTo>
                      <a:pt x="1651" y="42"/>
                    </a:lnTo>
                    <a:lnTo>
                      <a:pt x="1651" y="0"/>
                    </a:lnTo>
                    <a:lnTo>
                      <a:pt x="1566" y="0"/>
                    </a:lnTo>
                    <a:lnTo>
                      <a:pt x="1481" y="0"/>
                    </a:lnTo>
                    <a:lnTo>
                      <a:pt x="1439" y="0"/>
                    </a:lnTo>
                    <a:lnTo>
                      <a:pt x="1397" y="0"/>
                    </a:lnTo>
                    <a:close/>
                    <a:moveTo>
                      <a:pt x="1778" y="42"/>
                    </a:moveTo>
                    <a:lnTo>
                      <a:pt x="1778" y="0"/>
                    </a:lnTo>
                    <a:lnTo>
                      <a:pt x="1735" y="0"/>
                    </a:lnTo>
                    <a:lnTo>
                      <a:pt x="1778" y="42"/>
                    </a:lnTo>
                    <a:close/>
                    <a:moveTo>
                      <a:pt x="3090" y="296"/>
                    </a:moveTo>
                    <a:lnTo>
                      <a:pt x="3132" y="339"/>
                    </a:lnTo>
                    <a:lnTo>
                      <a:pt x="3132" y="254"/>
                    </a:lnTo>
                    <a:lnTo>
                      <a:pt x="3090" y="254"/>
                    </a:lnTo>
                    <a:lnTo>
                      <a:pt x="3090" y="296"/>
                    </a:lnTo>
                    <a:close/>
                    <a:moveTo>
                      <a:pt x="2709" y="5461"/>
                    </a:moveTo>
                    <a:lnTo>
                      <a:pt x="2709" y="5503"/>
                    </a:lnTo>
                    <a:lnTo>
                      <a:pt x="2751" y="5503"/>
                    </a:lnTo>
                    <a:lnTo>
                      <a:pt x="2709" y="5461"/>
                    </a:lnTo>
                    <a:close/>
                    <a:moveTo>
                      <a:pt x="3327" y="2531"/>
                    </a:moveTo>
                    <a:lnTo>
                      <a:pt x="3331" y="2533"/>
                    </a:lnTo>
                    <a:lnTo>
                      <a:pt x="3304" y="2545"/>
                    </a:lnTo>
                    <a:lnTo>
                      <a:pt x="3327" y="2531"/>
                    </a:lnTo>
                    <a:close/>
                    <a:moveTo>
                      <a:pt x="3204" y="2618"/>
                    </a:moveTo>
                    <a:lnTo>
                      <a:pt x="3195" y="2625"/>
                    </a:lnTo>
                    <a:lnTo>
                      <a:pt x="3195" y="2625"/>
                    </a:lnTo>
                    <a:lnTo>
                      <a:pt x="3204" y="2618"/>
                    </a:lnTo>
                    <a:close/>
                    <a:moveTo>
                      <a:pt x="3195" y="2640"/>
                    </a:moveTo>
                    <a:lnTo>
                      <a:pt x="3199" y="2667"/>
                    </a:lnTo>
                    <a:lnTo>
                      <a:pt x="3135" y="2677"/>
                    </a:lnTo>
                    <a:lnTo>
                      <a:pt x="3134" y="2676"/>
                    </a:lnTo>
                    <a:lnTo>
                      <a:pt x="3048" y="2709"/>
                    </a:lnTo>
                    <a:lnTo>
                      <a:pt x="3132" y="2676"/>
                    </a:lnTo>
                    <a:lnTo>
                      <a:pt x="3134" y="2676"/>
                    </a:lnTo>
                    <a:lnTo>
                      <a:pt x="3195" y="2666"/>
                    </a:lnTo>
                    <a:lnTo>
                      <a:pt x="3195" y="2640"/>
                    </a:lnTo>
                    <a:close/>
                    <a:moveTo>
                      <a:pt x="3429" y="4530"/>
                    </a:moveTo>
                    <a:lnTo>
                      <a:pt x="3429" y="4572"/>
                    </a:lnTo>
                    <a:lnTo>
                      <a:pt x="3429" y="4614"/>
                    </a:lnTo>
                    <a:lnTo>
                      <a:pt x="3386" y="4699"/>
                    </a:lnTo>
                    <a:lnTo>
                      <a:pt x="3429" y="4699"/>
                    </a:lnTo>
                    <a:lnTo>
                      <a:pt x="3471" y="4657"/>
                    </a:lnTo>
                    <a:lnTo>
                      <a:pt x="3513" y="4657"/>
                    </a:lnTo>
                    <a:lnTo>
                      <a:pt x="3556" y="4614"/>
                    </a:lnTo>
                    <a:lnTo>
                      <a:pt x="3598" y="4614"/>
                    </a:lnTo>
                    <a:lnTo>
                      <a:pt x="3598" y="4572"/>
                    </a:lnTo>
                    <a:lnTo>
                      <a:pt x="3513" y="4614"/>
                    </a:lnTo>
                    <a:lnTo>
                      <a:pt x="3471" y="4572"/>
                    </a:lnTo>
                    <a:lnTo>
                      <a:pt x="3429" y="4530"/>
                    </a:lnTo>
                    <a:close/>
                    <a:moveTo>
                      <a:pt x="4572" y="6011"/>
                    </a:moveTo>
                    <a:lnTo>
                      <a:pt x="4572" y="6054"/>
                    </a:lnTo>
                    <a:lnTo>
                      <a:pt x="4614" y="6054"/>
                    </a:lnTo>
                    <a:lnTo>
                      <a:pt x="4572" y="6011"/>
                    </a:lnTo>
                    <a:close/>
                  </a:path>
                </a:pathLst>
              </a:custGeom>
              <a:grpFill/>
              <a:ln w="12700" cap="flat" cmpd="sng">
                <a:solidFill>
                  <a:schemeClr val="tx1"/>
                </a:solidFill>
                <a:prstDash val="solid"/>
                <a:bevel/>
                <a:headEnd/>
                <a:tailEnd/>
              </a:ln>
            </p:spPr>
            <p:txBody>
              <a:bodyPr/>
              <a:lstStyle/>
              <a:p>
                <a:endParaRPr lang="nl-NL"/>
              </a:p>
            </p:txBody>
          </p:sp>
          <p:sp>
            <p:nvSpPr>
              <p:cNvPr id="147" name="Freeform 539">
                <a:extLst>
                  <a:ext uri="{FF2B5EF4-FFF2-40B4-BE49-F238E27FC236}">
                    <a16:creationId xmlns:a16="http://schemas.microsoft.com/office/drawing/2014/main" id="{3A723085-7AA0-7C4C-5337-000E5BA243EA}"/>
                  </a:ext>
                </a:extLst>
              </p:cNvPr>
              <p:cNvSpPr>
                <a:spLocks/>
              </p:cNvSpPr>
              <p:nvPr/>
            </p:nvSpPr>
            <p:spPr bwMode="auto">
              <a:xfrm>
                <a:off x="1728" y="-106"/>
                <a:ext cx="258" cy="428"/>
              </a:xfrm>
              <a:custGeom>
                <a:avLst/>
                <a:gdLst/>
                <a:ahLst/>
                <a:cxnLst>
                  <a:cxn ang="0">
                    <a:pos x="762" y="1355"/>
                  </a:cxn>
                  <a:cxn ang="0">
                    <a:pos x="677" y="1397"/>
                  </a:cxn>
                  <a:cxn ang="0">
                    <a:pos x="593" y="1397"/>
                  </a:cxn>
                  <a:cxn ang="0">
                    <a:pos x="466" y="1609"/>
                  </a:cxn>
                  <a:cxn ang="0">
                    <a:pos x="466" y="1651"/>
                  </a:cxn>
                  <a:cxn ang="0">
                    <a:pos x="381" y="1651"/>
                  </a:cxn>
                  <a:cxn ang="0">
                    <a:pos x="254" y="1567"/>
                  </a:cxn>
                  <a:cxn ang="0">
                    <a:pos x="254" y="1609"/>
                  </a:cxn>
                  <a:cxn ang="0">
                    <a:pos x="296" y="1651"/>
                  </a:cxn>
                  <a:cxn ang="0">
                    <a:pos x="381" y="1694"/>
                  </a:cxn>
                  <a:cxn ang="0">
                    <a:pos x="296" y="1694"/>
                  </a:cxn>
                  <a:cxn ang="0">
                    <a:pos x="296" y="1736"/>
                  </a:cxn>
                  <a:cxn ang="0">
                    <a:pos x="212" y="1736"/>
                  </a:cxn>
                  <a:cxn ang="0">
                    <a:pos x="212" y="1736"/>
                  </a:cxn>
                  <a:cxn ang="0">
                    <a:pos x="127" y="1778"/>
                  </a:cxn>
                  <a:cxn ang="0">
                    <a:pos x="42" y="1821"/>
                  </a:cxn>
                  <a:cxn ang="0">
                    <a:pos x="42" y="1694"/>
                  </a:cxn>
                  <a:cxn ang="0">
                    <a:pos x="0" y="1440"/>
                  </a:cxn>
                  <a:cxn ang="0">
                    <a:pos x="42" y="1270"/>
                  </a:cxn>
                  <a:cxn ang="0">
                    <a:pos x="42" y="1228"/>
                  </a:cxn>
                  <a:cxn ang="0">
                    <a:pos x="127" y="974"/>
                  </a:cxn>
                  <a:cxn ang="0">
                    <a:pos x="212" y="805"/>
                  </a:cxn>
                  <a:cxn ang="0">
                    <a:pos x="381" y="508"/>
                  </a:cxn>
                  <a:cxn ang="0">
                    <a:pos x="508" y="381"/>
                  </a:cxn>
                  <a:cxn ang="0">
                    <a:pos x="508" y="424"/>
                  </a:cxn>
                  <a:cxn ang="0">
                    <a:pos x="550" y="424"/>
                  </a:cxn>
                  <a:cxn ang="0">
                    <a:pos x="550" y="424"/>
                  </a:cxn>
                  <a:cxn ang="0">
                    <a:pos x="593" y="381"/>
                  </a:cxn>
                  <a:cxn ang="0">
                    <a:pos x="677" y="339"/>
                  </a:cxn>
                  <a:cxn ang="0">
                    <a:pos x="677" y="339"/>
                  </a:cxn>
                  <a:cxn ang="0">
                    <a:pos x="635" y="339"/>
                  </a:cxn>
                  <a:cxn ang="0">
                    <a:pos x="593" y="339"/>
                  </a:cxn>
                  <a:cxn ang="0">
                    <a:pos x="508" y="381"/>
                  </a:cxn>
                  <a:cxn ang="0">
                    <a:pos x="635" y="127"/>
                  </a:cxn>
                  <a:cxn ang="0">
                    <a:pos x="762" y="43"/>
                  </a:cxn>
                  <a:cxn ang="0">
                    <a:pos x="804" y="0"/>
                  </a:cxn>
                  <a:cxn ang="0">
                    <a:pos x="847" y="0"/>
                  </a:cxn>
                  <a:cxn ang="0">
                    <a:pos x="931" y="85"/>
                  </a:cxn>
                  <a:cxn ang="0">
                    <a:pos x="931" y="170"/>
                  </a:cxn>
                  <a:cxn ang="0">
                    <a:pos x="931" y="170"/>
                  </a:cxn>
                  <a:cxn ang="0">
                    <a:pos x="931" y="212"/>
                  </a:cxn>
                  <a:cxn ang="0">
                    <a:pos x="974" y="254"/>
                  </a:cxn>
                  <a:cxn ang="0">
                    <a:pos x="1101" y="424"/>
                  </a:cxn>
                  <a:cxn ang="0">
                    <a:pos x="1101" y="466"/>
                  </a:cxn>
                  <a:cxn ang="0">
                    <a:pos x="1101" y="466"/>
                  </a:cxn>
                  <a:cxn ang="0">
                    <a:pos x="1058" y="762"/>
                  </a:cxn>
                  <a:cxn ang="0">
                    <a:pos x="1058" y="932"/>
                  </a:cxn>
                  <a:cxn ang="0">
                    <a:pos x="974" y="1016"/>
                  </a:cxn>
                  <a:cxn ang="0">
                    <a:pos x="931" y="1059"/>
                  </a:cxn>
                  <a:cxn ang="0">
                    <a:pos x="931" y="1143"/>
                  </a:cxn>
                  <a:cxn ang="0">
                    <a:pos x="847" y="1270"/>
                  </a:cxn>
                </a:cxnLst>
                <a:rect l="0" t="0" r="r" b="b"/>
                <a:pathLst>
                  <a:path w="1101" h="1821">
                    <a:moveTo>
                      <a:pt x="847" y="1270"/>
                    </a:moveTo>
                    <a:lnTo>
                      <a:pt x="762" y="1355"/>
                    </a:lnTo>
                    <a:lnTo>
                      <a:pt x="720" y="1397"/>
                    </a:lnTo>
                    <a:lnTo>
                      <a:pt x="677" y="1397"/>
                    </a:lnTo>
                    <a:lnTo>
                      <a:pt x="635" y="1397"/>
                    </a:lnTo>
                    <a:lnTo>
                      <a:pt x="593" y="1397"/>
                    </a:lnTo>
                    <a:lnTo>
                      <a:pt x="466" y="1567"/>
                    </a:lnTo>
                    <a:lnTo>
                      <a:pt x="466" y="1609"/>
                    </a:lnTo>
                    <a:lnTo>
                      <a:pt x="466" y="1609"/>
                    </a:lnTo>
                    <a:lnTo>
                      <a:pt x="466" y="1651"/>
                    </a:lnTo>
                    <a:lnTo>
                      <a:pt x="423" y="1651"/>
                    </a:lnTo>
                    <a:lnTo>
                      <a:pt x="381" y="1651"/>
                    </a:lnTo>
                    <a:lnTo>
                      <a:pt x="339" y="1609"/>
                    </a:lnTo>
                    <a:lnTo>
                      <a:pt x="254" y="1567"/>
                    </a:lnTo>
                    <a:lnTo>
                      <a:pt x="212" y="1567"/>
                    </a:lnTo>
                    <a:lnTo>
                      <a:pt x="254" y="1609"/>
                    </a:lnTo>
                    <a:lnTo>
                      <a:pt x="296" y="1651"/>
                    </a:lnTo>
                    <a:lnTo>
                      <a:pt x="296" y="1651"/>
                    </a:lnTo>
                    <a:lnTo>
                      <a:pt x="339" y="1694"/>
                    </a:lnTo>
                    <a:lnTo>
                      <a:pt x="381" y="1694"/>
                    </a:lnTo>
                    <a:lnTo>
                      <a:pt x="296" y="1694"/>
                    </a:lnTo>
                    <a:lnTo>
                      <a:pt x="296" y="1694"/>
                    </a:lnTo>
                    <a:lnTo>
                      <a:pt x="296" y="1736"/>
                    </a:lnTo>
                    <a:lnTo>
                      <a:pt x="296" y="1736"/>
                    </a:lnTo>
                    <a:lnTo>
                      <a:pt x="296" y="1736"/>
                    </a:lnTo>
                    <a:lnTo>
                      <a:pt x="212" y="1736"/>
                    </a:lnTo>
                    <a:lnTo>
                      <a:pt x="169" y="1736"/>
                    </a:lnTo>
                    <a:lnTo>
                      <a:pt x="212" y="1736"/>
                    </a:lnTo>
                    <a:lnTo>
                      <a:pt x="169" y="1778"/>
                    </a:lnTo>
                    <a:lnTo>
                      <a:pt x="127" y="1778"/>
                    </a:lnTo>
                    <a:lnTo>
                      <a:pt x="85" y="1821"/>
                    </a:lnTo>
                    <a:lnTo>
                      <a:pt x="42" y="1821"/>
                    </a:lnTo>
                    <a:lnTo>
                      <a:pt x="42" y="1778"/>
                    </a:lnTo>
                    <a:lnTo>
                      <a:pt x="42" y="1694"/>
                    </a:lnTo>
                    <a:lnTo>
                      <a:pt x="0" y="1524"/>
                    </a:lnTo>
                    <a:lnTo>
                      <a:pt x="0" y="1440"/>
                    </a:lnTo>
                    <a:lnTo>
                      <a:pt x="0" y="1397"/>
                    </a:lnTo>
                    <a:lnTo>
                      <a:pt x="42" y="1270"/>
                    </a:lnTo>
                    <a:lnTo>
                      <a:pt x="42" y="1228"/>
                    </a:lnTo>
                    <a:lnTo>
                      <a:pt x="42" y="1228"/>
                    </a:lnTo>
                    <a:lnTo>
                      <a:pt x="85" y="1101"/>
                    </a:lnTo>
                    <a:lnTo>
                      <a:pt x="127" y="974"/>
                    </a:lnTo>
                    <a:lnTo>
                      <a:pt x="169" y="847"/>
                    </a:lnTo>
                    <a:lnTo>
                      <a:pt x="212" y="805"/>
                    </a:lnTo>
                    <a:lnTo>
                      <a:pt x="296" y="678"/>
                    </a:lnTo>
                    <a:lnTo>
                      <a:pt x="381" y="508"/>
                    </a:lnTo>
                    <a:lnTo>
                      <a:pt x="508" y="381"/>
                    </a:lnTo>
                    <a:lnTo>
                      <a:pt x="508" y="381"/>
                    </a:lnTo>
                    <a:lnTo>
                      <a:pt x="508" y="381"/>
                    </a:lnTo>
                    <a:lnTo>
                      <a:pt x="508" y="424"/>
                    </a:lnTo>
                    <a:lnTo>
                      <a:pt x="508" y="466"/>
                    </a:lnTo>
                    <a:lnTo>
                      <a:pt x="550" y="424"/>
                    </a:lnTo>
                    <a:lnTo>
                      <a:pt x="550" y="424"/>
                    </a:lnTo>
                    <a:lnTo>
                      <a:pt x="550" y="424"/>
                    </a:lnTo>
                    <a:lnTo>
                      <a:pt x="593" y="381"/>
                    </a:lnTo>
                    <a:lnTo>
                      <a:pt x="593" y="381"/>
                    </a:lnTo>
                    <a:lnTo>
                      <a:pt x="635" y="339"/>
                    </a:lnTo>
                    <a:lnTo>
                      <a:pt x="677" y="339"/>
                    </a:lnTo>
                    <a:lnTo>
                      <a:pt x="677" y="381"/>
                    </a:lnTo>
                    <a:lnTo>
                      <a:pt x="677" y="339"/>
                    </a:lnTo>
                    <a:lnTo>
                      <a:pt x="677" y="339"/>
                    </a:lnTo>
                    <a:lnTo>
                      <a:pt x="635" y="339"/>
                    </a:lnTo>
                    <a:lnTo>
                      <a:pt x="635" y="297"/>
                    </a:lnTo>
                    <a:lnTo>
                      <a:pt x="593" y="339"/>
                    </a:lnTo>
                    <a:lnTo>
                      <a:pt x="593" y="339"/>
                    </a:lnTo>
                    <a:lnTo>
                      <a:pt x="508" y="381"/>
                    </a:lnTo>
                    <a:lnTo>
                      <a:pt x="508" y="381"/>
                    </a:lnTo>
                    <a:lnTo>
                      <a:pt x="635" y="127"/>
                    </a:lnTo>
                    <a:lnTo>
                      <a:pt x="677" y="85"/>
                    </a:lnTo>
                    <a:lnTo>
                      <a:pt x="762" y="43"/>
                    </a:lnTo>
                    <a:lnTo>
                      <a:pt x="762" y="0"/>
                    </a:lnTo>
                    <a:lnTo>
                      <a:pt x="804" y="0"/>
                    </a:lnTo>
                    <a:lnTo>
                      <a:pt x="847" y="0"/>
                    </a:lnTo>
                    <a:lnTo>
                      <a:pt x="847" y="0"/>
                    </a:lnTo>
                    <a:lnTo>
                      <a:pt x="889" y="43"/>
                    </a:lnTo>
                    <a:lnTo>
                      <a:pt x="931" y="85"/>
                    </a:lnTo>
                    <a:lnTo>
                      <a:pt x="931" y="127"/>
                    </a:lnTo>
                    <a:lnTo>
                      <a:pt x="931" y="170"/>
                    </a:lnTo>
                    <a:lnTo>
                      <a:pt x="974" y="170"/>
                    </a:lnTo>
                    <a:lnTo>
                      <a:pt x="931" y="170"/>
                    </a:lnTo>
                    <a:lnTo>
                      <a:pt x="931" y="170"/>
                    </a:lnTo>
                    <a:lnTo>
                      <a:pt x="931" y="212"/>
                    </a:lnTo>
                    <a:lnTo>
                      <a:pt x="974" y="254"/>
                    </a:lnTo>
                    <a:lnTo>
                      <a:pt x="974" y="254"/>
                    </a:lnTo>
                    <a:lnTo>
                      <a:pt x="1016" y="297"/>
                    </a:lnTo>
                    <a:lnTo>
                      <a:pt x="1101" y="424"/>
                    </a:lnTo>
                    <a:lnTo>
                      <a:pt x="1101" y="466"/>
                    </a:lnTo>
                    <a:lnTo>
                      <a:pt x="1101" y="466"/>
                    </a:lnTo>
                    <a:lnTo>
                      <a:pt x="1101" y="466"/>
                    </a:lnTo>
                    <a:lnTo>
                      <a:pt x="1101" y="466"/>
                    </a:lnTo>
                    <a:lnTo>
                      <a:pt x="1058" y="508"/>
                    </a:lnTo>
                    <a:lnTo>
                      <a:pt x="1058" y="762"/>
                    </a:lnTo>
                    <a:lnTo>
                      <a:pt x="1058" y="889"/>
                    </a:lnTo>
                    <a:lnTo>
                      <a:pt x="1058" y="932"/>
                    </a:lnTo>
                    <a:lnTo>
                      <a:pt x="1016" y="1016"/>
                    </a:lnTo>
                    <a:lnTo>
                      <a:pt x="974" y="1016"/>
                    </a:lnTo>
                    <a:lnTo>
                      <a:pt x="931" y="1059"/>
                    </a:lnTo>
                    <a:lnTo>
                      <a:pt x="931" y="1059"/>
                    </a:lnTo>
                    <a:lnTo>
                      <a:pt x="931" y="1059"/>
                    </a:lnTo>
                    <a:lnTo>
                      <a:pt x="931" y="1143"/>
                    </a:lnTo>
                    <a:lnTo>
                      <a:pt x="847" y="1228"/>
                    </a:lnTo>
                    <a:lnTo>
                      <a:pt x="847" y="1270"/>
                    </a:lnTo>
                    <a:close/>
                  </a:path>
                </a:pathLst>
              </a:custGeom>
              <a:grpFill/>
              <a:ln w="12700" cap="flat" cmpd="sng">
                <a:solidFill>
                  <a:schemeClr val="tx1"/>
                </a:solidFill>
                <a:prstDash val="solid"/>
                <a:bevel/>
                <a:headEnd/>
                <a:tailEnd/>
              </a:ln>
            </p:spPr>
            <p:txBody>
              <a:bodyPr/>
              <a:lstStyle/>
              <a:p>
                <a:endParaRPr lang="nl-NL"/>
              </a:p>
            </p:txBody>
          </p:sp>
        </p:grpSp>
        <p:sp>
          <p:nvSpPr>
            <p:cNvPr id="124" name="Freeform 540">
              <a:extLst>
                <a:ext uri="{FF2B5EF4-FFF2-40B4-BE49-F238E27FC236}">
                  <a16:creationId xmlns:a16="http://schemas.microsoft.com/office/drawing/2014/main" id="{8E103FF1-9F9E-B8A8-92BB-058A9F4B8B0A}"/>
                </a:ext>
              </a:extLst>
            </p:cNvPr>
            <p:cNvSpPr>
              <a:spLocks noEditPoints="1"/>
            </p:cNvSpPr>
            <p:nvPr/>
          </p:nvSpPr>
          <p:spPr bwMode="auto">
            <a:xfrm>
              <a:off x="2405114" y="7779358"/>
              <a:ext cx="3253981" cy="1712622"/>
            </a:xfrm>
            <a:custGeom>
              <a:avLst/>
              <a:gdLst/>
              <a:ahLst/>
              <a:cxnLst>
                <a:cxn ang="0">
                  <a:pos x="3683" y="254"/>
                </a:cxn>
                <a:cxn ang="0">
                  <a:pos x="3217" y="423"/>
                </a:cxn>
                <a:cxn ang="0">
                  <a:pos x="2751" y="931"/>
                </a:cxn>
                <a:cxn ang="0">
                  <a:pos x="1989" y="1270"/>
                </a:cxn>
                <a:cxn ang="0">
                  <a:pos x="1439" y="1185"/>
                </a:cxn>
                <a:cxn ang="0">
                  <a:pos x="1058" y="1481"/>
                </a:cxn>
                <a:cxn ang="0">
                  <a:pos x="719" y="1608"/>
                </a:cxn>
                <a:cxn ang="0">
                  <a:pos x="338" y="1778"/>
                </a:cxn>
                <a:cxn ang="0">
                  <a:pos x="0" y="1989"/>
                </a:cxn>
                <a:cxn ang="0">
                  <a:pos x="211" y="2624"/>
                </a:cxn>
                <a:cxn ang="0">
                  <a:pos x="381" y="3725"/>
                </a:cxn>
                <a:cxn ang="0">
                  <a:pos x="804" y="4148"/>
                </a:cxn>
                <a:cxn ang="0">
                  <a:pos x="1185" y="4233"/>
                </a:cxn>
                <a:cxn ang="0">
                  <a:pos x="1143" y="3640"/>
                </a:cxn>
                <a:cxn ang="0">
                  <a:pos x="1397" y="3259"/>
                </a:cxn>
                <a:cxn ang="0">
                  <a:pos x="1905" y="3429"/>
                </a:cxn>
                <a:cxn ang="0">
                  <a:pos x="2582" y="3640"/>
                </a:cxn>
                <a:cxn ang="0">
                  <a:pos x="3005" y="3217"/>
                </a:cxn>
                <a:cxn ang="0">
                  <a:pos x="3302" y="2921"/>
                </a:cxn>
                <a:cxn ang="0">
                  <a:pos x="3556" y="3132"/>
                </a:cxn>
                <a:cxn ang="0">
                  <a:pos x="3640" y="3386"/>
                </a:cxn>
                <a:cxn ang="0">
                  <a:pos x="3640" y="3725"/>
                </a:cxn>
                <a:cxn ang="0">
                  <a:pos x="3259" y="3725"/>
                </a:cxn>
                <a:cxn ang="0">
                  <a:pos x="3810" y="3810"/>
                </a:cxn>
                <a:cxn ang="0">
                  <a:pos x="4106" y="3894"/>
                </a:cxn>
                <a:cxn ang="0">
                  <a:pos x="4614" y="3344"/>
                </a:cxn>
                <a:cxn ang="0">
                  <a:pos x="4826" y="3217"/>
                </a:cxn>
                <a:cxn ang="0">
                  <a:pos x="5249" y="4318"/>
                </a:cxn>
                <a:cxn ang="0">
                  <a:pos x="5715" y="4614"/>
                </a:cxn>
                <a:cxn ang="0">
                  <a:pos x="6519" y="5122"/>
                </a:cxn>
                <a:cxn ang="0">
                  <a:pos x="7281" y="4910"/>
                </a:cxn>
                <a:cxn ang="0">
                  <a:pos x="7747" y="5122"/>
                </a:cxn>
                <a:cxn ang="0">
                  <a:pos x="7958" y="5503"/>
                </a:cxn>
                <a:cxn ang="0">
                  <a:pos x="8593" y="4614"/>
                </a:cxn>
                <a:cxn ang="0">
                  <a:pos x="9525" y="4360"/>
                </a:cxn>
                <a:cxn ang="0">
                  <a:pos x="9567" y="3471"/>
                </a:cxn>
                <a:cxn ang="0">
                  <a:pos x="9652" y="2455"/>
                </a:cxn>
                <a:cxn ang="0">
                  <a:pos x="10287" y="2370"/>
                </a:cxn>
                <a:cxn ang="0">
                  <a:pos x="10498" y="2370"/>
                </a:cxn>
                <a:cxn ang="0">
                  <a:pos x="10371" y="1905"/>
                </a:cxn>
                <a:cxn ang="0">
                  <a:pos x="10075" y="1481"/>
                </a:cxn>
                <a:cxn ang="0">
                  <a:pos x="9948" y="1058"/>
                </a:cxn>
                <a:cxn ang="0">
                  <a:pos x="9567" y="719"/>
                </a:cxn>
                <a:cxn ang="0">
                  <a:pos x="9059" y="677"/>
                </a:cxn>
                <a:cxn ang="0">
                  <a:pos x="8720" y="508"/>
                </a:cxn>
                <a:cxn ang="0">
                  <a:pos x="8424" y="338"/>
                </a:cxn>
                <a:cxn ang="0">
                  <a:pos x="8085" y="84"/>
                </a:cxn>
                <a:cxn ang="0">
                  <a:pos x="7704" y="84"/>
                </a:cxn>
                <a:cxn ang="0">
                  <a:pos x="7408" y="0"/>
                </a:cxn>
                <a:cxn ang="0">
                  <a:pos x="7027" y="169"/>
                </a:cxn>
                <a:cxn ang="0">
                  <a:pos x="6773" y="211"/>
                </a:cxn>
                <a:cxn ang="0">
                  <a:pos x="6392" y="762"/>
                </a:cxn>
                <a:cxn ang="0">
                  <a:pos x="5969" y="846"/>
                </a:cxn>
                <a:cxn ang="0">
                  <a:pos x="5503" y="804"/>
                </a:cxn>
                <a:cxn ang="0">
                  <a:pos x="5376" y="635"/>
                </a:cxn>
                <a:cxn ang="0">
                  <a:pos x="5080" y="423"/>
                </a:cxn>
                <a:cxn ang="0">
                  <a:pos x="4868" y="296"/>
                </a:cxn>
                <a:cxn ang="0">
                  <a:pos x="4529" y="84"/>
                </a:cxn>
                <a:cxn ang="0">
                  <a:pos x="4148" y="3937"/>
                </a:cxn>
                <a:cxn ang="0">
                  <a:pos x="1185" y="1185"/>
                </a:cxn>
              </a:cxnLst>
              <a:rect l="0" t="0" r="r" b="b"/>
              <a:pathLst>
                <a:path w="10541" h="5545">
                  <a:moveTo>
                    <a:pt x="4106" y="0"/>
                  </a:moveTo>
                  <a:lnTo>
                    <a:pt x="4064" y="42"/>
                  </a:lnTo>
                  <a:lnTo>
                    <a:pt x="3979" y="84"/>
                  </a:lnTo>
                  <a:lnTo>
                    <a:pt x="3937" y="84"/>
                  </a:lnTo>
                  <a:lnTo>
                    <a:pt x="3852" y="211"/>
                  </a:lnTo>
                  <a:lnTo>
                    <a:pt x="3810" y="211"/>
                  </a:lnTo>
                  <a:lnTo>
                    <a:pt x="3725" y="254"/>
                  </a:lnTo>
                  <a:lnTo>
                    <a:pt x="3683" y="254"/>
                  </a:lnTo>
                  <a:lnTo>
                    <a:pt x="3598" y="254"/>
                  </a:lnTo>
                  <a:lnTo>
                    <a:pt x="3513" y="254"/>
                  </a:lnTo>
                  <a:lnTo>
                    <a:pt x="3429" y="254"/>
                  </a:lnTo>
                  <a:lnTo>
                    <a:pt x="3344" y="296"/>
                  </a:lnTo>
                  <a:lnTo>
                    <a:pt x="3302" y="296"/>
                  </a:lnTo>
                  <a:lnTo>
                    <a:pt x="3259" y="338"/>
                  </a:lnTo>
                  <a:lnTo>
                    <a:pt x="3259" y="381"/>
                  </a:lnTo>
                  <a:lnTo>
                    <a:pt x="3217" y="423"/>
                  </a:lnTo>
                  <a:lnTo>
                    <a:pt x="3175" y="465"/>
                  </a:lnTo>
                  <a:lnTo>
                    <a:pt x="3132" y="592"/>
                  </a:lnTo>
                  <a:lnTo>
                    <a:pt x="3090" y="635"/>
                  </a:lnTo>
                  <a:lnTo>
                    <a:pt x="3048" y="719"/>
                  </a:lnTo>
                  <a:lnTo>
                    <a:pt x="2921" y="804"/>
                  </a:lnTo>
                  <a:lnTo>
                    <a:pt x="2836" y="846"/>
                  </a:lnTo>
                  <a:lnTo>
                    <a:pt x="2794" y="889"/>
                  </a:lnTo>
                  <a:lnTo>
                    <a:pt x="2751" y="931"/>
                  </a:lnTo>
                  <a:lnTo>
                    <a:pt x="2582" y="973"/>
                  </a:lnTo>
                  <a:lnTo>
                    <a:pt x="2582" y="1016"/>
                  </a:lnTo>
                  <a:lnTo>
                    <a:pt x="2497" y="1058"/>
                  </a:lnTo>
                  <a:lnTo>
                    <a:pt x="2455" y="1100"/>
                  </a:lnTo>
                  <a:lnTo>
                    <a:pt x="2413" y="1100"/>
                  </a:lnTo>
                  <a:lnTo>
                    <a:pt x="2370" y="1143"/>
                  </a:lnTo>
                  <a:lnTo>
                    <a:pt x="2328" y="1185"/>
                  </a:lnTo>
                  <a:lnTo>
                    <a:pt x="1989" y="1270"/>
                  </a:lnTo>
                  <a:lnTo>
                    <a:pt x="1947" y="1270"/>
                  </a:lnTo>
                  <a:lnTo>
                    <a:pt x="1905" y="1270"/>
                  </a:lnTo>
                  <a:lnTo>
                    <a:pt x="1778" y="1312"/>
                  </a:lnTo>
                  <a:lnTo>
                    <a:pt x="1693" y="1312"/>
                  </a:lnTo>
                  <a:lnTo>
                    <a:pt x="1566" y="1270"/>
                  </a:lnTo>
                  <a:lnTo>
                    <a:pt x="1524" y="1227"/>
                  </a:lnTo>
                  <a:lnTo>
                    <a:pt x="1481" y="1227"/>
                  </a:lnTo>
                  <a:lnTo>
                    <a:pt x="1439" y="1185"/>
                  </a:lnTo>
                  <a:lnTo>
                    <a:pt x="1397" y="1185"/>
                  </a:lnTo>
                  <a:lnTo>
                    <a:pt x="1312" y="1185"/>
                  </a:lnTo>
                  <a:lnTo>
                    <a:pt x="1270" y="1227"/>
                  </a:lnTo>
                  <a:lnTo>
                    <a:pt x="1185" y="1270"/>
                  </a:lnTo>
                  <a:lnTo>
                    <a:pt x="1143" y="1312"/>
                  </a:lnTo>
                  <a:lnTo>
                    <a:pt x="1143" y="1354"/>
                  </a:lnTo>
                  <a:lnTo>
                    <a:pt x="1100" y="1439"/>
                  </a:lnTo>
                  <a:lnTo>
                    <a:pt x="1058" y="1481"/>
                  </a:lnTo>
                  <a:lnTo>
                    <a:pt x="1016" y="1524"/>
                  </a:lnTo>
                  <a:lnTo>
                    <a:pt x="973" y="1566"/>
                  </a:lnTo>
                  <a:lnTo>
                    <a:pt x="889" y="1608"/>
                  </a:lnTo>
                  <a:lnTo>
                    <a:pt x="846" y="1608"/>
                  </a:lnTo>
                  <a:lnTo>
                    <a:pt x="804" y="1651"/>
                  </a:lnTo>
                  <a:lnTo>
                    <a:pt x="762" y="1651"/>
                  </a:lnTo>
                  <a:lnTo>
                    <a:pt x="762" y="1608"/>
                  </a:lnTo>
                  <a:lnTo>
                    <a:pt x="719" y="1608"/>
                  </a:lnTo>
                  <a:lnTo>
                    <a:pt x="677" y="1651"/>
                  </a:lnTo>
                  <a:lnTo>
                    <a:pt x="592" y="1651"/>
                  </a:lnTo>
                  <a:lnTo>
                    <a:pt x="550" y="1651"/>
                  </a:lnTo>
                  <a:lnTo>
                    <a:pt x="508" y="1693"/>
                  </a:lnTo>
                  <a:lnTo>
                    <a:pt x="465" y="1693"/>
                  </a:lnTo>
                  <a:lnTo>
                    <a:pt x="423" y="1693"/>
                  </a:lnTo>
                  <a:lnTo>
                    <a:pt x="381" y="1778"/>
                  </a:lnTo>
                  <a:lnTo>
                    <a:pt x="338" y="1778"/>
                  </a:lnTo>
                  <a:lnTo>
                    <a:pt x="338" y="1735"/>
                  </a:lnTo>
                  <a:lnTo>
                    <a:pt x="296" y="1735"/>
                  </a:lnTo>
                  <a:lnTo>
                    <a:pt x="254" y="1735"/>
                  </a:lnTo>
                  <a:lnTo>
                    <a:pt x="127" y="1778"/>
                  </a:lnTo>
                  <a:lnTo>
                    <a:pt x="84" y="1820"/>
                  </a:lnTo>
                  <a:lnTo>
                    <a:pt x="42" y="1862"/>
                  </a:lnTo>
                  <a:lnTo>
                    <a:pt x="0" y="1947"/>
                  </a:lnTo>
                  <a:lnTo>
                    <a:pt x="0" y="1989"/>
                  </a:lnTo>
                  <a:lnTo>
                    <a:pt x="0" y="2074"/>
                  </a:lnTo>
                  <a:lnTo>
                    <a:pt x="0" y="2116"/>
                  </a:lnTo>
                  <a:lnTo>
                    <a:pt x="42" y="2159"/>
                  </a:lnTo>
                  <a:lnTo>
                    <a:pt x="211" y="2370"/>
                  </a:lnTo>
                  <a:lnTo>
                    <a:pt x="211" y="2455"/>
                  </a:lnTo>
                  <a:lnTo>
                    <a:pt x="254" y="2497"/>
                  </a:lnTo>
                  <a:lnTo>
                    <a:pt x="254" y="2540"/>
                  </a:lnTo>
                  <a:lnTo>
                    <a:pt x="211" y="2624"/>
                  </a:lnTo>
                  <a:lnTo>
                    <a:pt x="169" y="2751"/>
                  </a:lnTo>
                  <a:lnTo>
                    <a:pt x="127" y="2836"/>
                  </a:lnTo>
                  <a:lnTo>
                    <a:pt x="127" y="2878"/>
                  </a:lnTo>
                  <a:lnTo>
                    <a:pt x="211" y="3048"/>
                  </a:lnTo>
                  <a:lnTo>
                    <a:pt x="381" y="3513"/>
                  </a:lnTo>
                  <a:lnTo>
                    <a:pt x="465" y="3640"/>
                  </a:lnTo>
                  <a:lnTo>
                    <a:pt x="381" y="3683"/>
                  </a:lnTo>
                  <a:lnTo>
                    <a:pt x="381" y="3725"/>
                  </a:lnTo>
                  <a:lnTo>
                    <a:pt x="423" y="3852"/>
                  </a:lnTo>
                  <a:lnTo>
                    <a:pt x="381" y="3979"/>
                  </a:lnTo>
                  <a:lnTo>
                    <a:pt x="381" y="4021"/>
                  </a:lnTo>
                  <a:lnTo>
                    <a:pt x="423" y="4021"/>
                  </a:lnTo>
                  <a:lnTo>
                    <a:pt x="465" y="4064"/>
                  </a:lnTo>
                  <a:lnTo>
                    <a:pt x="762" y="4064"/>
                  </a:lnTo>
                  <a:lnTo>
                    <a:pt x="762" y="4106"/>
                  </a:lnTo>
                  <a:lnTo>
                    <a:pt x="804" y="4148"/>
                  </a:lnTo>
                  <a:lnTo>
                    <a:pt x="804" y="4275"/>
                  </a:lnTo>
                  <a:lnTo>
                    <a:pt x="846" y="4233"/>
                  </a:lnTo>
                  <a:lnTo>
                    <a:pt x="973" y="4275"/>
                  </a:lnTo>
                  <a:lnTo>
                    <a:pt x="1016" y="4275"/>
                  </a:lnTo>
                  <a:lnTo>
                    <a:pt x="1058" y="4275"/>
                  </a:lnTo>
                  <a:lnTo>
                    <a:pt x="1100" y="4275"/>
                  </a:lnTo>
                  <a:lnTo>
                    <a:pt x="1143" y="4275"/>
                  </a:lnTo>
                  <a:lnTo>
                    <a:pt x="1185" y="4233"/>
                  </a:lnTo>
                  <a:lnTo>
                    <a:pt x="1270" y="4191"/>
                  </a:lnTo>
                  <a:lnTo>
                    <a:pt x="1312" y="4191"/>
                  </a:lnTo>
                  <a:lnTo>
                    <a:pt x="1312" y="4148"/>
                  </a:lnTo>
                  <a:lnTo>
                    <a:pt x="1312" y="4106"/>
                  </a:lnTo>
                  <a:lnTo>
                    <a:pt x="1100" y="3810"/>
                  </a:lnTo>
                  <a:lnTo>
                    <a:pt x="1058" y="3683"/>
                  </a:lnTo>
                  <a:lnTo>
                    <a:pt x="1100" y="3640"/>
                  </a:lnTo>
                  <a:lnTo>
                    <a:pt x="1143" y="3640"/>
                  </a:lnTo>
                  <a:lnTo>
                    <a:pt x="1143" y="3598"/>
                  </a:lnTo>
                  <a:lnTo>
                    <a:pt x="1143" y="3556"/>
                  </a:lnTo>
                  <a:lnTo>
                    <a:pt x="1143" y="3513"/>
                  </a:lnTo>
                  <a:lnTo>
                    <a:pt x="1143" y="3471"/>
                  </a:lnTo>
                  <a:lnTo>
                    <a:pt x="1100" y="3471"/>
                  </a:lnTo>
                  <a:lnTo>
                    <a:pt x="1058" y="3429"/>
                  </a:lnTo>
                  <a:lnTo>
                    <a:pt x="1100" y="3386"/>
                  </a:lnTo>
                  <a:lnTo>
                    <a:pt x="1397" y="3259"/>
                  </a:lnTo>
                  <a:lnTo>
                    <a:pt x="1481" y="3259"/>
                  </a:lnTo>
                  <a:lnTo>
                    <a:pt x="1524" y="3217"/>
                  </a:lnTo>
                  <a:lnTo>
                    <a:pt x="1566" y="3175"/>
                  </a:lnTo>
                  <a:lnTo>
                    <a:pt x="1608" y="3175"/>
                  </a:lnTo>
                  <a:lnTo>
                    <a:pt x="1651" y="3175"/>
                  </a:lnTo>
                  <a:lnTo>
                    <a:pt x="1947" y="3132"/>
                  </a:lnTo>
                  <a:lnTo>
                    <a:pt x="1989" y="3217"/>
                  </a:lnTo>
                  <a:lnTo>
                    <a:pt x="1905" y="3429"/>
                  </a:lnTo>
                  <a:lnTo>
                    <a:pt x="1947" y="3683"/>
                  </a:lnTo>
                  <a:lnTo>
                    <a:pt x="2159" y="3598"/>
                  </a:lnTo>
                  <a:lnTo>
                    <a:pt x="2201" y="3598"/>
                  </a:lnTo>
                  <a:lnTo>
                    <a:pt x="2286" y="3598"/>
                  </a:lnTo>
                  <a:lnTo>
                    <a:pt x="2455" y="3640"/>
                  </a:lnTo>
                  <a:lnTo>
                    <a:pt x="2540" y="3683"/>
                  </a:lnTo>
                  <a:lnTo>
                    <a:pt x="2582" y="3683"/>
                  </a:lnTo>
                  <a:lnTo>
                    <a:pt x="2582" y="3640"/>
                  </a:lnTo>
                  <a:lnTo>
                    <a:pt x="2624" y="3683"/>
                  </a:lnTo>
                  <a:lnTo>
                    <a:pt x="2709" y="3640"/>
                  </a:lnTo>
                  <a:lnTo>
                    <a:pt x="2667" y="3471"/>
                  </a:lnTo>
                  <a:lnTo>
                    <a:pt x="2794" y="3429"/>
                  </a:lnTo>
                  <a:lnTo>
                    <a:pt x="2836" y="3429"/>
                  </a:lnTo>
                  <a:lnTo>
                    <a:pt x="2878" y="3302"/>
                  </a:lnTo>
                  <a:lnTo>
                    <a:pt x="2963" y="3259"/>
                  </a:lnTo>
                  <a:lnTo>
                    <a:pt x="3005" y="3217"/>
                  </a:lnTo>
                  <a:lnTo>
                    <a:pt x="3048" y="3132"/>
                  </a:lnTo>
                  <a:lnTo>
                    <a:pt x="3132" y="3090"/>
                  </a:lnTo>
                  <a:lnTo>
                    <a:pt x="3175" y="3048"/>
                  </a:lnTo>
                  <a:lnTo>
                    <a:pt x="3132" y="3005"/>
                  </a:lnTo>
                  <a:lnTo>
                    <a:pt x="3175" y="3005"/>
                  </a:lnTo>
                  <a:lnTo>
                    <a:pt x="3217" y="3005"/>
                  </a:lnTo>
                  <a:lnTo>
                    <a:pt x="3217" y="2963"/>
                  </a:lnTo>
                  <a:lnTo>
                    <a:pt x="3302" y="2921"/>
                  </a:lnTo>
                  <a:lnTo>
                    <a:pt x="3344" y="2963"/>
                  </a:lnTo>
                  <a:lnTo>
                    <a:pt x="3344" y="3005"/>
                  </a:lnTo>
                  <a:lnTo>
                    <a:pt x="3386" y="3005"/>
                  </a:lnTo>
                  <a:lnTo>
                    <a:pt x="3429" y="3005"/>
                  </a:lnTo>
                  <a:lnTo>
                    <a:pt x="3513" y="3048"/>
                  </a:lnTo>
                  <a:lnTo>
                    <a:pt x="3556" y="3048"/>
                  </a:lnTo>
                  <a:lnTo>
                    <a:pt x="3556" y="3090"/>
                  </a:lnTo>
                  <a:lnTo>
                    <a:pt x="3556" y="3132"/>
                  </a:lnTo>
                  <a:lnTo>
                    <a:pt x="3598" y="3175"/>
                  </a:lnTo>
                  <a:lnTo>
                    <a:pt x="3640" y="3132"/>
                  </a:lnTo>
                  <a:lnTo>
                    <a:pt x="3683" y="3175"/>
                  </a:lnTo>
                  <a:lnTo>
                    <a:pt x="3640" y="3259"/>
                  </a:lnTo>
                  <a:lnTo>
                    <a:pt x="3640" y="3344"/>
                  </a:lnTo>
                  <a:lnTo>
                    <a:pt x="3683" y="3344"/>
                  </a:lnTo>
                  <a:lnTo>
                    <a:pt x="3683" y="3386"/>
                  </a:lnTo>
                  <a:lnTo>
                    <a:pt x="3640" y="3386"/>
                  </a:lnTo>
                  <a:lnTo>
                    <a:pt x="3598" y="3429"/>
                  </a:lnTo>
                  <a:lnTo>
                    <a:pt x="3556" y="3471"/>
                  </a:lnTo>
                  <a:lnTo>
                    <a:pt x="3598" y="3640"/>
                  </a:lnTo>
                  <a:lnTo>
                    <a:pt x="3598" y="3683"/>
                  </a:lnTo>
                  <a:lnTo>
                    <a:pt x="3640" y="3683"/>
                  </a:lnTo>
                  <a:lnTo>
                    <a:pt x="3683" y="3683"/>
                  </a:lnTo>
                  <a:lnTo>
                    <a:pt x="3683" y="3725"/>
                  </a:lnTo>
                  <a:lnTo>
                    <a:pt x="3640" y="3725"/>
                  </a:lnTo>
                  <a:lnTo>
                    <a:pt x="3513" y="3683"/>
                  </a:lnTo>
                  <a:lnTo>
                    <a:pt x="3471" y="3640"/>
                  </a:lnTo>
                  <a:lnTo>
                    <a:pt x="3386" y="3640"/>
                  </a:lnTo>
                  <a:lnTo>
                    <a:pt x="3386" y="3598"/>
                  </a:lnTo>
                  <a:lnTo>
                    <a:pt x="3344" y="3598"/>
                  </a:lnTo>
                  <a:lnTo>
                    <a:pt x="3259" y="3640"/>
                  </a:lnTo>
                  <a:lnTo>
                    <a:pt x="3259" y="3683"/>
                  </a:lnTo>
                  <a:lnTo>
                    <a:pt x="3259" y="3725"/>
                  </a:lnTo>
                  <a:lnTo>
                    <a:pt x="3302" y="3767"/>
                  </a:lnTo>
                  <a:lnTo>
                    <a:pt x="3386" y="3810"/>
                  </a:lnTo>
                  <a:lnTo>
                    <a:pt x="3429" y="3810"/>
                  </a:lnTo>
                  <a:lnTo>
                    <a:pt x="3556" y="3767"/>
                  </a:lnTo>
                  <a:lnTo>
                    <a:pt x="3640" y="3767"/>
                  </a:lnTo>
                  <a:lnTo>
                    <a:pt x="3725" y="3767"/>
                  </a:lnTo>
                  <a:lnTo>
                    <a:pt x="3767" y="3810"/>
                  </a:lnTo>
                  <a:lnTo>
                    <a:pt x="3810" y="3810"/>
                  </a:lnTo>
                  <a:lnTo>
                    <a:pt x="3810" y="3767"/>
                  </a:lnTo>
                  <a:lnTo>
                    <a:pt x="3852" y="3767"/>
                  </a:lnTo>
                  <a:lnTo>
                    <a:pt x="3894" y="3767"/>
                  </a:lnTo>
                  <a:lnTo>
                    <a:pt x="3937" y="3767"/>
                  </a:lnTo>
                  <a:lnTo>
                    <a:pt x="3979" y="3767"/>
                  </a:lnTo>
                  <a:lnTo>
                    <a:pt x="4064" y="3852"/>
                  </a:lnTo>
                  <a:lnTo>
                    <a:pt x="4064" y="3894"/>
                  </a:lnTo>
                  <a:lnTo>
                    <a:pt x="4106" y="3894"/>
                  </a:lnTo>
                  <a:lnTo>
                    <a:pt x="4148" y="3937"/>
                  </a:lnTo>
                  <a:lnTo>
                    <a:pt x="4191" y="3937"/>
                  </a:lnTo>
                  <a:lnTo>
                    <a:pt x="4360" y="3683"/>
                  </a:lnTo>
                  <a:lnTo>
                    <a:pt x="4614" y="3513"/>
                  </a:lnTo>
                  <a:lnTo>
                    <a:pt x="4614" y="3429"/>
                  </a:lnTo>
                  <a:lnTo>
                    <a:pt x="4656" y="3429"/>
                  </a:lnTo>
                  <a:lnTo>
                    <a:pt x="4656" y="3386"/>
                  </a:lnTo>
                  <a:lnTo>
                    <a:pt x="4614" y="3344"/>
                  </a:lnTo>
                  <a:lnTo>
                    <a:pt x="4614" y="3302"/>
                  </a:lnTo>
                  <a:lnTo>
                    <a:pt x="4656" y="3259"/>
                  </a:lnTo>
                  <a:lnTo>
                    <a:pt x="4656" y="3217"/>
                  </a:lnTo>
                  <a:lnTo>
                    <a:pt x="4699" y="3175"/>
                  </a:lnTo>
                  <a:lnTo>
                    <a:pt x="4783" y="3132"/>
                  </a:lnTo>
                  <a:lnTo>
                    <a:pt x="4826" y="3132"/>
                  </a:lnTo>
                  <a:lnTo>
                    <a:pt x="4783" y="3175"/>
                  </a:lnTo>
                  <a:lnTo>
                    <a:pt x="4826" y="3217"/>
                  </a:lnTo>
                  <a:lnTo>
                    <a:pt x="4826" y="3259"/>
                  </a:lnTo>
                  <a:lnTo>
                    <a:pt x="4868" y="3259"/>
                  </a:lnTo>
                  <a:lnTo>
                    <a:pt x="5037" y="3259"/>
                  </a:lnTo>
                  <a:lnTo>
                    <a:pt x="5164" y="3640"/>
                  </a:lnTo>
                  <a:lnTo>
                    <a:pt x="5122" y="3725"/>
                  </a:lnTo>
                  <a:lnTo>
                    <a:pt x="4995" y="3979"/>
                  </a:lnTo>
                  <a:lnTo>
                    <a:pt x="5249" y="4275"/>
                  </a:lnTo>
                  <a:lnTo>
                    <a:pt x="5249" y="4318"/>
                  </a:lnTo>
                  <a:lnTo>
                    <a:pt x="5291" y="4360"/>
                  </a:lnTo>
                  <a:lnTo>
                    <a:pt x="5334" y="4402"/>
                  </a:lnTo>
                  <a:lnTo>
                    <a:pt x="5334" y="4699"/>
                  </a:lnTo>
                  <a:lnTo>
                    <a:pt x="5503" y="4741"/>
                  </a:lnTo>
                  <a:lnTo>
                    <a:pt x="5545" y="4699"/>
                  </a:lnTo>
                  <a:lnTo>
                    <a:pt x="5672" y="4656"/>
                  </a:lnTo>
                  <a:lnTo>
                    <a:pt x="5715" y="4656"/>
                  </a:lnTo>
                  <a:lnTo>
                    <a:pt x="5715" y="4614"/>
                  </a:lnTo>
                  <a:lnTo>
                    <a:pt x="5969" y="4783"/>
                  </a:lnTo>
                  <a:lnTo>
                    <a:pt x="5884" y="5122"/>
                  </a:lnTo>
                  <a:lnTo>
                    <a:pt x="5926" y="5164"/>
                  </a:lnTo>
                  <a:lnTo>
                    <a:pt x="6096" y="5122"/>
                  </a:lnTo>
                  <a:lnTo>
                    <a:pt x="6265" y="5164"/>
                  </a:lnTo>
                  <a:lnTo>
                    <a:pt x="6392" y="5164"/>
                  </a:lnTo>
                  <a:lnTo>
                    <a:pt x="6477" y="5164"/>
                  </a:lnTo>
                  <a:lnTo>
                    <a:pt x="6519" y="5122"/>
                  </a:lnTo>
                  <a:lnTo>
                    <a:pt x="6561" y="5037"/>
                  </a:lnTo>
                  <a:lnTo>
                    <a:pt x="6688" y="5080"/>
                  </a:lnTo>
                  <a:lnTo>
                    <a:pt x="6858" y="5122"/>
                  </a:lnTo>
                  <a:lnTo>
                    <a:pt x="6942" y="5164"/>
                  </a:lnTo>
                  <a:lnTo>
                    <a:pt x="7069" y="5037"/>
                  </a:lnTo>
                  <a:lnTo>
                    <a:pt x="7112" y="4995"/>
                  </a:lnTo>
                  <a:lnTo>
                    <a:pt x="7239" y="4953"/>
                  </a:lnTo>
                  <a:lnTo>
                    <a:pt x="7281" y="4910"/>
                  </a:lnTo>
                  <a:lnTo>
                    <a:pt x="7323" y="4868"/>
                  </a:lnTo>
                  <a:lnTo>
                    <a:pt x="7323" y="4826"/>
                  </a:lnTo>
                  <a:lnTo>
                    <a:pt x="7366" y="4826"/>
                  </a:lnTo>
                  <a:lnTo>
                    <a:pt x="7535" y="4868"/>
                  </a:lnTo>
                  <a:lnTo>
                    <a:pt x="7535" y="4910"/>
                  </a:lnTo>
                  <a:lnTo>
                    <a:pt x="7577" y="4995"/>
                  </a:lnTo>
                  <a:lnTo>
                    <a:pt x="7704" y="5080"/>
                  </a:lnTo>
                  <a:lnTo>
                    <a:pt x="7747" y="5122"/>
                  </a:lnTo>
                  <a:lnTo>
                    <a:pt x="7747" y="5164"/>
                  </a:lnTo>
                  <a:lnTo>
                    <a:pt x="7747" y="5207"/>
                  </a:lnTo>
                  <a:lnTo>
                    <a:pt x="7747" y="5249"/>
                  </a:lnTo>
                  <a:lnTo>
                    <a:pt x="7747" y="5291"/>
                  </a:lnTo>
                  <a:lnTo>
                    <a:pt x="7747" y="5376"/>
                  </a:lnTo>
                  <a:lnTo>
                    <a:pt x="7789" y="5545"/>
                  </a:lnTo>
                  <a:lnTo>
                    <a:pt x="7831" y="5545"/>
                  </a:lnTo>
                  <a:lnTo>
                    <a:pt x="7958" y="5503"/>
                  </a:lnTo>
                  <a:lnTo>
                    <a:pt x="8001" y="5503"/>
                  </a:lnTo>
                  <a:lnTo>
                    <a:pt x="8128" y="5461"/>
                  </a:lnTo>
                  <a:lnTo>
                    <a:pt x="8128" y="5291"/>
                  </a:lnTo>
                  <a:lnTo>
                    <a:pt x="8170" y="5080"/>
                  </a:lnTo>
                  <a:lnTo>
                    <a:pt x="8255" y="4910"/>
                  </a:lnTo>
                  <a:lnTo>
                    <a:pt x="8297" y="4826"/>
                  </a:lnTo>
                  <a:lnTo>
                    <a:pt x="8424" y="4699"/>
                  </a:lnTo>
                  <a:lnTo>
                    <a:pt x="8593" y="4614"/>
                  </a:lnTo>
                  <a:lnTo>
                    <a:pt x="8636" y="4614"/>
                  </a:lnTo>
                  <a:lnTo>
                    <a:pt x="8847" y="4572"/>
                  </a:lnTo>
                  <a:lnTo>
                    <a:pt x="8932" y="4529"/>
                  </a:lnTo>
                  <a:lnTo>
                    <a:pt x="8974" y="4529"/>
                  </a:lnTo>
                  <a:lnTo>
                    <a:pt x="9017" y="4487"/>
                  </a:lnTo>
                  <a:lnTo>
                    <a:pt x="9355" y="4402"/>
                  </a:lnTo>
                  <a:lnTo>
                    <a:pt x="9482" y="4360"/>
                  </a:lnTo>
                  <a:lnTo>
                    <a:pt x="9525" y="4360"/>
                  </a:lnTo>
                  <a:lnTo>
                    <a:pt x="9567" y="4318"/>
                  </a:lnTo>
                  <a:lnTo>
                    <a:pt x="9609" y="4318"/>
                  </a:lnTo>
                  <a:lnTo>
                    <a:pt x="9694" y="4233"/>
                  </a:lnTo>
                  <a:lnTo>
                    <a:pt x="9821" y="4106"/>
                  </a:lnTo>
                  <a:lnTo>
                    <a:pt x="9906" y="4064"/>
                  </a:lnTo>
                  <a:lnTo>
                    <a:pt x="9821" y="3937"/>
                  </a:lnTo>
                  <a:lnTo>
                    <a:pt x="9736" y="3767"/>
                  </a:lnTo>
                  <a:lnTo>
                    <a:pt x="9567" y="3471"/>
                  </a:lnTo>
                  <a:lnTo>
                    <a:pt x="9567" y="3429"/>
                  </a:lnTo>
                  <a:lnTo>
                    <a:pt x="9482" y="3048"/>
                  </a:lnTo>
                  <a:lnTo>
                    <a:pt x="9440" y="2963"/>
                  </a:lnTo>
                  <a:lnTo>
                    <a:pt x="9440" y="2878"/>
                  </a:lnTo>
                  <a:lnTo>
                    <a:pt x="9398" y="2751"/>
                  </a:lnTo>
                  <a:lnTo>
                    <a:pt x="9355" y="2370"/>
                  </a:lnTo>
                  <a:lnTo>
                    <a:pt x="9525" y="2413"/>
                  </a:lnTo>
                  <a:lnTo>
                    <a:pt x="9652" y="2455"/>
                  </a:lnTo>
                  <a:lnTo>
                    <a:pt x="9736" y="2497"/>
                  </a:lnTo>
                  <a:lnTo>
                    <a:pt x="9821" y="2497"/>
                  </a:lnTo>
                  <a:lnTo>
                    <a:pt x="9906" y="2497"/>
                  </a:lnTo>
                  <a:lnTo>
                    <a:pt x="9990" y="2455"/>
                  </a:lnTo>
                  <a:lnTo>
                    <a:pt x="10117" y="2413"/>
                  </a:lnTo>
                  <a:lnTo>
                    <a:pt x="10202" y="2370"/>
                  </a:lnTo>
                  <a:lnTo>
                    <a:pt x="10287" y="2328"/>
                  </a:lnTo>
                  <a:lnTo>
                    <a:pt x="10287" y="2370"/>
                  </a:lnTo>
                  <a:lnTo>
                    <a:pt x="10329" y="2370"/>
                  </a:lnTo>
                  <a:lnTo>
                    <a:pt x="10371" y="2413"/>
                  </a:lnTo>
                  <a:lnTo>
                    <a:pt x="10456" y="2497"/>
                  </a:lnTo>
                  <a:lnTo>
                    <a:pt x="10456" y="2455"/>
                  </a:lnTo>
                  <a:lnTo>
                    <a:pt x="10498" y="2455"/>
                  </a:lnTo>
                  <a:lnTo>
                    <a:pt x="10541" y="2455"/>
                  </a:lnTo>
                  <a:lnTo>
                    <a:pt x="10498" y="2413"/>
                  </a:lnTo>
                  <a:lnTo>
                    <a:pt x="10498" y="2370"/>
                  </a:lnTo>
                  <a:lnTo>
                    <a:pt x="10498" y="2328"/>
                  </a:lnTo>
                  <a:lnTo>
                    <a:pt x="10498" y="2286"/>
                  </a:lnTo>
                  <a:lnTo>
                    <a:pt x="10498" y="2243"/>
                  </a:lnTo>
                  <a:lnTo>
                    <a:pt x="10456" y="2159"/>
                  </a:lnTo>
                  <a:lnTo>
                    <a:pt x="10414" y="2116"/>
                  </a:lnTo>
                  <a:lnTo>
                    <a:pt x="10414" y="2074"/>
                  </a:lnTo>
                  <a:lnTo>
                    <a:pt x="10414" y="1947"/>
                  </a:lnTo>
                  <a:lnTo>
                    <a:pt x="10371" y="1905"/>
                  </a:lnTo>
                  <a:lnTo>
                    <a:pt x="10371" y="1862"/>
                  </a:lnTo>
                  <a:lnTo>
                    <a:pt x="10329" y="1820"/>
                  </a:lnTo>
                  <a:lnTo>
                    <a:pt x="10287" y="1778"/>
                  </a:lnTo>
                  <a:lnTo>
                    <a:pt x="10244" y="1735"/>
                  </a:lnTo>
                  <a:lnTo>
                    <a:pt x="10117" y="1693"/>
                  </a:lnTo>
                  <a:lnTo>
                    <a:pt x="10117" y="1651"/>
                  </a:lnTo>
                  <a:lnTo>
                    <a:pt x="10075" y="1608"/>
                  </a:lnTo>
                  <a:lnTo>
                    <a:pt x="10075" y="1481"/>
                  </a:lnTo>
                  <a:lnTo>
                    <a:pt x="10075" y="1439"/>
                  </a:lnTo>
                  <a:lnTo>
                    <a:pt x="10075" y="1397"/>
                  </a:lnTo>
                  <a:lnTo>
                    <a:pt x="10075" y="1312"/>
                  </a:lnTo>
                  <a:lnTo>
                    <a:pt x="10033" y="1312"/>
                  </a:lnTo>
                  <a:lnTo>
                    <a:pt x="10033" y="1270"/>
                  </a:lnTo>
                  <a:lnTo>
                    <a:pt x="10033" y="1185"/>
                  </a:lnTo>
                  <a:lnTo>
                    <a:pt x="9990" y="1058"/>
                  </a:lnTo>
                  <a:lnTo>
                    <a:pt x="9948" y="1058"/>
                  </a:lnTo>
                  <a:lnTo>
                    <a:pt x="9906" y="1016"/>
                  </a:lnTo>
                  <a:lnTo>
                    <a:pt x="9821" y="1016"/>
                  </a:lnTo>
                  <a:lnTo>
                    <a:pt x="9736" y="973"/>
                  </a:lnTo>
                  <a:lnTo>
                    <a:pt x="9652" y="973"/>
                  </a:lnTo>
                  <a:lnTo>
                    <a:pt x="9609" y="931"/>
                  </a:lnTo>
                  <a:lnTo>
                    <a:pt x="9609" y="846"/>
                  </a:lnTo>
                  <a:lnTo>
                    <a:pt x="9567" y="762"/>
                  </a:lnTo>
                  <a:lnTo>
                    <a:pt x="9567" y="719"/>
                  </a:lnTo>
                  <a:lnTo>
                    <a:pt x="9567" y="677"/>
                  </a:lnTo>
                  <a:lnTo>
                    <a:pt x="9525" y="677"/>
                  </a:lnTo>
                  <a:lnTo>
                    <a:pt x="9482" y="635"/>
                  </a:lnTo>
                  <a:lnTo>
                    <a:pt x="9440" y="635"/>
                  </a:lnTo>
                  <a:lnTo>
                    <a:pt x="9355" y="635"/>
                  </a:lnTo>
                  <a:lnTo>
                    <a:pt x="9228" y="635"/>
                  </a:lnTo>
                  <a:lnTo>
                    <a:pt x="9186" y="635"/>
                  </a:lnTo>
                  <a:lnTo>
                    <a:pt x="9059" y="677"/>
                  </a:lnTo>
                  <a:lnTo>
                    <a:pt x="9017" y="677"/>
                  </a:lnTo>
                  <a:lnTo>
                    <a:pt x="8932" y="677"/>
                  </a:lnTo>
                  <a:lnTo>
                    <a:pt x="8890" y="677"/>
                  </a:lnTo>
                  <a:lnTo>
                    <a:pt x="8847" y="677"/>
                  </a:lnTo>
                  <a:lnTo>
                    <a:pt x="8805" y="635"/>
                  </a:lnTo>
                  <a:lnTo>
                    <a:pt x="8805" y="592"/>
                  </a:lnTo>
                  <a:lnTo>
                    <a:pt x="8763" y="550"/>
                  </a:lnTo>
                  <a:lnTo>
                    <a:pt x="8720" y="508"/>
                  </a:lnTo>
                  <a:lnTo>
                    <a:pt x="8678" y="508"/>
                  </a:lnTo>
                  <a:lnTo>
                    <a:pt x="8636" y="508"/>
                  </a:lnTo>
                  <a:lnTo>
                    <a:pt x="8593" y="465"/>
                  </a:lnTo>
                  <a:lnTo>
                    <a:pt x="8551" y="465"/>
                  </a:lnTo>
                  <a:lnTo>
                    <a:pt x="8551" y="381"/>
                  </a:lnTo>
                  <a:lnTo>
                    <a:pt x="8509" y="381"/>
                  </a:lnTo>
                  <a:lnTo>
                    <a:pt x="8466" y="338"/>
                  </a:lnTo>
                  <a:lnTo>
                    <a:pt x="8424" y="338"/>
                  </a:lnTo>
                  <a:lnTo>
                    <a:pt x="8382" y="338"/>
                  </a:lnTo>
                  <a:lnTo>
                    <a:pt x="8339" y="296"/>
                  </a:lnTo>
                  <a:lnTo>
                    <a:pt x="8297" y="254"/>
                  </a:lnTo>
                  <a:lnTo>
                    <a:pt x="8255" y="211"/>
                  </a:lnTo>
                  <a:lnTo>
                    <a:pt x="8255" y="127"/>
                  </a:lnTo>
                  <a:lnTo>
                    <a:pt x="8212" y="84"/>
                  </a:lnTo>
                  <a:lnTo>
                    <a:pt x="8128" y="84"/>
                  </a:lnTo>
                  <a:lnTo>
                    <a:pt x="8085" y="84"/>
                  </a:lnTo>
                  <a:lnTo>
                    <a:pt x="8043" y="42"/>
                  </a:lnTo>
                  <a:lnTo>
                    <a:pt x="7958" y="0"/>
                  </a:lnTo>
                  <a:lnTo>
                    <a:pt x="7916" y="0"/>
                  </a:lnTo>
                  <a:lnTo>
                    <a:pt x="7874" y="0"/>
                  </a:lnTo>
                  <a:lnTo>
                    <a:pt x="7789" y="0"/>
                  </a:lnTo>
                  <a:lnTo>
                    <a:pt x="7747" y="0"/>
                  </a:lnTo>
                  <a:lnTo>
                    <a:pt x="7704" y="42"/>
                  </a:lnTo>
                  <a:lnTo>
                    <a:pt x="7704" y="84"/>
                  </a:lnTo>
                  <a:lnTo>
                    <a:pt x="7662" y="127"/>
                  </a:lnTo>
                  <a:lnTo>
                    <a:pt x="7620" y="127"/>
                  </a:lnTo>
                  <a:lnTo>
                    <a:pt x="7577" y="84"/>
                  </a:lnTo>
                  <a:lnTo>
                    <a:pt x="7535" y="84"/>
                  </a:lnTo>
                  <a:lnTo>
                    <a:pt x="7493" y="84"/>
                  </a:lnTo>
                  <a:lnTo>
                    <a:pt x="7493" y="42"/>
                  </a:lnTo>
                  <a:lnTo>
                    <a:pt x="7450" y="0"/>
                  </a:lnTo>
                  <a:lnTo>
                    <a:pt x="7408" y="0"/>
                  </a:lnTo>
                  <a:lnTo>
                    <a:pt x="7366" y="0"/>
                  </a:lnTo>
                  <a:lnTo>
                    <a:pt x="7323" y="0"/>
                  </a:lnTo>
                  <a:lnTo>
                    <a:pt x="7323" y="42"/>
                  </a:lnTo>
                  <a:lnTo>
                    <a:pt x="7281" y="127"/>
                  </a:lnTo>
                  <a:lnTo>
                    <a:pt x="7239" y="169"/>
                  </a:lnTo>
                  <a:lnTo>
                    <a:pt x="7154" y="169"/>
                  </a:lnTo>
                  <a:lnTo>
                    <a:pt x="7069" y="169"/>
                  </a:lnTo>
                  <a:lnTo>
                    <a:pt x="7027" y="169"/>
                  </a:lnTo>
                  <a:lnTo>
                    <a:pt x="6985" y="127"/>
                  </a:lnTo>
                  <a:lnTo>
                    <a:pt x="6942" y="84"/>
                  </a:lnTo>
                  <a:lnTo>
                    <a:pt x="6942" y="42"/>
                  </a:lnTo>
                  <a:lnTo>
                    <a:pt x="6900" y="42"/>
                  </a:lnTo>
                  <a:lnTo>
                    <a:pt x="6858" y="84"/>
                  </a:lnTo>
                  <a:lnTo>
                    <a:pt x="6858" y="127"/>
                  </a:lnTo>
                  <a:lnTo>
                    <a:pt x="6815" y="169"/>
                  </a:lnTo>
                  <a:lnTo>
                    <a:pt x="6773" y="211"/>
                  </a:lnTo>
                  <a:lnTo>
                    <a:pt x="6688" y="338"/>
                  </a:lnTo>
                  <a:lnTo>
                    <a:pt x="6688" y="381"/>
                  </a:lnTo>
                  <a:lnTo>
                    <a:pt x="6646" y="465"/>
                  </a:lnTo>
                  <a:lnTo>
                    <a:pt x="6646" y="550"/>
                  </a:lnTo>
                  <a:lnTo>
                    <a:pt x="6646" y="635"/>
                  </a:lnTo>
                  <a:lnTo>
                    <a:pt x="6604" y="635"/>
                  </a:lnTo>
                  <a:lnTo>
                    <a:pt x="6604" y="677"/>
                  </a:lnTo>
                  <a:lnTo>
                    <a:pt x="6392" y="762"/>
                  </a:lnTo>
                  <a:lnTo>
                    <a:pt x="6307" y="804"/>
                  </a:lnTo>
                  <a:lnTo>
                    <a:pt x="6307" y="846"/>
                  </a:lnTo>
                  <a:lnTo>
                    <a:pt x="6265" y="846"/>
                  </a:lnTo>
                  <a:lnTo>
                    <a:pt x="6180" y="804"/>
                  </a:lnTo>
                  <a:lnTo>
                    <a:pt x="6096" y="804"/>
                  </a:lnTo>
                  <a:lnTo>
                    <a:pt x="6053" y="846"/>
                  </a:lnTo>
                  <a:lnTo>
                    <a:pt x="6011" y="889"/>
                  </a:lnTo>
                  <a:lnTo>
                    <a:pt x="5969" y="846"/>
                  </a:lnTo>
                  <a:lnTo>
                    <a:pt x="5884" y="804"/>
                  </a:lnTo>
                  <a:lnTo>
                    <a:pt x="5842" y="762"/>
                  </a:lnTo>
                  <a:lnTo>
                    <a:pt x="5799" y="804"/>
                  </a:lnTo>
                  <a:lnTo>
                    <a:pt x="5757" y="804"/>
                  </a:lnTo>
                  <a:lnTo>
                    <a:pt x="5715" y="804"/>
                  </a:lnTo>
                  <a:lnTo>
                    <a:pt x="5630" y="804"/>
                  </a:lnTo>
                  <a:lnTo>
                    <a:pt x="5588" y="804"/>
                  </a:lnTo>
                  <a:lnTo>
                    <a:pt x="5503" y="804"/>
                  </a:lnTo>
                  <a:lnTo>
                    <a:pt x="5418" y="804"/>
                  </a:lnTo>
                  <a:lnTo>
                    <a:pt x="5334" y="846"/>
                  </a:lnTo>
                  <a:lnTo>
                    <a:pt x="5291" y="804"/>
                  </a:lnTo>
                  <a:lnTo>
                    <a:pt x="5291" y="762"/>
                  </a:lnTo>
                  <a:lnTo>
                    <a:pt x="5334" y="762"/>
                  </a:lnTo>
                  <a:lnTo>
                    <a:pt x="5376" y="719"/>
                  </a:lnTo>
                  <a:lnTo>
                    <a:pt x="5418" y="677"/>
                  </a:lnTo>
                  <a:lnTo>
                    <a:pt x="5376" y="635"/>
                  </a:lnTo>
                  <a:lnTo>
                    <a:pt x="5376" y="592"/>
                  </a:lnTo>
                  <a:lnTo>
                    <a:pt x="5376" y="550"/>
                  </a:lnTo>
                  <a:lnTo>
                    <a:pt x="5376" y="508"/>
                  </a:lnTo>
                  <a:lnTo>
                    <a:pt x="5249" y="465"/>
                  </a:lnTo>
                  <a:lnTo>
                    <a:pt x="5207" y="423"/>
                  </a:lnTo>
                  <a:lnTo>
                    <a:pt x="5164" y="381"/>
                  </a:lnTo>
                  <a:lnTo>
                    <a:pt x="5122" y="381"/>
                  </a:lnTo>
                  <a:lnTo>
                    <a:pt x="5080" y="423"/>
                  </a:lnTo>
                  <a:lnTo>
                    <a:pt x="5037" y="465"/>
                  </a:lnTo>
                  <a:lnTo>
                    <a:pt x="4995" y="465"/>
                  </a:lnTo>
                  <a:lnTo>
                    <a:pt x="4995" y="423"/>
                  </a:lnTo>
                  <a:lnTo>
                    <a:pt x="4953" y="423"/>
                  </a:lnTo>
                  <a:lnTo>
                    <a:pt x="4953" y="381"/>
                  </a:lnTo>
                  <a:lnTo>
                    <a:pt x="4910" y="338"/>
                  </a:lnTo>
                  <a:lnTo>
                    <a:pt x="4910" y="296"/>
                  </a:lnTo>
                  <a:lnTo>
                    <a:pt x="4868" y="296"/>
                  </a:lnTo>
                  <a:lnTo>
                    <a:pt x="4826" y="254"/>
                  </a:lnTo>
                  <a:lnTo>
                    <a:pt x="4741" y="211"/>
                  </a:lnTo>
                  <a:lnTo>
                    <a:pt x="4699" y="169"/>
                  </a:lnTo>
                  <a:lnTo>
                    <a:pt x="4656" y="169"/>
                  </a:lnTo>
                  <a:lnTo>
                    <a:pt x="4656" y="127"/>
                  </a:lnTo>
                  <a:lnTo>
                    <a:pt x="4656" y="84"/>
                  </a:lnTo>
                  <a:lnTo>
                    <a:pt x="4614" y="84"/>
                  </a:lnTo>
                  <a:lnTo>
                    <a:pt x="4529" y="84"/>
                  </a:lnTo>
                  <a:lnTo>
                    <a:pt x="4487" y="42"/>
                  </a:lnTo>
                  <a:lnTo>
                    <a:pt x="4445" y="42"/>
                  </a:lnTo>
                  <a:lnTo>
                    <a:pt x="4360" y="42"/>
                  </a:lnTo>
                  <a:lnTo>
                    <a:pt x="4275" y="0"/>
                  </a:lnTo>
                  <a:lnTo>
                    <a:pt x="4233" y="0"/>
                  </a:lnTo>
                  <a:lnTo>
                    <a:pt x="4191" y="0"/>
                  </a:lnTo>
                  <a:lnTo>
                    <a:pt x="4106" y="0"/>
                  </a:lnTo>
                  <a:close/>
                  <a:moveTo>
                    <a:pt x="4148" y="3937"/>
                  </a:moveTo>
                  <a:lnTo>
                    <a:pt x="4106" y="3937"/>
                  </a:lnTo>
                  <a:lnTo>
                    <a:pt x="4064" y="3937"/>
                  </a:lnTo>
                  <a:lnTo>
                    <a:pt x="4106" y="3979"/>
                  </a:lnTo>
                  <a:lnTo>
                    <a:pt x="4148" y="3937"/>
                  </a:lnTo>
                  <a:close/>
                  <a:moveTo>
                    <a:pt x="1227" y="1143"/>
                  </a:moveTo>
                  <a:lnTo>
                    <a:pt x="1143" y="1185"/>
                  </a:lnTo>
                  <a:lnTo>
                    <a:pt x="1185" y="1227"/>
                  </a:lnTo>
                  <a:lnTo>
                    <a:pt x="1185" y="1185"/>
                  </a:lnTo>
                  <a:lnTo>
                    <a:pt x="1227" y="1143"/>
                  </a:lnTo>
                  <a:close/>
                </a:path>
              </a:pathLst>
            </a:custGeom>
            <a:grpFill/>
            <a:ln w="12700" cap="flat" cmpd="sng">
              <a:solidFill>
                <a:schemeClr val="tx1"/>
              </a:solidFill>
              <a:prstDash val="solid"/>
              <a:bevel/>
              <a:headEnd/>
              <a:tailEnd/>
            </a:ln>
          </p:spPr>
          <p:txBody>
            <a:bodyPr/>
            <a:lstStyle/>
            <a:p>
              <a:endParaRPr lang="nl-NL"/>
            </a:p>
          </p:txBody>
        </p:sp>
        <p:sp>
          <p:nvSpPr>
            <p:cNvPr id="125" name="Freeform 541">
              <a:extLst>
                <a:ext uri="{FF2B5EF4-FFF2-40B4-BE49-F238E27FC236}">
                  <a16:creationId xmlns:a16="http://schemas.microsoft.com/office/drawing/2014/main" id="{054AF63F-9826-E567-13A7-00DDD6D36A2B}"/>
                </a:ext>
              </a:extLst>
            </p:cNvPr>
            <p:cNvSpPr>
              <a:spLocks/>
            </p:cNvSpPr>
            <p:nvPr/>
          </p:nvSpPr>
          <p:spPr bwMode="auto">
            <a:xfrm>
              <a:off x="4821228" y="7921638"/>
              <a:ext cx="1164583" cy="2890380"/>
            </a:xfrm>
            <a:custGeom>
              <a:avLst/>
              <a:gdLst/>
              <a:ahLst/>
              <a:cxnLst>
                <a:cxn ang="0">
                  <a:pos x="1736" y="254"/>
                </a:cxn>
                <a:cxn ang="0">
                  <a:pos x="2159" y="593"/>
                </a:cxn>
                <a:cxn ang="0">
                  <a:pos x="2286" y="1186"/>
                </a:cxn>
                <a:cxn ang="0">
                  <a:pos x="2583" y="1651"/>
                </a:cxn>
                <a:cxn ang="0">
                  <a:pos x="2625" y="1990"/>
                </a:cxn>
                <a:cxn ang="0">
                  <a:pos x="2075" y="2032"/>
                </a:cxn>
                <a:cxn ang="0">
                  <a:pos x="1651" y="2583"/>
                </a:cxn>
                <a:cxn ang="0">
                  <a:pos x="1736" y="3853"/>
                </a:cxn>
                <a:cxn ang="0">
                  <a:pos x="762" y="4149"/>
                </a:cxn>
                <a:cxn ang="0">
                  <a:pos x="0" y="5080"/>
                </a:cxn>
                <a:cxn ang="0">
                  <a:pos x="678" y="5419"/>
                </a:cxn>
                <a:cxn ang="0">
                  <a:pos x="1186" y="5461"/>
                </a:cxn>
                <a:cxn ang="0">
                  <a:pos x="1186" y="5715"/>
                </a:cxn>
                <a:cxn ang="0">
                  <a:pos x="1482" y="5546"/>
                </a:cxn>
                <a:cxn ang="0">
                  <a:pos x="1440" y="5927"/>
                </a:cxn>
                <a:cxn ang="0">
                  <a:pos x="1482" y="6266"/>
                </a:cxn>
                <a:cxn ang="0">
                  <a:pos x="1313" y="6393"/>
                </a:cxn>
                <a:cxn ang="0">
                  <a:pos x="1101" y="6774"/>
                </a:cxn>
                <a:cxn ang="0">
                  <a:pos x="1101" y="7155"/>
                </a:cxn>
                <a:cxn ang="0">
                  <a:pos x="1016" y="7451"/>
                </a:cxn>
                <a:cxn ang="0">
                  <a:pos x="889" y="7832"/>
                </a:cxn>
                <a:cxn ang="0">
                  <a:pos x="635" y="8128"/>
                </a:cxn>
                <a:cxn ang="0">
                  <a:pos x="424" y="8340"/>
                </a:cxn>
                <a:cxn ang="0">
                  <a:pos x="466" y="8679"/>
                </a:cxn>
                <a:cxn ang="0">
                  <a:pos x="762" y="8890"/>
                </a:cxn>
                <a:cxn ang="0">
                  <a:pos x="847" y="9271"/>
                </a:cxn>
                <a:cxn ang="0">
                  <a:pos x="1228" y="9060"/>
                </a:cxn>
                <a:cxn ang="0">
                  <a:pos x="1609" y="9229"/>
                </a:cxn>
                <a:cxn ang="0">
                  <a:pos x="1863" y="9229"/>
                </a:cxn>
                <a:cxn ang="0">
                  <a:pos x="2202" y="9271"/>
                </a:cxn>
                <a:cxn ang="0">
                  <a:pos x="2625" y="9314"/>
                </a:cxn>
                <a:cxn ang="0">
                  <a:pos x="2371" y="8890"/>
                </a:cxn>
                <a:cxn ang="0">
                  <a:pos x="2625" y="8679"/>
                </a:cxn>
                <a:cxn ang="0">
                  <a:pos x="2794" y="8382"/>
                </a:cxn>
                <a:cxn ang="0">
                  <a:pos x="3006" y="8171"/>
                </a:cxn>
                <a:cxn ang="0">
                  <a:pos x="3006" y="7832"/>
                </a:cxn>
                <a:cxn ang="0">
                  <a:pos x="2583" y="7663"/>
                </a:cxn>
                <a:cxn ang="0">
                  <a:pos x="2413" y="7239"/>
                </a:cxn>
                <a:cxn ang="0">
                  <a:pos x="2032" y="7282"/>
                </a:cxn>
                <a:cxn ang="0">
                  <a:pos x="1863" y="6985"/>
                </a:cxn>
                <a:cxn ang="0">
                  <a:pos x="1694" y="6604"/>
                </a:cxn>
                <a:cxn ang="0">
                  <a:pos x="2117" y="6731"/>
                </a:cxn>
                <a:cxn ang="0">
                  <a:pos x="2329" y="6604"/>
                </a:cxn>
                <a:cxn ang="0">
                  <a:pos x="2583" y="6223"/>
                </a:cxn>
                <a:cxn ang="0">
                  <a:pos x="2964" y="5969"/>
                </a:cxn>
                <a:cxn ang="0">
                  <a:pos x="3260" y="5758"/>
                </a:cxn>
                <a:cxn ang="0">
                  <a:pos x="3514" y="5377"/>
                </a:cxn>
                <a:cxn ang="0">
                  <a:pos x="2879" y="5419"/>
                </a:cxn>
                <a:cxn ang="0">
                  <a:pos x="3175" y="4530"/>
                </a:cxn>
                <a:cxn ang="0">
                  <a:pos x="3429" y="4022"/>
                </a:cxn>
                <a:cxn ang="0">
                  <a:pos x="3726" y="3472"/>
                </a:cxn>
                <a:cxn ang="0">
                  <a:pos x="3726" y="2752"/>
                </a:cxn>
                <a:cxn ang="0">
                  <a:pos x="3429" y="2159"/>
                </a:cxn>
                <a:cxn ang="0">
                  <a:pos x="2964" y="1482"/>
                </a:cxn>
                <a:cxn ang="0">
                  <a:pos x="2964" y="1059"/>
                </a:cxn>
                <a:cxn ang="0">
                  <a:pos x="2625" y="762"/>
                </a:cxn>
                <a:cxn ang="0">
                  <a:pos x="2625" y="466"/>
                </a:cxn>
                <a:cxn ang="0">
                  <a:pos x="2075" y="339"/>
                </a:cxn>
                <a:cxn ang="0">
                  <a:pos x="1821" y="0"/>
                </a:cxn>
              </a:cxnLst>
              <a:rect l="0" t="0" r="r" b="b"/>
              <a:pathLst>
                <a:path w="3768" h="9356">
                  <a:moveTo>
                    <a:pt x="1694" y="0"/>
                  </a:moveTo>
                  <a:lnTo>
                    <a:pt x="1651" y="43"/>
                  </a:lnTo>
                  <a:lnTo>
                    <a:pt x="1694" y="85"/>
                  </a:lnTo>
                  <a:lnTo>
                    <a:pt x="1694" y="127"/>
                  </a:lnTo>
                  <a:lnTo>
                    <a:pt x="1694" y="170"/>
                  </a:lnTo>
                  <a:lnTo>
                    <a:pt x="1651" y="170"/>
                  </a:lnTo>
                  <a:lnTo>
                    <a:pt x="1694" y="212"/>
                  </a:lnTo>
                  <a:lnTo>
                    <a:pt x="1736" y="212"/>
                  </a:lnTo>
                  <a:lnTo>
                    <a:pt x="1736" y="254"/>
                  </a:lnTo>
                  <a:lnTo>
                    <a:pt x="1736" y="297"/>
                  </a:lnTo>
                  <a:lnTo>
                    <a:pt x="1778" y="381"/>
                  </a:lnTo>
                  <a:lnTo>
                    <a:pt x="1778" y="466"/>
                  </a:lnTo>
                  <a:lnTo>
                    <a:pt x="1821" y="508"/>
                  </a:lnTo>
                  <a:lnTo>
                    <a:pt x="1905" y="508"/>
                  </a:lnTo>
                  <a:lnTo>
                    <a:pt x="1990" y="551"/>
                  </a:lnTo>
                  <a:lnTo>
                    <a:pt x="2075" y="551"/>
                  </a:lnTo>
                  <a:lnTo>
                    <a:pt x="2117" y="593"/>
                  </a:lnTo>
                  <a:lnTo>
                    <a:pt x="2159" y="593"/>
                  </a:lnTo>
                  <a:lnTo>
                    <a:pt x="2202" y="720"/>
                  </a:lnTo>
                  <a:lnTo>
                    <a:pt x="2202" y="805"/>
                  </a:lnTo>
                  <a:lnTo>
                    <a:pt x="2202" y="847"/>
                  </a:lnTo>
                  <a:lnTo>
                    <a:pt x="2244" y="847"/>
                  </a:lnTo>
                  <a:lnTo>
                    <a:pt x="2244" y="932"/>
                  </a:lnTo>
                  <a:lnTo>
                    <a:pt x="2244" y="974"/>
                  </a:lnTo>
                  <a:lnTo>
                    <a:pt x="2244" y="1016"/>
                  </a:lnTo>
                  <a:lnTo>
                    <a:pt x="2244" y="1143"/>
                  </a:lnTo>
                  <a:lnTo>
                    <a:pt x="2286" y="1186"/>
                  </a:lnTo>
                  <a:lnTo>
                    <a:pt x="2286" y="1228"/>
                  </a:lnTo>
                  <a:lnTo>
                    <a:pt x="2413" y="1270"/>
                  </a:lnTo>
                  <a:lnTo>
                    <a:pt x="2456" y="1313"/>
                  </a:lnTo>
                  <a:lnTo>
                    <a:pt x="2498" y="1355"/>
                  </a:lnTo>
                  <a:lnTo>
                    <a:pt x="2540" y="1397"/>
                  </a:lnTo>
                  <a:lnTo>
                    <a:pt x="2540" y="1440"/>
                  </a:lnTo>
                  <a:lnTo>
                    <a:pt x="2583" y="1482"/>
                  </a:lnTo>
                  <a:lnTo>
                    <a:pt x="2583" y="1609"/>
                  </a:lnTo>
                  <a:lnTo>
                    <a:pt x="2583" y="1651"/>
                  </a:lnTo>
                  <a:lnTo>
                    <a:pt x="2625" y="1694"/>
                  </a:lnTo>
                  <a:lnTo>
                    <a:pt x="2667" y="1778"/>
                  </a:lnTo>
                  <a:lnTo>
                    <a:pt x="2667" y="1821"/>
                  </a:lnTo>
                  <a:lnTo>
                    <a:pt x="2667" y="1863"/>
                  </a:lnTo>
                  <a:lnTo>
                    <a:pt x="2667" y="1905"/>
                  </a:lnTo>
                  <a:lnTo>
                    <a:pt x="2667" y="1948"/>
                  </a:lnTo>
                  <a:lnTo>
                    <a:pt x="2710" y="1990"/>
                  </a:lnTo>
                  <a:lnTo>
                    <a:pt x="2667" y="1990"/>
                  </a:lnTo>
                  <a:lnTo>
                    <a:pt x="2625" y="1990"/>
                  </a:lnTo>
                  <a:lnTo>
                    <a:pt x="2625" y="2032"/>
                  </a:lnTo>
                  <a:lnTo>
                    <a:pt x="2540" y="1948"/>
                  </a:lnTo>
                  <a:lnTo>
                    <a:pt x="2498" y="1905"/>
                  </a:lnTo>
                  <a:lnTo>
                    <a:pt x="2456" y="1905"/>
                  </a:lnTo>
                  <a:lnTo>
                    <a:pt x="2456" y="1863"/>
                  </a:lnTo>
                  <a:lnTo>
                    <a:pt x="2371" y="1905"/>
                  </a:lnTo>
                  <a:lnTo>
                    <a:pt x="2286" y="1948"/>
                  </a:lnTo>
                  <a:lnTo>
                    <a:pt x="2159" y="1990"/>
                  </a:lnTo>
                  <a:lnTo>
                    <a:pt x="2075" y="2032"/>
                  </a:lnTo>
                  <a:lnTo>
                    <a:pt x="1990" y="2032"/>
                  </a:lnTo>
                  <a:lnTo>
                    <a:pt x="1905" y="2032"/>
                  </a:lnTo>
                  <a:lnTo>
                    <a:pt x="1821" y="1990"/>
                  </a:lnTo>
                  <a:lnTo>
                    <a:pt x="1694" y="1948"/>
                  </a:lnTo>
                  <a:lnTo>
                    <a:pt x="1524" y="1905"/>
                  </a:lnTo>
                  <a:lnTo>
                    <a:pt x="1567" y="2286"/>
                  </a:lnTo>
                  <a:lnTo>
                    <a:pt x="1609" y="2413"/>
                  </a:lnTo>
                  <a:lnTo>
                    <a:pt x="1609" y="2498"/>
                  </a:lnTo>
                  <a:lnTo>
                    <a:pt x="1651" y="2583"/>
                  </a:lnTo>
                  <a:lnTo>
                    <a:pt x="1736" y="2964"/>
                  </a:lnTo>
                  <a:lnTo>
                    <a:pt x="1736" y="3006"/>
                  </a:lnTo>
                  <a:lnTo>
                    <a:pt x="1905" y="3302"/>
                  </a:lnTo>
                  <a:lnTo>
                    <a:pt x="1990" y="3472"/>
                  </a:lnTo>
                  <a:lnTo>
                    <a:pt x="2075" y="3599"/>
                  </a:lnTo>
                  <a:lnTo>
                    <a:pt x="1990" y="3641"/>
                  </a:lnTo>
                  <a:lnTo>
                    <a:pt x="1863" y="3768"/>
                  </a:lnTo>
                  <a:lnTo>
                    <a:pt x="1778" y="3853"/>
                  </a:lnTo>
                  <a:lnTo>
                    <a:pt x="1736" y="3853"/>
                  </a:lnTo>
                  <a:lnTo>
                    <a:pt x="1694" y="3895"/>
                  </a:lnTo>
                  <a:lnTo>
                    <a:pt x="1651" y="3895"/>
                  </a:lnTo>
                  <a:lnTo>
                    <a:pt x="1524" y="3937"/>
                  </a:lnTo>
                  <a:lnTo>
                    <a:pt x="1186" y="4022"/>
                  </a:lnTo>
                  <a:lnTo>
                    <a:pt x="1143" y="4064"/>
                  </a:lnTo>
                  <a:lnTo>
                    <a:pt x="1101" y="4064"/>
                  </a:lnTo>
                  <a:lnTo>
                    <a:pt x="1016" y="4107"/>
                  </a:lnTo>
                  <a:lnTo>
                    <a:pt x="805" y="4149"/>
                  </a:lnTo>
                  <a:lnTo>
                    <a:pt x="762" y="4149"/>
                  </a:lnTo>
                  <a:lnTo>
                    <a:pt x="593" y="4234"/>
                  </a:lnTo>
                  <a:lnTo>
                    <a:pt x="466" y="4361"/>
                  </a:lnTo>
                  <a:lnTo>
                    <a:pt x="424" y="4445"/>
                  </a:lnTo>
                  <a:lnTo>
                    <a:pt x="339" y="4615"/>
                  </a:lnTo>
                  <a:lnTo>
                    <a:pt x="297" y="4826"/>
                  </a:lnTo>
                  <a:lnTo>
                    <a:pt x="297" y="4996"/>
                  </a:lnTo>
                  <a:lnTo>
                    <a:pt x="170" y="5038"/>
                  </a:lnTo>
                  <a:lnTo>
                    <a:pt x="127" y="5038"/>
                  </a:lnTo>
                  <a:lnTo>
                    <a:pt x="0" y="5080"/>
                  </a:lnTo>
                  <a:lnTo>
                    <a:pt x="85" y="5123"/>
                  </a:lnTo>
                  <a:lnTo>
                    <a:pt x="424" y="5250"/>
                  </a:lnTo>
                  <a:lnTo>
                    <a:pt x="466" y="5292"/>
                  </a:lnTo>
                  <a:lnTo>
                    <a:pt x="466" y="5334"/>
                  </a:lnTo>
                  <a:lnTo>
                    <a:pt x="508" y="5419"/>
                  </a:lnTo>
                  <a:lnTo>
                    <a:pt x="551" y="5377"/>
                  </a:lnTo>
                  <a:lnTo>
                    <a:pt x="593" y="5419"/>
                  </a:lnTo>
                  <a:lnTo>
                    <a:pt x="635" y="5419"/>
                  </a:lnTo>
                  <a:lnTo>
                    <a:pt x="678" y="5419"/>
                  </a:lnTo>
                  <a:lnTo>
                    <a:pt x="762" y="5419"/>
                  </a:lnTo>
                  <a:lnTo>
                    <a:pt x="805" y="5419"/>
                  </a:lnTo>
                  <a:lnTo>
                    <a:pt x="847" y="5419"/>
                  </a:lnTo>
                  <a:lnTo>
                    <a:pt x="932" y="5419"/>
                  </a:lnTo>
                  <a:lnTo>
                    <a:pt x="974" y="5377"/>
                  </a:lnTo>
                  <a:lnTo>
                    <a:pt x="1016" y="5377"/>
                  </a:lnTo>
                  <a:lnTo>
                    <a:pt x="1059" y="5419"/>
                  </a:lnTo>
                  <a:lnTo>
                    <a:pt x="1143" y="5419"/>
                  </a:lnTo>
                  <a:lnTo>
                    <a:pt x="1186" y="5461"/>
                  </a:lnTo>
                  <a:lnTo>
                    <a:pt x="1186" y="5504"/>
                  </a:lnTo>
                  <a:lnTo>
                    <a:pt x="1228" y="5504"/>
                  </a:lnTo>
                  <a:lnTo>
                    <a:pt x="1186" y="5546"/>
                  </a:lnTo>
                  <a:lnTo>
                    <a:pt x="1143" y="5546"/>
                  </a:lnTo>
                  <a:lnTo>
                    <a:pt x="1143" y="5588"/>
                  </a:lnTo>
                  <a:lnTo>
                    <a:pt x="1186" y="5588"/>
                  </a:lnTo>
                  <a:lnTo>
                    <a:pt x="1186" y="5631"/>
                  </a:lnTo>
                  <a:lnTo>
                    <a:pt x="1186" y="5673"/>
                  </a:lnTo>
                  <a:lnTo>
                    <a:pt x="1186" y="5715"/>
                  </a:lnTo>
                  <a:lnTo>
                    <a:pt x="1228" y="5715"/>
                  </a:lnTo>
                  <a:lnTo>
                    <a:pt x="1228" y="5673"/>
                  </a:lnTo>
                  <a:lnTo>
                    <a:pt x="1270" y="5673"/>
                  </a:lnTo>
                  <a:lnTo>
                    <a:pt x="1313" y="5673"/>
                  </a:lnTo>
                  <a:lnTo>
                    <a:pt x="1313" y="5631"/>
                  </a:lnTo>
                  <a:lnTo>
                    <a:pt x="1355" y="5631"/>
                  </a:lnTo>
                  <a:lnTo>
                    <a:pt x="1397" y="5631"/>
                  </a:lnTo>
                  <a:lnTo>
                    <a:pt x="1397" y="5588"/>
                  </a:lnTo>
                  <a:lnTo>
                    <a:pt x="1482" y="5546"/>
                  </a:lnTo>
                  <a:lnTo>
                    <a:pt x="1482" y="5588"/>
                  </a:lnTo>
                  <a:lnTo>
                    <a:pt x="1524" y="5588"/>
                  </a:lnTo>
                  <a:lnTo>
                    <a:pt x="1524" y="5673"/>
                  </a:lnTo>
                  <a:lnTo>
                    <a:pt x="1651" y="5758"/>
                  </a:lnTo>
                  <a:lnTo>
                    <a:pt x="1609" y="5800"/>
                  </a:lnTo>
                  <a:lnTo>
                    <a:pt x="1567" y="5842"/>
                  </a:lnTo>
                  <a:lnTo>
                    <a:pt x="1567" y="5885"/>
                  </a:lnTo>
                  <a:lnTo>
                    <a:pt x="1482" y="5927"/>
                  </a:lnTo>
                  <a:lnTo>
                    <a:pt x="1440" y="5927"/>
                  </a:lnTo>
                  <a:lnTo>
                    <a:pt x="1440" y="5969"/>
                  </a:lnTo>
                  <a:lnTo>
                    <a:pt x="1397" y="6012"/>
                  </a:lnTo>
                  <a:lnTo>
                    <a:pt x="1355" y="6054"/>
                  </a:lnTo>
                  <a:lnTo>
                    <a:pt x="1397" y="6096"/>
                  </a:lnTo>
                  <a:lnTo>
                    <a:pt x="1482" y="6096"/>
                  </a:lnTo>
                  <a:lnTo>
                    <a:pt x="1524" y="6139"/>
                  </a:lnTo>
                  <a:lnTo>
                    <a:pt x="1524" y="6181"/>
                  </a:lnTo>
                  <a:lnTo>
                    <a:pt x="1482" y="6223"/>
                  </a:lnTo>
                  <a:lnTo>
                    <a:pt x="1482" y="6266"/>
                  </a:lnTo>
                  <a:lnTo>
                    <a:pt x="1440" y="6266"/>
                  </a:lnTo>
                  <a:lnTo>
                    <a:pt x="1397" y="6223"/>
                  </a:lnTo>
                  <a:lnTo>
                    <a:pt x="1355" y="6223"/>
                  </a:lnTo>
                  <a:lnTo>
                    <a:pt x="1313" y="6223"/>
                  </a:lnTo>
                  <a:lnTo>
                    <a:pt x="1313" y="6266"/>
                  </a:lnTo>
                  <a:lnTo>
                    <a:pt x="1313" y="6308"/>
                  </a:lnTo>
                  <a:lnTo>
                    <a:pt x="1355" y="6350"/>
                  </a:lnTo>
                  <a:lnTo>
                    <a:pt x="1355" y="6393"/>
                  </a:lnTo>
                  <a:lnTo>
                    <a:pt x="1313" y="6393"/>
                  </a:lnTo>
                  <a:lnTo>
                    <a:pt x="1313" y="6435"/>
                  </a:lnTo>
                  <a:lnTo>
                    <a:pt x="1355" y="6520"/>
                  </a:lnTo>
                  <a:lnTo>
                    <a:pt x="1313" y="6520"/>
                  </a:lnTo>
                  <a:lnTo>
                    <a:pt x="1313" y="6562"/>
                  </a:lnTo>
                  <a:lnTo>
                    <a:pt x="1270" y="6562"/>
                  </a:lnTo>
                  <a:lnTo>
                    <a:pt x="1186" y="6520"/>
                  </a:lnTo>
                  <a:lnTo>
                    <a:pt x="1143" y="6647"/>
                  </a:lnTo>
                  <a:lnTo>
                    <a:pt x="1143" y="6731"/>
                  </a:lnTo>
                  <a:lnTo>
                    <a:pt x="1101" y="6774"/>
                  </a:lnTo>
                  <a:lnTo>
                    <a:pt x="1101" y="6816"/>
                  </a:lnTo>
                  <a:lnTo>
                    <a:pt x="1143" y="6816"/>
                  </a:lnTo>
                  <a:lnTo>
                    <a:pt x="1186" y="6858"/>
                  </a:lnTo>
                  <a:lnTo>
                    <a:pt x="1186" y="6901"/>
                  </a:lnTo>
                  <a:lnTo>
                    <a:pt x="1143" y="6985"/>
                  </a:lnTo>
                  <a:lnTo>
                    <a:pt x="1143" y="7028"/>
                  </a:lnTo>
                  <a:lnTo>
                    <a:pt x="1143" y="7070"/>
                  </a:lnTo>
                  <a:lnTo>
                    <a:pt x="1143" y="7112"/>
                  </a:lnTo>
                  <a:lnTo>
                    <a:pt x="1101" y="7155"/>
                  </a:lnTo>
                  <a:lnTo>
                    <a:pt x="1059" y="7197"/>
                  </a:lnTo>
                  <a:lnTo>
                    <a:pt x="1016" y="7282"/>
                  </a:lnTo>
                  <a:lnTo>
                    <a:pt x="974" y="7282"/>
                  </a:lnTo>
                  <a:lnTo>
                    <a:pt x="932" y="7366"/>
                  </a:lnTo>
                  <a:lnTo>
                    <a:pt x="889" y="7451"/>
                  </a:lnTo>
                  <a:lnTo>
                    <a:pt x="889" y="7493"/>
                  </a:lnTo>
                  <a:lnTo>
                    <a:pt x="932" y="7493"/>
                  </a:lnTo>
                  <a:lnTo>
                    <a:pt x="974" y="7493"/>
                  </a:lnTo>
                  <a:lnTo>
                    <a:pt x="1016" y="7451"/>
                  </a:lnTo>
                  <a:lnTo>
                    <a:pt x="1059" y="7451"/>
                  </a:lnTo>
                  <a:lnTo>
                    <a:pt x="1101" y="7493"/>
                  </a:lnTo>
                  <a:lnTo>
                    <a:pt x="1101" y="7536"/>
                  </a:lnTo>
                  <a:lnTo>
                    <a:pt x="1016" y="7578"/>
                  </a:lnTo>
                  <a:lnTo>
                    <a:pt x="1016" y="7620"/>
                  </a:lnTo>
                  <a:lnTo>
                    <a:pt x="1016" y="7663"/>
                  </a:lnTo>
                  <a:lnTo>
                    <a:pt x="932" y="7747"/>
                  </a:lnTo>
                  <a:lnTo>
                    <a:pt x="932" y="7790"/>
                  </a:lnTo>
                  <a:lnTo>
                    <a:pt x="889" y="7832"/>
                  </a:lnTo>
                  <a:lnTo>
                    <a:pt x="932" y="7874"/>
                  </a:lnTo>
                  <a:lnTo>
                    <a:pt x="889" y="7917"/>
                  </a:lnTo>
                  <a:lnTo>
                    <a:pt x="847" y="7917"/>
                  </a:lnTo>
                  <a:lnTo>
                    <a:pt x="805" y="7917"/>
                  </a:lnTo>
                  <a:lnTo>
                    <a:pt x="762" y="7917"/>
                  </a:lnTo>
                  <a:lnTo>
                    <a:pt x="720" y="7959"/>
                  </a:lnTo>
                  <a:lnTo>
                    <a:pt x="720" y="8001"/>
                  </a:lnTo>
                  <a:lnTo>
                    <a:pt x="720" y="8044"/>
                  </a:lnTo>
                  <a:lnTo>
                    <a:pt x="635" y="8128"/>
                  </a:lnTo>
                  <a:lnTo>
                    <a:pt x="635" y="8171"/>
                  </a:lnTo>
                  <a:lnTo>
                    <a:pt x="593" y="8171"/>
                  </a:lnTo>
                  <a:lnTo>
                    <a:pt x="551" y="8213"/>
                  </a:lnTo>
                  <a:lnTo>
                    <a:pt x="508" y="8213"/>
                  </a:lnTo>
                  <a:lnTo>
                    <a:pt x="508" y="8255"/>
                  </a:lnTo>
                  <a:lnTo>
                    <a:pt x="466" y="8255"/>
                  </a:lnTo>
                  <a:lnTo>
                    <a:pt x="424" y="8255"/>
                  </a:lnTo>
                  <a:lnTo>
                    <a:pt x="466" y="8298"/>
                  </a:lnTo>
                  <a:lnTo>
                    <a:pt x="424" y="8340"/>
                  </a:lnTo>
                  <a:lnTo>
                    <a:pt x="424" y="8382"/>
                  </a:lnTo>
                  <a:lnTo>
                    <a:pt x="424" y="8425"/>
                  </a:lnTo>
                  <a:lnTo>
                    <a:pt x="424" y="8467"/>
                  </a:lnTo>
                  <a:lnTo>
                    <a:pt x="424" y="8509"/>
                  </a:lnTo>
                  <a:lnTo>
                    <a:pt x="424" y="8552"/>
                  </a:lnTo>
                  <a:lnTo>
                    <a:pt x="424" y="8594"/>
                  </a:lnTo>
                  <a:lnTo>
                    <a:pt x="466" y="8594"/>
                  </a:lnTo>
                  <a:lnTo>
                    <a:pt x="466" y="8636"/>
                  </a:lnTo>
                  <a:lnTo>
                    <a:pt x="466" y="8679"/>
                  </a:lnTo>
                  <a:lnTo>
                    <a:pt x="508" y="8679"/>
                  </a:lnTo>
                  <a:lnTo>
                    <a:pt x="508" y="8721"/>
                  </a:lnTo>
                  <a:lnTo>
                    <a:pt x="551" y="8763"/>
                  </a:lnTo>
                  <a:lnTo>
                    <a:pt x="593" y="8763"/>
                  </a:lnTo>
                  <a:lnTo>
                    <a:pt x="635" y="8763"/>
                  </a:lnTo>
                  <a:lnTo>
                    <a:pt x="635" y="8806"/>
                  </a:lnTo>
                  <a:lnTo>
                    <a:pt x="720" y="8806"/>
                  </a:lnTo>
                  <a:lnTo>
                    <a:pt x="762" y="8848"/>
                  </a:lnTo>
                  <a:lnTo>
                    <a:pt x="762" y="8890"/>
                  </a:lnTo>
                  <a:lnTo>
                    <a:pt x="720" y="8933"/>
                  </a:lnTo>
                  <a:lnTo>
                    <a:pt x="762" y="9060"/>
                  </a:lnTo>
                  <a:lnTo>
                    <a:pt x="762" y="9144"/>
                  </a:lnTo>
                  <a:lnTo>
                    <a:pt x="678" y="9271"/>
                  </a:lnTo>
                  <a:lnTo>
                    <a:pt x="678" y="9314"/>
                  </a:lnTo>
                  <a:lnTo>
                    <a:pt x="720" y="9314"/>
                  </a:lnTo>
                  <a:lnTo>
                    <a:pt x="762" y="9314"/>
                  </a:lnTo>
                  <a:lnTo>
                    <a:pt x="805" y="9271"/>
                  </a:lnTo>
                  <a:lnTo>
                    <a:pt x="847" y="9271"/>
                  </a:lnTo>
                  <a:lnTo>
                    <a:pt x="889" y="9229"/>
                  </a:lnTo>
                  <a:lnTo>
                    <a:pt x="889" y="9271"/>
                  </a:lnTo>
                  <a:lnTo>
                    <a:pt x="932" y="9314"/>
                  </a:lnTo>
                  <a:lnTo>
                    <a:pt x="974" y="9314"/>
                  </a:lnTo>
                  <a:lnTo>
                    <a:pt x="1016" y="9271"/>
                  </a:lnTo>
                  <a:lnTo>
                    <a:pt x="1016" y="9229"/>
                  </a:lnTo>
                  <a:lnTo>
                    <a:pt x="1059" y="9187"/>
                  </a:lnTo>
                  <a:lnTo>
                    <a:pt x="1143" y="9060"/>
                  </a:lnTo>
                  <a:lnTo>
                    <a:pt x="1228" y="9060"/>
                  </a:lnTo>
                  <a:lnTo>
                    <a:pt x="1228" y="9144"/>
                  </a:lnTo>
                  <a:lnTo>
                    <a:pt x="1270" y="9229"/>
                  </a:lnTo>
                  <a:lnTo>
                    <a:pt x="1313" y="9187"/>
                  </a:lnTo>
                  <a:lnTo>
                    <a:pt x="1397" y="9314"/>
                  </a:lnTo>
                  <a:lnTo>
                    <a:pt x="1440" y="9314"/>
                  </a:lnTo>
                  <a:lnTo>
                    <a:pt x="1482" y="9271"/>
                  </a:lnTo>
                  <a:lnTo>
                    <a:pt x="1524" y="9314"/>
                  </a:lnTo>
                  <a:lnTo>
                    <a:pt x="1567" y="9271"/>
                  </a:lnTo>
                  <a:lnTo>
                    <a:pt x="1609" y="9229"/>
                  </a:lnTo>
                  <a:lnTo>
                    <a:pt x="1609" y="9271"/>
                  </a:lnTo>
                  <a:lnTo>
                    <a:pt x="1609" y="9356"/>
                  </a:lnTo>
                  <a:lnTo>
                    <a:pt x="1651" y="9314"/>
                  </a:lnTo>
                  <a:lnTo>
                    <a:pt x="1694" y="9271"/>
                  </a:lnTo>
                  <a:lnTo>
                    <a:pt x="1694" y="9229"/>
                  </a:lnTo>
                  <a:lnTo>
                    <a:pt x="1736" y="9229"/>
                  </a:lnTo>
                  <a:lnTo>
                    <a:pt x="1778" y="9229"/>
                  </a:lnTo>
                  <a:lnTo>
                    <a:pt x="1863" y="9187"/>
                  </a:lnTo>
                  <a:lnTo>
                    <a:pt x="1863" y="9229"/>
                  </a:lnTo>
                  <a:lnTo>
                    <a:pt x="1863" y="9314"/>
                  </a:lnTo>
                  <a:lnTo>
                    <a:pt x="1948" y="9356"/>
                  </a:lnTo>
                  <a:lnTo>
                    <a:pt x="1948" y="9314"/>
                  </a:lnTo>
                  <a:lnTo>
                    <a:pt x="1990" y="9314"/>
                  </a:lnTo>
                  <a:lnTo>
                    <a:pt x="2032" y="9314"/>
                  </a:lnTo>
                  <a:lnTo>
                    <a:pt x="2032" y="9356"/>
                  </a:lnTo>
                  <a:lnTo>
                    <a:pt x="2117" y="9314"/>
                  </a:lnTo>
                  <a:lnTo>
                    <a:pt x="2159" y="9271"/>
                  </a:lnTo>
                  <a:lnTo>
                    <a:pt x="2202" y="9271"/>
                  </a:lnTo>
                  <a:lnTo>
                    <a:pt x="2244" y="9271"/>
                  </a:lnTo>
                  <a:lnTo>
                    <a:pt x="2286" y="9271"/>
                  </a:lnTo>
                  <a:lnTo>
                    <a:pt x="2329" y="9271"/>
                  </a:lnTo>
                  <a:lnTo>
                    <a:pt x="2371" y="9314"/>
                  </a:lnTo>
                  <a:lnTo>
                    <a:pt x="2456" y="9356"/>
                  </a:lnTo>
                  <a:lnTo>
                    <a:pt x="2498" y="9356"/>
                  </a:lnTo>
                  <a:lnTo>
                    <a:pt x="2498" y="9314"/>
                  </a:lnTo>
                  <a:lnTo>
                    <a:pt x="2583" y="9314"/>
                  </a:lnTo>
                  <a:lnTo>
                    <a:pt x="2625" y="9314"/>
                  </a:lnTo>
                  <a:lnTo>
                    <a:pt x="2625" y="9229"/>
                  </a:lnTo>
                  <a:lnTo>
                    <a:pt x="2667" y="9144"/>
                  </a:lnTo>
                  <a:lnTo>
                    <a:pt x="2540" y="9060"/>
                  </a:lnTo>
                  <a:lnTo>
                    <a:pt x="2498" y="9060"/>
                  </a:lnTo>
                  <a:lnTo>
                    <a:pt x="2456" y="9017"/>
                  </a:lnTo>
                  <a:lnTo>
                    <a:pt x="2456" y="8975"/>
                  </a:lnTo>
                  <a:lnTo>
                    <a:pt x="2413" y="8975"/>
                  </a:lnTo>
                  <a:lnTo>
                    <a:pt x="2371" y="8933"/>
                  </a:lnTo>
                  <a:lnTo>
                    <a:pt x="2371" y="8890"/>
                  </a:lnTo>
                  <a:lnTo>
                    <a:pt x="2371" y="8848"/>
                  </a:lnTo>
                  <a:lnTo>
                    <a:pt x="2413" y="8806"/>
                  </a:lnTo>
                  <a:lnTo>
                    <a:pt x="2456" y="8848"/>
                  </a:lnTo>
                  <a:lnTo>
                    <a:pt x="2540" y="8890"/>
                  </a:lnTo>
                  <a:lnTo>
                    <a:pt x="2583" y="8806"/>
                  </a:lnTo>
                  <a:lnTo>
                    <a:pt x="2625" y="8763"/>
                  </a:lnTo>
                  <a:lnTo>
                    <a:pt x="2625" y="8721"/>
                  </a:lnTo>
                  <a:lnTo>
                    <a:pt x="2667" y="8721"/>
                  </a:lnTo>
                  <a:lnTo>
                    <a:pt x="2625" y="8679"/>
                  </a:lnTo>
                  <a:lnTo>
                    <a:pt x="2625" y="8636"/>
                  </a:lnTo>
                  <a:lnTo>
                    <a:pt x="2583" y="8594"/>
                  </a:lnTo>
                  <a:lnTo>
                    <a:pt x="2583" y="8552"/>
                  </a:lnTo>
                  <a:lnTo>
                    <a:pt x="2583" y="8509"/>
                  </a:lnTo>
                  <a:lnTo>
                    <a:pt x="2625" y="8467"/>
                  </a:lnTo>
                  <a:lnTo>
                    <a:pt x="2710" y="8467"/>
                  </a:lnTo>
                  <a:lnTo>
                    <a:pt x="2752" y="8425"/>
                  </a:lnTo>
                  <a:lnTo>
                    <a:pt x="2794" y="8425"/>
                  </a:lnTo>
                  <a:lnTo>
                    <a:pt x="2794" y="8382"/>
                  </a:lnTo>
                  <a:lnTo>
                    <a:pt x="2837" y="8382"/>
                  </a:lnTo>
                  <a:lnTo>
                    <a:pt x="2837" y="8425"/>
                  </a:lnTo>
                  <a:lnTo>
                    <a:pt x="2921" y="8467"/>
                  </a:lnTo>
                  <a:lnTo>
                    <a:pt x="2921" y="8382"/>
                  </a:lnTo>
                  <a:lnTo>
                    <a:pt x="2921" y="8340"/>
                  </a:lnTo>
                  <a:lnTo>
                    <a:pt x="2964" y="8340"/>
                  </a:lnTo>
                  <a:lnTo>
                    <a:pt x="2964" y="8298"/>
                  </a:lnTo>
                  <a:lnTo>
                    <a:pt x="3006" y="8255"/>
                  </a:lnTo>
                  <a:lnTo>
                    <a:pt x="3006" y="8171"/>
                  </a:lnTo>
                  <a:lnTo>
                    <a:pt x="2964" y="8128"/>
                  </a:lnTo>
                  <a:lnTo>
                    <a:pt x="2964" y="8171"/>
                  </a:lnTo>
                  <a:lnTo>
                    <a:pt x="2921" y="8086"/>
                  </a:lnTo>
                  <a:lnTo>
                    <a:pt x="2921" y="8044"/>
                  </a:lnTo>
                  <a:lnTo>
                    <a:pt x="2921" y="8001"/>
                  </a:lnTo>
                  <a:lnTo>
                    <a:pt x="2964" y="7959"/>
                  </a:lnTo>
                  <a:lnTo>
                    <a:pt x="2964" y="7917"/>
                  </a:lnTo>
                  <a:lnTo>
                    <a:pt x="3006" y="7874"/>
                  </a:lnTo>
                  <a:lnTo>
                    <a:pt x="3006" y="7832"/>
                  </a:lnTo>
                  <a:lnTo>
                    <a:pt x="2964" y="7790"/>
                  </a:lnTo>
                  <a:lnTo>
                    <a:pt x="2921" y="7790"/>
                  </a:lnTo>
                  <a:lnTo>
                    <a:pt x="2879" y="7790"/>
                  </a:lnTo>
                  <a:lnTo>
                    <a:pt x="2794" y="7790"/>
                  </a:lnTo>
                  <a:lnTo>
                    <a:pt x="2794" y="7747"/>
                  </a:lnTo>
                  <a:lnTo>
                    <a:pt x="2794" y="7705"/>
                  </a:lnTo>
                  <a:lnTo>
                    <a:pt x="2752" y="7747"/>
                  </a:lnTo>
                  <a:lnTo>
                    <a:pt x="2710" y="7705"/>
                  </a:lnTo>
                  <a:lnTo>
                    <a:pt x="2583" y="7663"/>
                  </a:lnTo>
                  <a:lnTo>
                    <a:pt x="2583" y="7578"/>
                  </a:lnTo>
                  <a:lnTo>
                    <a:pt x="2583" y="7536"/>
                  </a:lnTo>
                  <a:lnTo>
                    <a:pt x="2498" y="7493"/>
                  </a:lnTo>
                  <a:lnTo>
                    <a:pt x="2540" y="7451"/>
                  </a:lnTo>
                  <a:lnTo>
                    <a:pt x="2583" y="7451"/>
                  </a:lnTo>
                  <a:lnTo>
                    <a:pt x="2583" y="7409"/>
                  </a:lnTo>
                  <a:lnTo>
                    <a:pt x="2625" y="7239"/>
                  </a:lnTo>
                  <a:lnTo>
                    <a:pt x="2583" y="7239"/>
                  </a:lnTo>
                  <a:lnTo>
                    <a:pt x="2413" y="7239"/>
                  </a:lnTo>
                  <a:lnTo>
                    <a:pt x="2371" y="7239"/>
                  </a:lnTo>
                  <a:lnTo>
                    <a:pt x="2329" y="7282"/>
                  </a:lnTo>
                  <a:lnTo>
                    <a:pt x="2286" y="7282"/>
                  </a:lnTo>
                  <a:lnTo>
                    <a:pt x="2244" y="7239"/>
                  </a:lnTo>
                  <a:lnTo>
                    <a:pt x="2244" y="7197"/>
                  </a:lnTo>
                  <a:lnTo>
                    <a:pt x="2202" y="7197"/>
                  </a:lnTo>
                  <a:lnTo>
                    <a:pt x="2117" y="7239"/>
                  </a:lnTo>
                  <a:lnTo>
                    <a:pt x="2075" y="7239"/>
                  </a:lnTo>
                  <a:lnTo>
                    <a:pt x="2032" y="7282"/>
                  </a:lnTo>
                  <a:lnTo>
                    <a:pt x="1990" y="7282"/>
                  </a:lnTo>
                  <a:lnTo>
                    <a:pt x="1948" y="7324"/>
                  </a:lnTo>
                  <a:lnTo>
                    <a:pt x="1905" y="7324"/>
                  </a:lnTo>
                  <a:lnTo>
                    <a:pt x="1863" y="7282"/>
                  </a:lnTo>
                  <a:lnTo>
                    <a:pt x="1948" y="7197"/>
                  </a:lnTo>
                  <a:lnTo>
                    <a:pt x="1948" y="7070"/>
                  </a:lnTo>
                  <a:lnTo>
                    <a:pt x="1905" y="7070"/>
                  </a:lnTo>
                  <a:lnTo>
                    <a:pt x="1863" y="7028"/>
                  </a:lnTo>
                  <a:lnTo>
                    <a:pt x="1863" y="6985"/>
                  </a:lnTo>
                  <a:lnTo>
                    <a:pt x="1821" y="6985"/>
                  </a:lnTo>
                  <a:lnTo>
                    <a:pt x="1821" y="6943"/>
                  </a:lnTo>
                  <a:lnTo>
                    <a:pt x="1778" y="6943"/>
                  </a:lnTo>
                  <a:lnTo>
                    <a:pt x="1778" y="6901"/>
                  </a:lnTo>
                  <a:lnTo>
                    <a:pt x="1778" y="6858"/>
                  </a:lnTo>
                  <a:lnTo>
                    <a:pt x="1778" y="6816"/>
                  </a:lnTo>
                  <a:lnTo>
                    <a:pt x="1778" y="6731"/>
                  </a:lnTo>
                  <a:lnTo>
                    <a:pt x="1736" y="6689"/>
                  </a:lnTo>
                  <a:lnTo>
                    <a:pt x="1694" y="6604"/>
                  </a:lnTo>
                  <a:lnTo>
                    <a:pt x="1736" y="6604"/>
                  </a:lnTo>
                  <a:lnTo>
                    <a:pt x="1821" y="6604"/>
                  </a:lnTo>
                  <a:lnTo>
                    <a:pt x="1863" y="6604"/>
                  </a:lnTo>
                  <a:lnTo>
                    <a:pt x="1863" y="6562"/>
                  </a:lnTo>
                  <a:lnTo>
                    <a:pt x="1948" y="6520"/>
                  </a:lnTo>
                  <a:lnTo>
                    <a:pt x="1990" y="6477"/>
                  </a:lnTo>
                  <a:lnTo>
                    <a:pt x="1990" y="6520"/>
                  </a:lnTo>
                  <a:lnTo>
                    <a:pt x="2075" y="6647"/>
                  </a:lnTo>
                  <a:lnTo>
                    <a:pt x="2117" y="6731"/>
                  </a:lnTo>
                  <a:lnTo>
                    <a:pt x="2117" y="6774"/>
                  </a:lnTo>
                  <a:lnTo>
                    <a:pt x="2159" y="6731"/>
                  </a:lnTo>
                  <a:lnTo>
                    <a:pt x="2202" y="6731"/>
                  </a:lnTo>
                  <a:lnTo>
                    <a:pt x="2202" y="6774"/>
                  </a:lnTo>
                  <a:lnTo>
                    <a:pt x="2244" y="6774"/>
                  </a:lnTo>
                  <a:lnTo>
                    <a:pt x="2244" y="6731"/>
                  </a:lnTo>
                  <a:lnTo>
                    <a:pt x="2286" y="6689"/>
                  </a:lnTo>
                  <a:lnTo>
                    <a:pt x="2286" y="6647"/>
                  </a:lnTo>
                  <a:lnTo>
                    <a:pt x="2329" y="6604"/>
                  </a:lnTo>
                  <a:lnTo>
                    <a:pt x="2329" y="6562"/>
                  </a:lnTo>
                  <a:lnTo>
                    <a:pt x="2329" y="6520"/>
                  </a:lnTo>
                  <a:lnTo>
                    <a:pt x="2371" y="6477"/>
                  </a:lnTo>
                  <a:lnTo>
                    <a:pt x="2371" y="6435"/>
                  </a:lnTo>
                  <a:lnTo>
                    <a:pt x="2413" y="6393"/>
                  </a:lnTo>
                  <a:lnTo>
                    <a:pt x="2413" y="6350"/>
                  </a:lnTo>
                  <a:lnTo>
                    <a:pt x="2456" y="6308"/>
                  </a:lnTo>
                  <a:lnTo>
                    <a:pt x="2540" y="6266"/>
                  </a:lnTo>
                  <a:lnTo>
                    <a:pt x="2583" y="6223"/>
                  </a:lnTo>
                  <a:lnTo>
                    <a:pt x="2667" y="6181"/>
                  </a:lnTo>
                  <a:lnTo>
                    <a:pt x="2710" y="6181"/>
                  </a:lnTo>
                  <a:lnTo>
                    <a:pt x="2752" y="6139"/>
                  </a:lnTo>
                  <a:lnTo>
                    <a:pt x="2794" y="6096"/>
                  </a:lnTo>
                  <a:lnTo>
                    <a:pt x="2794" y="6054"/>
                  </a:lnTo>
                  <a:lnTo>
                    <a:pt x="2837" y="6012"/>
                  </a:lnTo>
                  <a:lnTo>
                    <a:pt x="2879" y="6012"/>
                  </a:lnTo>
                  <a:lnTo>
                    <a:pt x="2921" y="6012"/>
                  </a:lnTo>
                  <a:lnTo>
                    <a:pt x="2964" y="5969"/>
                  </a:lnTo>
                  <a:lnTo>
                    <a:pt x="2964" y="5927"/>
                  </a:lnTo>
                  <a:lnTo>
                    <a:pt x="2964" y="5885"/>
                  </a:lnTo>
                  <a:lnTo>
                    <a:pt x="3006" y="5842"/>
                  </a:lnTo>
                  <a:lnTo>
                    <a:pt x="3048" y="5842"/>
                  </a:lnTo>
                  <a:lnTo>
                    <a:pt x="3091" y="5842"/>
                  </a:lnTo>
                  <a:lnTo>
                    <a:pt x="3133" y="5800"/>
                  </a:lnTo>
                  <a:lnTo>
                    <a:pt x="3175" y="5800"/>
                  </a:lnTo>
                  <a:lnTo>
                    <a:pt x="3175" y="5758"/>
                  </a:lnTo>
                  <a:lnTo>
                    <a:pt x="3260" y="5758"/>
                  </a:lnTo>
                  <a:lnTo>
                    <a:pt x="3302" y="5715"/>
                  </a:lnTo>
                  <a:lnTo>
                    <a:pt x="3345" y="5715"/>
                  </a:lnTo>
                  <a:lnTo>
                    <a:pt x="3429" y="5715"/>
                  </a:lnTo>
                  <a:lnTo>
                    <a:pt x="3387" y="5673"/>
                  </a:lnTo>
                  <a:lnTo>
                    <a:pt x="3429" y="5673"/>
                  </a:lnTo>
                  <a:lnTo>
                    <a:pt x="3472" y="5631"/>
                  </a:lnTo>
                  <a:lnTo>
                    <a:pt x="3302" y="5504"/>
                  </a:lnTo>
                  <a:lnTo>
                    <a:pt x="3260" y="5504"/>
                  </a:lnTo>
                  <a:lnTo>
                    <a:pt x="3514" y="5377"/>
                  </a:lnTo>
                  <a:lnTo>
                    <a:pt x="3429" y="5292"/>
                  </a:lnTo>
                  <a:lnTo>
                    <a:pt x="3175" y="5419"/>
                  </a:lnTo>
                  <a:lnTo>
                    <a:pt x="3133" y="5461"/>
                  </a:lnTo>
                  <a:lnTo>
                    <a:pt x="3091" y="5504"/>
                  </a:lnTo>
                  <a:lnTo>
                    <a:pt x="3048" y="5504"/>
                  </a:lnTo>
                  <a:lnTo>
                    <a:pt x="3006" y="5504"/>
                  </a:lnTo>
                  <a:lnTo>
                    <a:pt x="2921" y="5504"/>
                  </a:lnTo>
                  <a:lnTo>
                    <a:pt x="2921" y="5461"/>
                  </a:lnTo>
                  <a:lnTo>
                    <a:pt x="2879" y="5419"/>
                  </a:lnTo>
                  <a:lnTo>
                    <a:pt x="2879" y="5123"/>
                  </a:lnTo>
                  <a:lnTo>
                    <a:pt x="2837" y="5080"/>
                  </a:lnTo>
                  <a:lnTo>
                    <a:pt x="2879" y="5038"/>
                  </a:lnTo>
                  <a:lnTo>
                    <a:pt x="2964" y="5038"/>
                  </a:lnTo>
                  <a:lnTo>
                    <a:pt x="2879" y="4869"/>
                  </a:lnTo>
                  <a:lnTo>
                    <a:pt x="2964" y="4826"/>
                  </a:lnTo>
                  <a:lnTo>
                    <a:pt x="3006" y="4742"/>
                  </a:lnTo>
                  <a:lnTo>
                    <a:pt x="3175" y="4572"/>
                  </a:lnTo>
                  <a:lnTo>
                    <a:pt x="3175" y="4530"/>
                  </a:lnTo>
                  <a:lnTo>
                    <a:pt x="3218" y="4488"/>
                  </a:lnTo>
                  <a:lnTo>
                    <a:pt x="3302" y="4361"/>
                  </a:lnTo>
                  <a:lnTo>
                    <a:pt x="3345" y="4276"/>
                  </a:lnTo>
                  <a:lnTo>
                    <a:pt x="3345" y="4234"/>
                  </a:lnTo>
                  <a:lnTo>
                    <a:pt x="3387" y="4191"/>
                  </a:lnTo>
                  <a:lnTo>
                    <a:pt x="3387" y="4149"/>
                  </a:lnTo>
                  <a:lnTo>
                    <a:pt x="3387" y="4107"/>
                  </a:lnTo>
                  <a:lnTo>
                    <a:pt x="3429" y="4064"/>
                  </a:lnTo>
                  <a:lnTo>
                    <a:pt x="3429" y="4022"/>
                  </a:lnTo>
                  <a:lnTo>
                    <a:pt x="3472" y="4022"/>
                  </a:lnTo>
                  <a:lnTo>
                    <a:pt x="3514" y="4022"/>
                  </a:lnTo>
                  <a:lnTo>
                    <a:pt x="3556" y="4022"/>
                  </a:lnTo>
                  <a:lnTo>
                    <a:pt x="3556" y="3980"/>
                  </a:lnTo>
                  <a:lnTo>
                    <a:pt x="3768" y="3768"/>
                  </a:lnTo>
                  <a:lnTo>
                    <a:pt x="3726" y="3641"/>
                  </a:lnTo>
                  <a:lnTo>
                    <a:pt x="3683" y="3556"/>
                  </a:lnTo>
                  <a:lnTo>
                    <a:pt x="3683" y="3514"/>
                  </a:lnTo>
                  <a:lnTo>
                    <a:pt x="3726" y="3472"/>
                  </a:lnTo>
                  <a:lnTo>
                    <a:pt x="3768" y="3429"/>
                  </a:lnTo>
                  <a:lnTo>
                    <a:pt x="3641" y="3429"/>
                  </a:lnTo>
                  <a:lnTo>
                    <a:pt x="3641" y="3387"/>
                  </a:lnTo>
                  <a:lnTo>
                    <a:pt x="3683" y="3133"/>
                  </a:lnTo>
                  <a:lnTo>
                    <a:pt x="3683" y="3006"/>
                  </a:lnTo>
                  <a:lnTo>
                    <a:pt x="3726" y="3006"/>
                  </a:lnTo>
                  <a:lnTo>
                    <a:pt x="3683" y="2921"/>
                  </a:lnTo>
                  <a:lnTo>
                    <a:pt x="3726" y="2879"/>
                  </a:lnTo>
                  <a:lnTo>
                    <a:pt x="3726" y="2752"/>
                  </a:lnTo>
                  <a:lnTo>
                    <a:pt x="3683" y="2667"/>
                  </a:lnTo>
                  <a:lnTo>
                    <a:pt x="3641" y="2583"/>
                  </a:lnTo>
                  <a:lnTo>
                    <a:pt x="3683" y="2498"/>
                  </a:lnTo>
                  <a:lnTo>
                    <a:pt x="3641" y="2456"/>
                  </a:lnTo>
                  <a:lnTo>
                    <a:pt x="3641" y="2371"/>
                  </a:lnTo>
                  <a:lnTo>
                    <a:pt x="3641" y="2329"/>
                  </a:lnTo>
                  <a:lnTo>
                    <a:pt x="3599" y="2244"/>
                  </a:lnTo>
                  <a:lnTo>
                    <a:pt x="3514" y="2202"/>
                  </a:lnTo>
                  <a:lnTo>
                    <a:pt x="3429" y="2159"/>
                  </a:lnTo>
                  <a:lnTo>
                    <a:pt x="3345" y="1905"/>
                  </a:lnTo>
                  <a:lnTo>
                    <a:pt x="3260" y="1863"/>
                  </a:lnTo>
                  <a:lnTo>
                    <a:pt x="3218" y="1821"/>
                  </a:lnTo>
                  <a:lnTo>
                    <a:pt x="3175" y="1778"/>
                  </a:lnTo>
                  <a:lnTo>
                    <a:pt x="3133" y="1694"/>
                  </a:lnTo>
                  <a:lnTo>
                    <a:pt x="3133" y="1651"/>
                  </a:lnTo>
                  <a:lnTo>
                    <a:pt x="3091" y="1651"/>
                  </a:lnTo>
                  <a:lnTo>
                    <a:pt x="2964" y="1567"/>
                  </a:lnTo>
                  <a:lnTo>
                    <a:pt x="2964" y="1482"/>
                  </a:lnTo>
                  <a:lnTo>
                    <a:pt x="2964" y="1397"/>
                  </a:lnTo>
                  <a:lnTo>
                    <a:pt x="3006" y="1397"/>
                  </a:lnTo>
                  <a:lnTo>
                    <a:pt x="3006" y="1355"/>
                  </a:lnTo>
                  <a:lnTo>
                    <a:pt x="3048" y="1228"/>
                  </a:lnTo>
                  <a:lnTo>
                    <a:pt x="3048" y="1186"/>
                  </a:lnTo>
                  <a:lnTo>
                    <a:pt x="3091" y="1143"/>
                  </a:lnTo>
                  <a:lnTo>
                    <a:pt x="3091" y="1101"/>
                  </a:lnTo>
                  <a:lnTo>
                    <a:pt x="3006" y="1059"/>
                  </a:lnTo>
                  <a:lnTo>
                    <a:pt x="2964" y="1059"/>
                  </a:lnTo>
                  <a:lnTo>
                    <a:pt x="2921" y="1059"/>
                  </a:lnTo>
                  <a:lnTo>
                    <a:pt x="2921" y="1016"/>
                  </a:lnTo>
                  <a:lnTo>
                    <a:pt x="2879" y="1016"/>
                  </a:lnTo>
                  <a:lnTo>
                    <a:pt x="2837" y="1016"/>
                  </a:lnTo>
                  <a:lnTo>
                    <a:pt x="2625" y="932"/>
                  </a:lnTo>
                  <a:lnTo>
                    <a:pt x="2583" y="889"/>
                  </a:lnTo>
                  <a:lnTo>
                    <a:pt x="2583" y="847"/>
                  </a:lnTo>
                  <a:lnTo>
                    <a:pt x="2583" y="805"/>
                  </a:lnTo>
                  <a:lnTo>
                    <a:pt x="2625" y="762"/>
                  </a:lnTo>
                  <a:lnTo>
                    <a:pt x="2583" y="720"/>
                  </a:lnTo>
                  <a:lnTo>
                    <a:pt x="2583" y="678"/>
                  </a:lnTo>
                  <a:lnTo>
                    <a:pt x="2583" y="593"/>
                  </a:lnTo>
                  <a:lnTo>
                    <a:pt x="2625" y="593"/>
                  </a:lnTo>
                  <a:lnTo>
                    <a:pt x="2667" y="593"/>
                  </a:lnTo>
                  <a:lnTo>
                    <a:pt x="2667" y="551"/>
                  </a:lnTo>
                  <a:lnTo>
                    <a:pt x="2625" y="551"/>
                  </a:lnTo>
                  <a:lnTo>
                    <a:pt x="2625" y="508"/>
                  </a:lnTo>
                  <a:lnTo>
                    <a:pt x="2625" y="466"/>
                  </a:lnTo>
                  <a:lnTo>
                    <a:pt x="2583" y="466"/>
                  </a:lnTo>
                  <a:lnTo>
                    <a:pt x="2456" y="381"/>
                  </a:lnTo>
                  <a:lnTo>
                    <a:pt x="2413" y="339"/>
                  </a:lnTo>
                  <a:lnTo>
                    <a:pt x="2329" y="339"/>
                  </a:lnTo>
                  <a:lnTo>
                    <a:pt x="2286" y="339"/>
                  </a:lnTo>
                  <a:lnTo>
                    <a:pt x="2159" y="339"/>
                  </a:lnTo>
                  <a:lnTo>
                    <a:pt x="2159" y="297"/>
                  </a:lnTo>
                  <a:lnTo>
                    <a:pt x="2117" y="339"/>
                  </a:lnTo>
                  <a:lnTo>
                    <a:pt x="2075" y="339"/>
                  </a:lnTo>
                  <a:lnTo>
                    <a:pt x="2032" y="297"/>
                  </a:lnTo>
                  <a:lnTo>
                    <a:pt x="2032" y="254"/>
                  </a:lnTo>
                  <a:lnTo>
                    <a:pt x="1990" y="254"/>
                  </a:lnTo>
                  <a:lnTo>
                    <a:pt x="1948" y="212"/>
                  </a:lnTo>
                  <a:lnTo>
                    <a:pt x="1948" y="170"/>
                  </a:lnTo>
                  <a:lnTo>
                    <a:pt x="1905" y="127"/>
                  </a:lnTo>
                  <a:lnTo>
                    <a:pt x="1905" y="85"/>
                  </a:lnTo>
                  <a:lnTo>
                    <a:pt x="1863" y="43"/>
                  </a:lnTo>
                  <a:lnTo>
                    <a:pt x="1821" y="0"/>
                  </a:lnTo>
                  <a:lnTo>
                    <a:pt x="1778" y="0"/>
                  </a:lnTo>
                  <a:lnTo>
                    <a:pt x="1694" y="0"/>
                  </a:lnTo>
                  <a:close/>
                </a:path>
              </a:pathLst>
            </a:custGeom>
            <a:grpFill/>
            <a:ln w="12700" cap="flat" cmpd="sng">
              <a:solidFill>
                <a:schemeClr val="tx1"/>
              </a:solidFill>
              <a:prstDash val="solid"/>
              <a:bevel/>
              <a:headEnd/>
              <a:tailEnd/>
            </a:ln>
          </p:spPr>
          <p:txBody>
            <a:bodyPr/>
            <a:lstStyle/>
            <a:p>
              <a:endParaRPr lang="nl-NL"/>
            </a:p>
          </p:txBody>
        </p:sp>
        <p:grpSp>
          <p:nvGrpSpPr>
            <p:cNvPr id="126" name="Group 542">
              <a:extLst>
                <a:ext uri="{FF2B5EF4-FFF2-40B4-BE49-F238E27FC236}">
                  <a16:creationId xmlns:a16="http://schemas.microsoft.com/office/drawing/2014/main" id="{918FB368-00F5-E17C-3481-78EDE3D7BD5B}"/>
                </a:ext>
              </a:extLst>
            </p:cNvPr>
            <p:cNvGrpSpPr>
              <a:grpSpLocks/>
            </p:cNvGrpSpPr>
            <p:nvPr/>
          </p:nvGrpSpPr>
          <p:grpSpPr bwMode="auto">
            <a:xfrm>
              <a:off x="3593409" y="2902338"/>
              <a:ext cx="2969424" cy="2131555"/>
              <a:chOff x="4000" y="846"/>
              <a:chExt cx="1127" cy="809"/>
            </a:xfrm>
            <a:grpFill/>
          </p:grpSpPr>
          <p:sp>
            <p:nvSpPr>
              <p:cNvPr id="139" name="Freeform 543">
                <a:extLst>
                  <a:ext uri="{FF2B5EF4-FFF2-40B4-BE49-F238E27FC236}">
                    <a16:creationId xmlns:a16="http://schemas.microsoft.com/office/drawing/2014/main" id="{A1590682-B906-911A-6C41-938E3C620B8C}"/>
                  </a:ext>
                </a:extLst>
              </p:cNvPr>
              <p:cNvSpPr>
                <a:spLocks/>
              </p:cNvSpPr>
              <p:nvPr/>
            </p:nvSpPr>
            <p:spPr bwMode="auto">
              <a:xfrm>
                <a:off x="5092" y="855"/>
                <a:ext cx="35" cy="10"/>
              </a:xfrm>
              <a:custGeom>
                <a:avLst/>
                <a:gdLst/>
                <a:ahLst/>
                <a:cxnLst>
                  <a:cxn ang="0">
                    <a:pos x="43" y="0"/>
                  </a:cxn>
                  <a:cxn ang="0">
                    <a:pos x="127" y="0"/>
                  </a:cxn>
                  <a:cxn ang="0">
                    <a:pos x="212" y="0"/>
                  </a:cxn>
                  <a:cxn ang="0">
                    <a:pos x="297" y="42"/>
                  </a:cxn>
                  <a:cxn ang="0">
                    <a:pos x="297" y="85"/>
                  </a:cxn>
                  <a:cxn ang="0">
                    <a:pos x="297" y="42"/>
                  </a:cxn>
                  <a:cxn ang="0">
                    <a:pos x="212" y="42"/>
                  </a:cxn>
                  <a:cxn ang="0">
                    <a:pos x="127" y="42"/>
                  </a:cxn>
                  <a:cxn ang="0">
                    <a:pos x="85" y="42"/>
                  </a:cxn>
                  <a:cxn ang="0">
                    <a:pos x="85" y="42"/>
                  </a:cxn>
                  <a:cxn ang="0">
                    <a:pos x="43" y="42"/>
                  </a:cxn>
                  <a:cxn ang="0">
                    <a:pos x="0" y="85"/>
                  </a:cxn>
                  <a:cxn ang="0">
                    <a:pos x="0" y="85"/>
                  </a:cxn>
                  <a:cxn ang="0">
                    <a:pos x="0" y="42"/>
                  </a:cxn>
                  <a:cxn ang="0">
                    <a:pos x="43" y="0"/>
                  </a:cxn>
                  <a:cxn ang="0">
                    <a:pos x="43" y="0"/>
                  </a:cxn>
                </a:cxnLst>
                <a:rect l="0" t="0" r="r" b="b"/>
                <a:pathLst>
                  <a:path w="297" h="85">
                    <a:moveTo>
                      <a:pt x="43" y="0"/>
                    </a:moveTo>
                    <a:lnTo>
                      <a:pt x="127" y="0"/>
                    </a:lnTo>
                    <a:lnTo>
                      <a:pt x="212" y="0"/>
                    </a:lnTo>
                    <a:lnTo>
                      <a:pt x="297" y="42"/>
                    </a:lnTo>
                    <a:lnTo>
                      <a:pt x="297" y="85"/>
                    </a:lnTo>
                    <a:lnTo>
                      <a:pt x="297" y="42"/>
                    </a:lnTo>
                    <a:lnTo>
                      <a:pt x="212" y="42"/>
                    </a:lnTo>
                    <a:lnTo>
                      <a:pt x="127" y="42"/>
                    </a:lnTo>
                    <a:lnTo>
                      <a:pt x="85" y="42"/>
                    </a:lnTo>
                    <a:lnTo>
                      <a:pt x="85" y="42"/>
                    </a:lnTo>
                    <a:lnTo>
                      <a:pt x="43" y="42"/>
                    </a:lnTo>
                    <a:lnTo>
                      <a:pt x="0" y="85"/>
                    </a:lnTo>
                    <a:lnTo>
                      <a:pt x="0" y="85"/>
                    </a:lnTo>
                    <a:lnTo>
                      <a:pt x="0" y="42"/>
                    </a:lnTo>
                    <a:lnTo>
                      <a:pt x="43" y="0"/>
                    </a:lnTo>
                    <a:lnTo>
                      <a:pt x="43" y="0"/>
                    </a:lnTo>
                    <a:close/>
                  </a:path>
                </a:pathLst>
              </a:custGeom>
              <a:grpFill/>
              <a:ln w="12700" cap="flat" cmpd="sng">
                <a:solidFill>
                  <a:schemeClr val="tx1"/>
                </a:solidFill>
                <a:prstDash val="solid"/>
                <a:bevel/>
                <a:headEnd/>
                <a:tailEnd/>
              </a:ln>
            </p:spPr>
            <p:txBody>
              <a:bodyPr/>
              <a:lstStyle/>
              <a:p>
                <a:endParaRPr lang="nl-NL"/>
              </a:p>
            </p:txBody>
          </p:sp>
          <p:sp>
            <p:nvSpPr>
              <p:cNvPr id="140" name="Freeform 544">
                <a:extLst>
                  <a:ext uri="{FF2B5EF4-FFF2-40B4-BE49-F238E27FC236}">
                    <a16:creationId xmlns:a16="http://schemas.microsoft.com/office/drawing/2014/main" id="{F2ECAB67-84EC-21AF-1737-23F53C66A457}"/>
                  </a:ext>
                </a:extLst>
              </p:cNvPr>
              <p:cNvSpPr>
                <a:spLocks/>
              </p:cNvSpPr>
              <p:nvPr/>
            </p:nvSpPr>
            <p:spPr bwMode="auto">
              <a:xfrm>
                <a:off x="4486" y="935"/>
                <a:ext cx="234" cy="60"/>
              </a:xfrm>
              <a:custGeom>
                <a:avLst/>
                <a:gdLst/>
                <a:ahLst/>
                <a:cxnLst>
                  <a:cxn ang="0">
                    <a:pos x="804" y="127"/>
                  </a:cxn>
                  <a:cxn ang="0">
                    <a:pos x="1482" y="85"/>
                  </a:cxn>
                  <a:cxn ang="0">
                    <a:pos x="1863" y="43"/>
                  </a:cxn>
                  <a:cxn ang="0">
                    <a:pos x="1990" y="85"/>
                  </a:cxn>
                  <a:cxn ang="0">
                    <a:pos x="1990" y="127"/>
                  </a:cxn>
                  <a:cxn ang="0">
                    <a:pos x="1947" y="170"/>
                  </a:cxn>
                  <a:cxn ang="0">
                    <a:pos x="1736" y="170"/>
                  </a:cxn>
                  <a:cxn ang="0">
                    <a:pos x="1524" y="212"/>
                  </a:cxn>
                  <a:cxn ang="0">
                    <a:pos x="1439" y="254"/>
                  </a:cxn>
                  <a:cxn ang="0">
                    <a:pos x="1397" y="254"/>
                  </a:cxn>
                  <a:cxn ang="0">
                    <a:pos x="1228" y="297"/>
                  </a:cxn>
                  <a:cxn ang="0">
                    <a:pos x="974" y="339"/>
                  </a:cxn>
                  <a:cxn ang="0">
                    <a:pos x="889" y="339"/>
                  </a:cxn>
                  <a:cxn ang="0">
                    <a:pos x="720" y="297"/>
                  </a:cxn>
                  <a:cxn ang="0">
                    <a:pos x="593" y="297"/>
                  </a:cxn>
                  <a:cxn ang="0">
                    <a:pos x="550" y="381"/>
                  </a:cxn>
                  <a:cxn ang="0">
                    <a:pos x="423" y="424"/>
                  </a:cxn>
                  <a:cxn ang="0">
                    <a:pos x="339" y="466"/>
                  </a:cxn>
                  <a:cxn ang="0">
                    <a:pos x="339" y="466"/>
                  </a:cxn>
                  <a:cxn ang="0">
                    <a:pos x="254" y="466"/>
                  </a:cxn>
                  <a:cxn ang="0">
                    <a:pos x="127" y="424"/>
                  </a:cxn>
                  <a:cxn ang="0">
                    <a:pos x="0" y="297"/>
                  </a:cxn>
                  <a:cxn ang="0">
                    <a:pos x="42" y="212"/>
                  </a:cxn>
                  <a:cxn ang="0">
                    <a:pos x="127" y="85"/>
                  </a:cxn>
                  <a:cxn ang="0">
                    <a:pos x="254" y="0"/>
                  </a:cxn>
                  <a:cxn ang="0">
                    <a:pos x="339" y="43"/>
                  </a:cxn>
                  <a:cxn ang="0">
                    <a:pos x="423" y="85"/>
                  </a:cxn>
                  <a:cxn ang="0">
                    <a:pos x="381" y="85"/>
                  </a:cxn>
                  <a:cxn ang="0">
                    <a:pos x="339" y="43"/>
                  </a:cxn>
                  <a:cxn ang="0">
                    <a:pos x="212" y="43"/>
                  </a:cxn>
                  <a:cxn ang="0">
                    <a:pos x="254" y="85"/>
                  </a:cxn>
                  <a:cxn ang="0">
                    <a:pos x="296" y="85"/>
                  </a:cxn>
                  <a:cxn ang="0">
                    <a:pos x="677" y="127"/>
                  </a:cxn>
                </a:cxnLst>
                <a:rect l="0" t="0" r="r" b="b"/>
                <a:pathLst>
                  <a:path w="1990" h="508">
                    <a:moveTo>
                      <a:pt x="677" y="127"/>
                    </a:moveTo>
                    <a:lnTo>
                      <a:pt x="804" y="127"/>
                    </a:lnTo>
                    <a:lnTo>
                      <a:pt x="931" y="127"/>
                    </a:lnTo>
                    <a:lnTo>
                      <a:pt x="1482" y="85"/>
                    </a:lnTo>
                    <a:lnTo>
                      <a:pt x="1736" y="43"/>
                    </a:lnTo>
                    <a:lnTo>
                      <a:pt x="1863" y="43"/>
                    </a:lnTo>
                    <a:lnTo>
                      <a:pt x="1947" y="85"/>
                    </a:lnTo>
                    <a:lnTo>
                      <a:pt x="1990" y="85"/>
                    </a:lnTo>
                    <a:lnTo>
                      <a:pt x="1990" y="127"/>
                    </a:lnTo>
                    <a:lnTo>
                      <a:pt x="1990" y="127"/>
                    </a:lnTo>
                    <a:lnTo>
                      <a:pt x="1990" y="170"/>
                    </a:lnTo>
                    <a:lnTo>
                      <a:pt x="1947" y="170"/>
                    </a:lnTo>
                    <a:lnTo>
                      <a:pt x="1820" y="170"/>
                    </a:lnTo>
                    <a:lnTo>
                      <a:pt x="1736" y="170"/>
                    </a:lnTo>
                    <a:lnTo>
                      <a:pt x="1609" y="170"/>
                    </a:lnTo>
                    <a:lnTo>
                      <a:pt x="1524" y="212"/>
                    </a:lnTo>
                    <a:lnTo>
                      <a:pt x="1524" y="212"/>
                    </a:lnTo>
                    <a:lnTo>
                      <a:pt x="1439" y="254"/>
                    </a:lnTo>
                    <a:lnTo>
                      <a:pt x="1397" y="254"/>
                    </a:lnTo>
                    <a:lnTo>
                      <a:pt x="1397" y="254"/>
                    </a:lnTo>
                    <a:lnTo>
                      <a:pt x="1397" y="254"/>
                    </a:lnTo>
                    <a:lnTo>
                      <a:pt x="1228" y="297"/>
                    </a:lnTo>
                    <a:lnTo>
                      <a:pt x="1058" y="339"/>
                    </a:lnTo>
                    <a:lnTo>
                      <a:pt x="974" y="339"/>
                    </a:lnTo>
                    <a:lnTo>
                      <a:pt x="931" y="339"/>
                    </a:lnTo>
                    <a:lnTo>
                      <a:pt x="889" y="339"/>
                    </a:lnTo>
                    <a:lnTo>
                      <a:pt x="762" y="297"/>
                    </a:lnTo>
                    <a:lnTo>
                      <a:pt x="720" y="297"/>
                    </a:lnTo>
                    <a:lnTo>
                      <a:pt x="635" y="297"/>
                    </a:lnTo>
                    <a:lnTo>
                      <a:pt x="593" y="297"/>
                    </a:lnTo>
                    <a:lnTo>
                      <a:pt x="593" y="339"/>
                    </a:lnTo>
                    <a:lnTo>
                      <a:pt x="550" y="381"/>
                    </a:lnTo>
                    <a:lnTo>
                      <a:pt x="508" y="424"/>
                    </a:lnTo>
                    <a:lnTo>
                      <a:pt x="423" y="424"/>
                    </a:lnTo>
                    <a:lnTo>
                      <a:pt x="381" y="466"/>
                    </a:lnTo>
                    <a:lnTo>
                      <a:pt x="339" y="466"/>
                    </a:lnTo>
                    <a:lnTo>
                      <a:pt x="296" y="466"/>
                    </a:lnTo>
                    <a:lnTo>
                      <a:pt x="339" y="466"/>
                    </a:lnTo>
                    <a:lnTo>
                      <a:pt x="296" y="508"/>
                    </a:lnTo>
                    <a:lnTo>
                      <a:pt x="254" y="466"/>
                    </a:lnTo>
                    <a:lnTo>
                      <a:pt x="169" y="466"/>
                    </a:lnTo>
                    <a:lnTo>
                      <a:pt x="127" y="424"/>
                    </a:lnTo>
                    <a:lnTo>
                      <a:pt x="42" y="381"/>
                    </a:lnTo>
                    <a:lnTo>
                      <a:pt x="0" y="297"/>
                    </a:lnTo>
                    <a:lnTo>
                      <a:pt x="0" y="254"/>
                    </a:lnTo>
                    <a:lnTo>
                      <a:pt x="42" y="212"/>
                    </a:lnTo>
                    <a:lnTo>
                      <a:pt x="85" y="127"/>
                    </a:lnTo>
                    <a:lnTo>
                      <a:pt x="127" y="85"/>
                    </a:lnTo>
                    <a:lnTo>
                      <a:pt x="212" y="0"/>
                    </a:lnTo>
                    <a:lnTo>
                      <a:pt x="254" y="0"/>
                    </a:lnTo>
                    <a:lnTo>
                      <a:pt x="296" y="0"/>
                    </a:lnTo>
                    <a:lnTo>
                      <a:pt x="339" y="43"/>
                    </a:lnTo>
                    <a:lnTo>
                      <a:pt x="381" y="43"/>
                    </a:lnTo>
                    <a:lnTo>
                      <a:pt x="423" y="85"/>
                    </a:lnTo>
                    <a:lnTo>
                      <a:pt x="381" y="85"/>
                    </a:lnTo>
                    <a:lnTo>
                      <a:pt x="381" y="85"/>
                    </a:lnTo>
                    <a:lnTo>
                      <a:pt x="339" y="43"/>
                    </a:lnTo>
                    <a:lnTo>
                      <a:pt x="339" y="43"/>
                    </a:lnTo>
                    <a:lnTo>
                      <a:pt x="296" y="43"/>
                    </a:lnTo>
                    <a:lnTo>
                      <a:pt x="212" y="43"/>
                    </a:lnTo>
                    <a:lnTo>
                      <a:pt x="169" y="85"/>
                    </a:lnTo>
                    <a:lnTo>
                      <a:pt x="254" y="85"/>
                    </a:lnTo>
                    <a:lnTo>
                      <a:pt x="296" y="85"/>
                    </a:lnTo>
                    <a:lnTo>
                      <a:pt x="296" y="85"/>
                    </a:lnTo>
                    <a:lnTo>
                      <a:pt x="466" y="127"/>
                    </a:lnTo>
                    <a:lnTo>
                      <a:pt x="677" y="127"/>
                    </a:lnTo>
                    <a:close/>
                  </a:path>
                </a:pathLst>
              </a:custGeom>
              <a:grpFill/>
              <a:ln w="12700" cap="flat" cmpd="sng">
                <a:solidFill>
                  <a:schemeClr val="tx1"/>
                </a:solidFill>
                <a:prstDash val="solid"/>
                <a:bevel/>
                <a:headEnd/>
                <a:tailEnd/>
              </a:ln>
            </p:spPr>
            <p:txBody>
              <a:bodyPr/>
              <a:lstStyle/>
              <a:p>
                <a:endParaRPr lang="nl-NL"/>
              </a:p>
            </p:txBody>
          </p:sp>
          <p:sp>
            <p:nvSpPr>
              <p:cNvPr id="141" name="Freeform 545">
                <a:extLst>
                  <a:ext uri="{FF2B5EF4-FFF2-40B4-BE49-F238E27FC236}">
                    <a16:creationId xmlns:a16="http://schemas.microsoft.com/office/drawing/2014/main" id="{AF533B6B-606D-1E99-2A31-76EA2DAE43BC}"/>
                  </a:ext>
                </a:extLst>
              </p:cNvPr>
              <p:cNvSpPr>
                <a:spLocks/>
              </p:cNvSpPr>
              <p:nvPr/>
            </p:nvSpPr>
            <p:spPr bwMode="auto">
              <a:xfrm>
                <a:off x="4813" y="890"/>
                <a:ext cx="144" cy="70"/>
              </a:xfrm>
              <a:custGeom>
                <a:avLst/>
                <a:gdLst/>
                <a:ahLst/>
                <a:cxnLst>
                  <a:cxn ang="0">
                    <a:pos x="1228" y="43"/>
                  </a:cxn>
                  <a:cxn ang="0">
                    <a:pos x="1228" y="127"/>
                  </a:cxn>
                  <a:cxn ang="0">
                    <a:pos x="1185" y="127"/>
                  </a:cxn>
                  <a:cxn ang="0">
                    <a:pos x="1143" y="127"/>
                  </a:cxn>
                  <a:cxn ang="0">
                    <a:pos x="1101" y="127"/>
                  </a:cxn>
                  <a:cxn ang="0">
                    <a:pos x="1058" y="127"/>
                  </a:cxn>
                  <a:cxn ang="0">
                    <a:pos x="974" y="170"/>
                  </a:cxn>
                  <a:cxn ang="0">
                    <a:pos x="974" y="170"/>
                  </a:cxn>
                  <a:cxn ang="0">
                    <a:pos x="847" y="212"/>
                  </a:cxn>
                  <a:cxn ang="0">
                    <a:pos x="804" y="254"/>
                  </a:cxn>
                  <a:cxn ang="0">
                    <a:pos x="804" y="297"/>
                  </a:cxn>
                  <a:cxn ang="0">
                    <a:pos x="720" y="339"/>
                  </a:cxn>
                  <a:cxn ang="0">
                    <a:pos x="677" y="339"/>
                  </a:cxn>
                  <a:cxn ang="0">
                    <a:pos x="593" y="339"/>
                  </a:cxn>
                  <a:cxn ang="0">
                    <a:pos x="593" y="339"/>
                  </a:cxn>
                  <a:cxn ang="0">
                    <a:pos x="550" y="339"/>
                  </a:cxn>
                  <a:cxn ang="0">
                    <a:pos x="550" y="339"/>
                  </a:cxn>
                  <a:cxn ang="0">
                    <a:pos x="423" y="381"/>
                  </a:cxn>
                  <a:cxn ang="0">
                    <a:pos x="381" y="381"/>
                  </a:cxn>
                  <a:cxn ang="0">
                    <a:pos x="381" y="381"/>
                  </a:cxn>
                  <a:cxn ang="0">
                    <a:pos x="254" y="381"/>
                  </a:cxn>
                  <a:cxn ang="0">
                    <a:pos x="212" y="381"/>
                  </a:cxn>
                  <a:cxn ang="0">
                    <a:pos x="169" y="466"/>
                  </a:cxn>
                  <a:cxn ang="0">
                    <a:pos x="169" y="508"/>
                  </a:cxn>
                  <a:cxn ang="0">
                    <a:pos x="127" y="508"/>
                  </a:cxn>
                  <a:cxn ang="0">
                    <a:pos x="127" y="551"/>
                  </a:cxn>
                  <a:cxn ang="0">
                    <a:pos x="127" y="551"/>
                  </a:cxn>
                  <a:cxn ang="0">
                    <a:pos x="85" y="551"/>
                  </a:cxn>
                  <a:cxn ang="0">
                    <a:pos x="85" y="551"/>
                  </a:cxn>
                  <a:cxn ang="0">
                    <a:pos x="42" y="551"/>
                  </a:cxn>
                  <a:cxn ang="0">
                    <a:pos x="42" y="593"/>
                  </a:cxn>
                  <a:cxn ang="0">
                    <a:pos x="42" y="593"/>
                  </a:cxn>
                  <a:cxn ang="0">
                    <a:pos x="0" y="508"/>
                  </a:cxn>
                  <a:cxn ang="0">
                    <a:pos x="0" y="508"/>
                  </a:cxn>
                  <a:cxn ang="0">
                    <a:pos x="0" y="466"/>
                  </a:cxn>
                  <a:cxn ang="0">
                    <a:pos x="42" y="466"/>
                  </a:cxn>
                  <a:cxn ang="0">
                    <a:pos x="85" y="424"/>
                  </a:cxn>
                  <a:cxn ang="0">
                    <a:pos x="42" y="381"/>
                  </a:cxn>
                  <a:cxn ang="0">
                    <a:pos x="42" y="339"/>
                  </a:cxn>
                  <a:cxn ang="0">
                    <a:pos x="42" y="254"/>
                  </a:cxn>
                  <a:cxn ang="0">
                    <a:pos x="85" y="212"/>
                  </a:cxn>
                  <a:cxn ang="0">
                    <a:pos x="169" y="170"/>
                  </a:cxn>
                  <a:cxn ang="0">
                    <a:pos x="169" y="127"/>
                  </a:cxn>
                  <a:cxn ang="0">
                    <a:pos x="169" y="127"/>
                  </a:cxn>
                  <a:cxn ang="0">
                    <a:pos x="127" y="127"/>
                  </a:cxn>
                  <a:cxn ang="0">
                    <a:pos x="85" y="127"/>
                  </a:cxn>
                  <a:cxn ang="0">
                    <a:pos x="42" y="127"/>
                  </a:cxn>
                  <a:cxn ang="0">
                    <a:pos x="42" y="127"/>
                  </a:cxn>
                  <a:cxn ang="0">
                    <a:pos x="0" y="127"/>
                  </a:cxn>
                  <a:cxn ang="0">
                    <a:pos x="42" y="127"/>
                  </a:cxn>
                  <a:cxn ang="0">
                    <a:pos x="42" y="127"/>
                  </a:cxn>
                  <a:cxn ang="0">
                    <a:pos x="85" y="85"/>
                  </a:cxn>
                  <a:cxn ang="0">
                    <a:pos x="169" y="127"/>
                  </a:cxn>
                  <a:cxn ang="0">
                    <a:pos x="296" y="127"/>
                  </a:cxn>
                  <a:cxn ang="0">
                    <a:pos x="720" y="85"/>
                  </a:cxn>
                  <a:cxn ang="0">
                    <a:pos x="847" y="85"/>
                  </a:cxn>
                  <a:cxn ang="0">
                    <a:pos x="1101" y="43"/>
                  </a:cxn>
                  <a:cxn ang="0">
                    <a:pos x="1185" y="0"/>
                  </a:cxn>
                  <a:cxn ang="0">
                    <a:pos x="1228" y="43"/>
                  </a:cxn>
                </a:cxnLst>
                <a:rect l="0" t="0" r="r" b="b"/>
                <a:pathLst>
                  <a:path w="1228" h="593">
                    <a:moveTo>
                      <a:pt x="1228" y="43"/>
                    </a:moveTo>
                    <a:lnTo>
                      <a:pt x="1228" y="127"/>
                    </a:lnTo>
                    <a:lnTo>
                      <a:pt x="1185" y="127"/>
                    </a:lnTo>
                    <a:lnTo>
                      <a:pt x="1143" y="127"/>
                    </a:lnTo>
                    <a:lnTo>
                      <a:pt x="1101" y="127"/>
                    </a:lnTo>
                    <a:lnTo>
                      <a:pt x="1058" y="127"/>
                    </a:lnTo>
                    <a:lnTo>
                      <a:pt x="974" y="170"/>
                    </a:lnTo>
                    <a:lnTo>
                      <a:pt x="974" y="170"/>
                    </a:lnTo>
                    <a:lnTo>
                      <a:pt x="847" y="212"/>
                    </a:lnTo>
                    <a:lnTo>
                      <a:pt x="804" y="254"/>
                    </a:lnTo>
                    <a:lnTo>
                      <a:pt x="804" y="297"/>
                    </a:lnTo>
                    <a:lnTo>
                      <a:pt x="720" y="339"/>
                    </a:lnTo>
                    <a:lnTo>
                      <a:pt x="677" y="339"/>
                    </a:lnTo>
                    <a:lnTo>
                      <a:pt x="593" y="339"/>
                    </a:lnTo>
                    <a:lnTo>
                      <a:pt x="593" y="339"/>
                    </a:lnTo>
                    <a:lnTo>
                      <a:pt x="550" y="339"/>
                    </a:lnTo>
                    <a:lnTo>
                      <a:pt x="550" y="339"/>
                    </a:lnTo>
                    <a:lnTo>
                      <a:pt x="423" y="381"/>
                    </a:lnTo>
                    <a:lnTo>
                      <a:pt x="381" y="381"/>
                    </a:lnTo>
                    <a:lnTo>
                      <a:pt x="381" y="381"/>
                    </a:lnTo>
                    <a:lnTo>
                      <a:pt x="254" y="381"/>
                    </a:lnTo>
                    <a:lnTo>
                      <a:pt x="212" y="381"/>
                    </a:lnTo>
                    <a:lnTo>
                      <a:pt x="169" y="466"/>
                    </a:lnTo>
                    <a:lnTo>
                      <a:pt x="169" y="508"/>
                    </a:lnTo>
                    <a:lnTo>
                      <a:pt x="127" y="508"/>
                    </a:lnTo>
                    <a:lnTo>
                      <a:pt x="127" y="551"/>
                    </a:lnTo>
                    <a:lnTo>
                      <a:pt x="127" y="551"/>
                    </a:lnTo>
                    <a:lnTo>
                      <a:pt x="85" y="551"/>
                    </a:lnTo>
                    <a:lnTo>
                      <a:pt x="85" y="551"/>
                    </a:lnTo>
                    <a:lnTo>
                      <a:pt x="42" y="551"/>
                    </a:lnTo>
                    <a:lnTo>
                      <a:pt x="42" y="593"/>
                    </a:lnTo>
                    <a:lnTo>
                      <a:pt x="42" y="593"/>
                    </a:lnTo>
                    <a:lnTo>
                      <a:pt x="0" y="508"/>
                    </a:lnTo>
                    <a:lnTo>
                      <a:pt x="0" y="508"/>
                    </a:lnTo>
                    <a:lnTo>
                      <a:pt x="0" y="466"/>
                    </a:lnTo>
                    <a:lnTo>
                      <a:pt x="42" y="466"/>
                    </a:lnTo>
                    <a:lnTo>
                      <a:pt x="85" y="424"/>
                    </a:lnTo>
                    <a:lnTo>
                      <a:pt x="42" y="381"/>
                    </a:lnTo>
                    <a:lnTo>
                      <a:pt x="42" y="339"/>
                    </a:lnTo>
                    <a:lnTo>
                      <a:pt x="42" y="254"/>
                    </a:lnTo>
                    <a:lnTo>
                      <a:pt x="85" y="212"/>
                    </a:lnTo>
                    <a:lnTo>
                      <a:pt x="169" y="170"/>
                    </a:lnTo>
                    <a:lnTo>
                      <a:pt x="169" y="127"/>
                    </a:lnTo>
                    <a:lnTo>
                      <a:pt x="169" y="127"/>
                    </a:lnTo>
                    <a:lnTo>
                      <a:pt x="127" y="127"/>
                    </a:lnTo>
                    <a:lnTo>
                      <a:pt x="85" y="127"/>
                    </a:lnTo>
                    <a:lnTo>
                      <a:pt x="42" y="127"/>
                    </a:lnTo>
                    <a:lnTo>
                      <a:pt x="42" y="127"/>
                    </a:lnTo>
                    <a:lnTo>
                      <a:pt x="0" y="127"/>
                    </a:lnTo>
                    <a:lnTo>
                      <a:pt x="42" y="127"/>
                    </a:lnTo>
                    <a:lnTo>
                      <a:pt x="42" y="127"/>
                    </a:lnTo>
                    <a:lnTo>
                      <a:pt x="85" y="85"/>
                    </a:lnTo>
                    <a:lnTo>
                      <a:pt x="169" y="127"/>
                    </a:lnTo>
                    <a:lnTo>
                      <a:pt x="296" y="127"/>
                    </a:lnTo>
                    <a:lnTo>
                      <a:pt x="720" y="85"/>
                    </a:lnTo>
                    <a:lnTo>
                      <a:pt x="847" y="85"/>
                    </a:lnTo>
                    <a:lnTo>
                      <a:pt x="1101" y="43"/>
                    </a:lnTo>
                    <a:lnTo>
                      <a:pt x="1185" y="0"/>
                    </a:lnTo>
                    <a:lnTo>
                      <a:pt x="1228" y="43"/>
                    </a:lnTo>
                    <a:close/>
                  </a:path>
                </a:pathLst>
              </a:custGeom>
              <a:grpFill/>
              <a:ln w="12700" cap="flat" cmpd="sng">
                <a:solidFill>
                  <a:schemeClr val="tx1"/>
                </a:solidFill>
                <a:prstDash val="solid"/>
                <a:bevel/>
                <a:headEnd/>
                <a:tailEnd/>
              </a:ln>
            </p:spPr>
            <p:txBody>
              <a:bodyPr/>
              <a:lstStyle/>
              <a:p>
                <a:endParaRPr lang="nl-NL"/>
              </a:p>
            </p:txBody>
          </p:sp>
          <p:sp>
            <p:nvSpPr>
              <p:cNvPr id="142" name="Freeform 546">
                <a:extLst>
                  <a:ext uri="{FF2B5EF4-FFF2-40B4-BE49-F238E27FC236}">
                    <a16:creationId xmlns:a16="http://schemas.microsoft.com/office/drawing/2014/main" id="{45B23ACB-EA1D-27D2-E74D-3230E6FF6D65}"/>
                  </a:ext>
                </a:extLst>
              </p:cNvPr>
              <p:cNvSpPr>
                <a:spLocks/>
              </p:cNvSpPr>
              <p:nvPr/>
            </p:nvSpPr>
            <p:spPr bwMode="auto">
              <a:xfrm>
                <a:off x="4194" y="960"/>
                <a:ext cx="257" cy="114"/>
              </a:xfrm>
              <a:custGeom>
                <a:avLst/>
                <a:gdLst/>
                <a:ahLst/>
                <a:cxnLst>
                  <a:cxn ang="0">
                    <a:pos x="1355" y="423"/>
                  </a:cxn>
                  <a:cxn ang="0">
                    <a:pos x="1228" y="466"/>
                  </a:cxn>
                  <a:cxn ang="0">
                    <a:pos x="1186" y="508"/>
                  </a:cxn>
                  <a:cxn ang="0">
                    <a:pos x="1059" y="635"/>
                  </a:cxn>
                  <a:cxn ang="0">
                    <a:pos x="1016" y="635"/>
                  </a:cxn>
                  <a:cxn ang="0">
                    <a:pos x="974" y="677"/>
                  </a:cxn>
                  <a:cxn ang="0">
                    <a:pos x="889" y="635"/>
                  </a:cxn>
                  <a:cxn ang="0">
                    <a:pos x="847" y="677"/>
                  </a:cxn>
                  <a:cxn ang="0">
                    <a:pos x="805" y="720"/>
                  </a:cxn>
                  <a:cxn ang="0">
                    <a:pos x="762" y="720"/>
                  </a:cxn>
                  <a:cxn ang="0">
                    <a:pos x="762" y="762"/>
                  </a:cxn>
                  <a:cxn ang="0">
                    <a:pos x="678" y="720"/>
                  </a:cxn>
                  <a:cxn ang="0">
                    <a:pos x="635" y="720"/>
                  </a:cxn>
                  <a:cxn ang="0">
                    <a:pos x="593" y="720"/>
                  </a:cxn>
                  <a:cxn ang="0">
                    <a:pos x="508" y="804"/>
                  </a:cxn>
                  <a:cxn ang="0">
                    <a:pos x="424" y="804"/>
                  </a:cxn>
                  <a:cxn ang="0">
                    <a:pos x="339" y="847"/>
                  </a:cxn>
                  <a:cxn ang="0">
                    <a:pos x="339" y="889"/>
                  </a:cxn>
                  <a:cxn ang="0">
                    <a:pos x="297" y="889"/>
                  </a:cxn>
                  <a:cxn ang="0">
                    <a:pos x="254" y="931"/>
                  </a:cxn>
                  <a:cxn ang="0">
                    <a:pos x="170" y="974"/>
                  </a:cxn>
                  <a:cxn ang="0">
                    <a:pos x="43" y="889"/>
                  </a:cxn>
                  <a:cxn ang="0">
                    <a:pos x="0" y="889"/>
                  </a:cxn>
                  <a:cxn ang="0">
                    <a:pos x="43" y="804"/>
                  </a:cxn>
                  <a:cxn ang="0">
                    <a:pos x="212" y="550"/>
                  </a:cxn>
                  <a:cxn ang="0">
                    <a:pos x="297" y="508"/>
                  </a:cxn>
                  <a:cxn ang="0">
                    <a:pos x="551" y="423"/>
                  </a:cxn>
                  <a:cxn ang="0">
                    <a:pos x="889" y="381"/>
                  </a:cxn>
                  <a:cxn ang="0">
                    <a:pos x="1355" y="212"/>
                  </a:cxn>
                  <a:cxn ang="0">
                    <a:pos x="1948" y="42"/>
                  </a:cxn>
                  <a:cxn ang="0">
                    <a:pos x="2117" y="42"/>
                  </a:cxn>
                  <a:cxn ang="0">
                    <a:pos x="2202" y="85"/>
                  </a:cxn>
                  <a:cxn ang="0">
                    <a:pos x="2202" y="169"/>
                  </a:cxn>
                  <a:cxn ang="0">
                    <a:pos x="2202" y="212"/>
                  </a:cxn>
                  <a:cxn ang="0">
                    <a:pos x="2202" y="127"/>
                  </a:cxn>
                  <a:cxn ang="0">
                    <a:pos x="2159" y="85"/>
                  </a:cxn>
                  <a:cxn ang="0">
                    <a:pos x="2117" y="169"/>
                  </a:cxn>
                  <a:cxn ang="0">
                    <a:pos x="2075" y="212"/>
                  </a:cxn>
                  <a:cxn ang="0">
                    <a:pos x="1948" y="212"/>
                  </a:cxn>
                  <a:cxn ang="0">
                    <a:pos x="1863" y="254"/>
                  </a:cxn>
                  <a:cxn ang="0">
                    <a:pos x="1821" y="212"/>
                  </a:cxn>
                  <a:cxn ang="0">
                    <a:pos x="1821" y="212"/>
                  </a:cxn>
                  <a:cxn ang="0">
                    <a:pos x="1821" y="254"/>
                  </a:cxn>
                  <a:cxn ang="0">
                    <a:pos x="1821" y="296"/>
                  </a:cxn>
                  <a:cxn ang="0">
                    <a:pos x="1778" y="296"/>
                  </a:cxn>
                  <a:cxn ang="0">
                    <a:pos x="1736" y="254"/>
                  </a:cxn>
                  <a:cxn ang="0">
                    <a:pos x="1694" y="254"/>
                  </a:cxn>
                  <a:cxn ang="0">
                    <a:pos x="1736" y="339"/>
                  </a:cxn>
                  <a:cxn ang="0">
                    <a:pos x="1651" y="339"/>
                  </a:cxn>
                  <a:cxn ang="0">
                    <a:pos x="1609" y="296"/>
                  </a:cxn>
                  <a:cxn ang="0">
                    <a:pos x="1609" y="296"/>
                  </a:cxn>
                  <a:cxn ang="0">
                    <a:pos x="1694" y="381"/>
                  </a:cxn>
                  <a:cxn ang="0">
                    <a:pos x="1778" y="381"/>
                  </a:cxn>
                  <a:cxn ang="0">
                    <a:pos x="1736" y="423"/>
                  </a:cxn>
                  <a:cxn ang="0">
                    <a:pos x="1567" y="423"/>
                  </a:cxn>
                </a:cxnLst>
                <a:rect l="0" t="0" r="r" b="b"/>
                <a:pathLst>
                  <a:path w="2202" h="974">
                    <a:moveTo>
                      <a:pt x="1524" y="423"/>
                    </a:moveTo>
                    <a:lnTo>
                      <a:pt x="1355" y="423"/>
                    </a:lnTo>
                    <a:lnTo>
                      <a:pt x="1270" y="466"/>
                    </a:lnTo>
                    <a:lnTo>
                      <a:pt x="1228" y="466"/>
                    </a:lnTo>
                    <a:lnTo>
                      <a:pt x="1186" y="508"/>
                    </a:lnTo>
                    <a:lnTo>
                      <a:pt x="1186" y="508"/>
                    </a:lnTo>
                    <a:lnTo>
                      <a:pt x="1101" y="593"/>
                    </a:lnTo>
                    <a:lnTo>
                      <a:pt x="1059" y="635"/>
                    </a:lnTo>
                    <a:lnTo>
                      <a:pt x="1059" y="635"/>
                    </a:lnTo>
                    <a:lnTo>
                      <a:pt x="1016" y="635"/>
                    </a:lnTo>
                    <a:lnTo>
                      <a:pt x="974" y="635"/>
                    </a:lnTo>
                    <a:lnTo>
                      <a:pt x="974" y="677"/>
                    </a:lnTo>
                    <a:lnTo>
                      <a:pt x="932" y="677"/>
                    </a:lnTo>
                    <a:lnTo>
                      <a:pt x="889" y="635"/>
                    </a:lnTo>
                    <a:lnTo>
                      <a:pt x="889" y="677"/>
                    </a:lnTo>
                    <a:lnTo>
                      <a:pt x="847" y="677"/>
                    </a:lnTo>
                    <a:lnTo>
                      <a:pt x="805" y="720"/>
                    </a:lnTo>
                    <a:lnTo>
                      <a:pt x="805" y="720"/>
                    </a:lnTo>
                    <a:lnTo>
                      <a:pt x="805" y="720"/>
                    </a:lnTo>
                    <a:lnTo>
                      <a:pt x="762" y="720"/>
                    </a:lnTo>
                    <a:lnTo>
                      <a:pt x="762" y="762"/>
                    </a:lnTo>
                    <a:lnTo>
                      <a:pt x="762" y="762"/>
                    </a:lnTo>
                    <a:lnTo>
                      <a:pt x="720" y="720"/>
                    </a:lnTo>
                    <a:lnTo>
                      <a:pt x="678" y="720"/>
                    </a:lnTo>
                    <a:lnTo>
                      <a:pt x="678" y="720"/>
                    </a:lnTo>
                    <a:lnTo>
                      <a:pt x="635" y="720"/>
                    </a:lnTo>
                    <a:lnTo>
                      <a:pt x="593" y="720"/>
                    </a:lnTo>
                    <a:lnTo>
                      <a:pt x="593" y="720"/>
                    </a:lnTo>
                    <a:lnTo>
                      <a:pt x="551" y="762"/>
                    </a:lnTo>
                    <a:lnTo>
                      <a:pt x="508" y="804"/>
                    </a:lnTo>
                    <a:lnTo>
                      <a:pt x="466" y="762"/>
                    </a:lnTo>
                    <a:lnTo>
                      <a:pt x="424" y="804"/>
                    </a:lnTo>
                    <a:lnTo>
                      <a:pt x="381" y="804"/>
                    </a:lnTo>
                    <a:lnTo>
                      <a:pt x="339" y="847"/>
                    </a:lnTo>
                    <a:lnTo>
                      <a:pt x="339" y="889"/>
                    </a:lnTo>
                    <a:lnTo>
                      <a:pt x="339" y="889"/>
                    </a:lnTo>
                    <a:lnTo>
                      <a:pt x="339" y="889"/>
                    </a:lnTo>
                    <a:lnTo>
                      <a:pt x="297" y="889"/>
                    </a:lnTo>
                    <a:lnTo>
                      <a:pt x="212" y="931"/>
                    </a:lnTo>
                    <a:lnTo>
                      <a:pt x="254" y="931"/>
                    </a:lnTo>
                    <a:lnTo>
                      <a:pt x="212" y="974"/>
                    </a:lnTo>
                    <a:lnTo>
                      <a:pt x="170" y="974"/>
                    </a:lnTo>
                    <a:lnTo>
                      <a:pt x="85" y="974"/>
                    </a:lnTo>
                    <a:lnTo>
                      <a:pt x="43" y="889"/>
                    </a:lnTo>
                    <a:lnTo>
                      <a:pt x="0" y="889"/>
                    </a:lnTo>
                    <a:lnTo>
                      <a:pt x="0" y="889"/>
                    </a:lnTo>
                    <a:lnTo>
                      <a:pt x="0" y="847"/>
                    </a:lnTo>
                    <a:lnTo>
                      <a:pt x="43" y="804"/>
                    </a:lnTo>
                    <a:lnTo>
                      <a:pt x="127" y="677"/>
                    </a:lnTo>
                    <a:lnTo>
                      <a:pt x="212" y="550"/>
                    </a:lnTo>
                    <a:lnTo>
                      <a:pt x="212" y="550"/>
                    </a:lnTo>
                    <a:lnTo>
                      <a:pt x="297" y="508"/>
                    </a:lnTo>
                    <a:lnTo>
                      <a:pt x="381" y="466"/>
                    </a:lnTo>
                    <a:lnTo>
                      <a:pt x="551" y="423"/>
                    </a:lnTo>
                    <a:lnTo>
                      <a:pt x="805" y="381"/>
                    </a:lnTo>
                    <a:lnTo>
                      <a:pt x="889" y="381"/>
                    </a:lnTo>
                    <a:lnTo>
                      <a:pt x="1143" y="296"/>
                    </a:lnTo>
                    <a:lnTo>
                      <a:pt x="1355" y="212"/>
                    </a:lnTo>
                    <a:lnTo>
                      <a:pt x="1821" y="42"/>
                    </a:lnTo>
                    <a:lnTo>
                      <a:pt x="1948" y="42"/>
                    </a:lnTo>
                    <a:lnTo>
                      <a:pt x="2075" y="0"/>
                    </a:lnTo>
                    <a:lnTo>
                      <a:pt x="2117" y="42"/>
                    </a:lnTo>
                    <a:lnTo>
                      <a:pt x="2159" y="42"/>
                    </a:lnTo>
                    <a:lnTo>
                      <a:pt x="2202" y="85"/>
                    </a:lnTo>
                    <a:lnTo>
                      <a:pt x="2202" y="85"/>
                    </a:lnTo>
                    <a:lnTo>
                      <a:pt x="2202" y="169"/>
                    </a:lnTo>
                    <a:lnTo>
                      <a:pt x="2202" y="212"/>
                    </a:lnTo>
                    <a:lnTo>
                      <a:pt x="2202" y="212"/>
                    </a:lnTo>
                    <a:lnTo>
                      <a:pt x="2202" y="169"/>
                    </a:lnTo>
                    <a:lnTo>
                      <a:pt x="2202" y="127"/>
                    </a:lnTo>
                    <a:lnTo>
                      <a:pt x="2159" y="85"/>
                    </a:lnTo>
                    <a:lnTo>
                      <a:pt x="2159" y="85"/>
                    </a:lnTo>
                    <a:lnTo>
                      <a:pt x="2159" y="127"/>
                    </a:lnTo>
                    <a:lnTo>
                      <a:pt x="2117" y="169"/>
                    </a:lnTo>
                    <a:lnTo>
                      <a:pt x="2117" y="169"/>
                    </a:lnTo>
                    <a:lnTo>
                      <a:pt x="2075" y="212"/>
                    </a:lnTo>
                    <a:lnTo>
                      <a:pt x="1990" y="212"/>
                    </a:lnTo>
                    <a:lnTo>
                      <a:pt x="1948" y="212"/>
                    </a:lnTo>
                    <a:lnTo>
                      <a:pt x="1863" y="254"/>
                    </a:lnTo>
                    <a:lnTo>
                      <a:pt x="1863" y="254"/>
                    </a:lnTo>
                    <a:lnTo>
                      <a:pt x="1863" y="254"/>
                    </a:lnTo>
                    <a:lnTo>
                      <a:pt x="1821" y="212"/>
                    </a:lnTo>
                    <a:lnTo>
                      <a:pt x="1821" y="212"/>
                    </a:lnTo>
                    <a:lnTo>
                      <a:pt x="1821" y="212"/>
                    </a:lnTo>
                    <a:lnTo>
                      <a:pt x="1821" y="212"/>
                    </a:lnTo>
                    <a:lnTo>
                      <a:pt x="1821" y="254"/>
                    </a:lnTo>
                    <a:lnTo>
                      <a:pt x="1863" y="254"/>
                    </a:lnTo>
                    <a:lnTo>
                      <a:pt x="1821" y="296"/>
                    </a:lnTo>
                    <a:lnTo>
                      <a:pt x="1778" y="296"/>
                    </a:lnTo>
                    <a:lnTo>
                      <a:pt x="1778" y="296"/>
                    </a:lnTo>
                    <a:lnTo>
                      <a:pt x="1736" y="296"/>
                    </a:lnTo>
                    <a:lnTo>
                      <a:pt x="1736" y="254"/>
                    </a:lnTo>
                    <a:lnTo>
                      <a:pt x="1694" y="254"/>
                    </a:lnTo>
                    <a:lnTo>
                      <a:pt x="1694" y="254"/>
                    </a:lnTo>
                    <a:lnTo>
                      <a:pt x="1736" y="296"/>
                    </a:lnTo>
                    <a:lnTo>
                      <a:pt x="1736" y="339"/>
                    </a:lnTo>
                    <a:lnTo>
                      <a:pt x="1694" y="339"/>
                    </a:lnTo>
                    <a:lnTo>
                      <a:pt x="1651" y="339"/>
                    </a:lnTo>
                    <a:lnTo>
                      <a:pt x="1651" y="339"/>
                    </a:lnTo>
                    <a:lnTo>
                      <a:pt x="1609" y="296"/>
                    </a:lnTo>
                    <a:lnTo>
                      <a:pt x="1609" y="296"/>
                    </a:lnTo>
                    <a:lnTo>
                      <a:pt x="1609" y="296"/>
                    </a:lnTo>
                    <a:lnTo>
                      <a:pt x="1651" y="339"/>
                    </a:lnTo>
                    <a:lnTo>
                      <a:pt x="1694" y="381"/>
                    </a:lnTo>
                    <a:lnTo>
                      <a:pt x="1736" y="381"/>
                    </a:lnTo>
                    <a:lnTo>
                      <a:pt x="1778" y="381"/>
                    </a:lnTo>
                    <a:lnTo>
                      <a:pt x="1778" y="381"/>
                    </a:lnTo>
                    <a:lnTo>
                      <a:pt x="1736" y="423"/>
                    </a:lnTo>
                    <a:lnTo>
                      <a:pt x="1651" y="423"/>
                    </a:lnTo>
                    <a:lnTo>
                      <a:pt x="1567" y="423"/>
                    </a:lnTo>
                    <a:lnTo>
                      <a:pt x="1524" y="423"/>
                    </a:lnTo>
                    <a:close/>
                  </a:path>
                </a:pathLst>
              </a:custGeom>
              <a:grpFill/>
              <a:ln w="12700" cap="flat" cmpd="sng">
                <a:solidFill>
                  <a:schemeClr val="tx1"/>
                </a:solidFill>
                <a:prstDash val="solid"/>
                <a:bevel/>
                <a:headEnd/>
                <a:tailEnd/>
              </a:ln>
            </p:spPr>
            <p:txBody>
              <a:bodyPr/>
              <a:lstStyle/>
              <a:p>
                <a:endParaRPr lang="nl-NL"/>
              </a:p>
            </p:txBody>
          </p:sp>
          <p:sp>
            <p:nvSpPr>
              <p:cNvPr id="143" name="Freeform 547">
                <a:extLst>
                  <a:ext uri="{FF2B5EF4-FFF2-40B4-BE49-F238E27FC236}">
                    <a16:creationId xmlns:a16="http://schemas.microsoft.com/office/drawing/2014/main" id="{5B82F8BB-C0BB-969B-CAD7-47A4F88B7142}"/>
                  </a:ext>
                </a:extLst>
              </p:cNvPr>
              <p:cNvSpPr>
                <a:spLocks/>
              </p:cNvSpPr>
              <p:nvPr/>
            </p:nvSpPr>
            <p:spPr bwMode="auto">
              <a:xfrm>
                <a:off x="4000" y="1114"/>
                <a:ext cx="159" cy="109"/>
              </a:xfrm>
              <a:custGeom>
                <a:avLst/>
                <a:gdLst/>
                <a:ahLst/>
                <a:cxnLst>
                  <a:cxn ang="0">
                    <a:pos x="1143" y="127"/>
                  </a:cxn>
                  <a:cxn ang="0">
                    <a:pos x="1143" y="170"/>
                  </a:cxn>
                  <a:cxn ang="0">
                    <a:pos x="1101" y="212"/>
                  </a:cxn>
                  <a:cxn ang="0">
                    <a:pos x="1016" y="254"/>
                  </a:cxn>
                  <a:cxn ang="0">
                    <a:pos x="762" y="339"/>
                  </a:cxn>
                  <a:cxn ang="0">
                    <a:pos x="678" y="381"/>
                  </a:cxn>
                  <a:cxn ang="0">
                    <a:pos x="678" y="424"/>
                  </a:cxn>
                  <a:cxn ang="0">
                    <a:pos x="678" y="508"/>
                  </a:cxn>
                  <a:cxn ang="0">
                    <a:pos x="720" y="508"/>
                  </a:cxn>
                  <a:cxn ang="0">
                    <a:pos x="720" y="466"/>
                  </a:cxn>
                  <a:cxn ang="0">
                    <a:pos x="720" y="466"/>
                  </a:cxn>
                  <a:cxn ang="0">
                    <a:pos x="720" y="466"/>
                  </a:cxn>
                  <a:cxn ang="0">
                    <a:pos x="720" y="466"/>
                  </a:cxn>
                  <a:cxn ang="0">
                    <a:pos x="762" y="466"/>
                  </a:cxn>
                  <a:cxn ang="0">
                    <a:pos x="720" y="508"/>
                  </a:cxn>
                  <a:cxn ang="0">
                    <a:pos x="678" y="593"/>
                  </a:cxn>
                  <a:cxn ang="0">
                    <a:pos x="678" y="593"/>
                  </a:cxn>
                  <a:cxn ang="0">
                    <a:pos x="678" y="593"/>
                  </a:cxn>
                  <a:cxn ang="0">
                    <a:pos x="551" y="678"/>
                  </a:cxn>
                  <a:cxn ang="0">
                    <a:pos x="508" y="720"/>
                  </a:cxn>
                  <a:cxn ang="0">
                    <a:pos x="466" y="720"/>
                  </a:cxn>
                  <a:cxn ang="0">
                    <a:pos x="466" y="762"/>
                  </a:cxn>
                  <a:cxn ang="0">
                    <a:pos x="424" y="805"/>
                  </a:cxn>
                  <a:cxn ang="0">
                    <a:pos x="339" y="847"/>
                  </a:cxn>
                  <a:cxn ang="0">
                    <a:pos x="339" y="847"/>
                  </a:cxn>
                  <a:cxn ang="0">
                    <a:pos x="339" y="847"/>
                  </a:cxn>
                  <a:cxn ang="0">
                    <a:pos x="297" y="847"/>
                  </a:cxn>
                  <a:cxn ang="0">
                    <a:pos x="212" y="847"/>
                  </a:cxn>
                  <a:cxn ang="0">
                    <a:pos x="85" y="847"/>
                  </a:cxn>
                  <a:cxn ang="0">
                    <a:pos x="43" y="889"/>
                  </a:cxn>
                  <a:cxn ang="0">
                    <a:pos x="43" y="889"/>
                  </a:cxn>
                  <a:cxn ang="0">
                    <a:pos x="43" y="932"/>
                  </a:cxn>
                  <a:cxn ang="0">
                    <a:pos x="85" y="932"/>
                  </a:cxn>
                  <a:cxn ang="0">
                    <a:pos x="43" y="932"/>
                  </a:cxn>
                  <a:cxn ang="0">
                    <a:pos x="0" y="932"/>
                  </a:cxn>
                  <a:cxn ang="0">
                    <a:pos x="0" y="932"/>
                  </a:cxn>
                  <a:cxn ang="0">
                    <a:pos x="0" y="847"/>
                  </a:cxn>
                  <a:cxn ang="0">
                    <a:pos x="0" y="805"/>
                  </a:cxn>
                  <a:cxn ang="0">
                    <a:pos x="0" y="762"/>
                  </a:cxn>
                  <a:cxn ang="0">
                    <a:pos x="254" y="635"/>
                  </a:cxn>
                  <a:cxn ang="0">
                    <a:pos x="381" y="508"/>
                  </a:cxn>
                  <a:cxn ang="0">
                    <a:pos x="466" y="466"/>
                  </a:cxn>
                  <a:cxn ang="0">
                    <a:pos x="551" y="381"/>
                  </a:cxn>
                  <a:cxn ang="0">
                    <a:pos x="593" y="339"/>
                  </a:cxn>
                  <a:cxn ang="0">
                    <a:pos x="762" y="212"/>
                  </a:cxn>
                  <a:cxn ang="0">
                    <a:pos x="847" y="170"/>
                  </a:cxn>
                  <a:cxn ang="0">
                    <a:pos x="889" y="127"/>
                  </a:cxn>
                  <a:cxn ang="0">
                    <a:pos x="889" y="127"/>
                  </a:cxn>
                  <a:cxn ang="0">
                    <a:pos x="1016" y="85"/>
                  </a:cxn>
                  <a:cxn ang="0">
                    <a:pos x="1101" y="43"/>
                  </a:cxn>
                  <a:cxn ang="0">
                    <a:pos x="1186" y="0"/>
                  </a:cxn>
                  <a:cxn ang="0">
                    <a:pos x="1228" y="0"/>
                  </a:cxn>
                  <a:cxn ang="0">
                    <a:pos x="1355" y="43"/>
                  </a:cxn>
                  <a:cxn ang="0">
                    <a:pos x="1355" y="85"/>
                  </a:cxn>
                  <a:cxn ang="0">
                    <a:pos x="1313" y="127"/>
                  </a:cxn>
                  <a:cxn ang="0">
                    <a:pos x="1313" y="127"/>
                  </a:cxn>
                  <a:cxn ang="0">
                    <a:pos x="1313" y="127"/>
                  </a:cxn>
                  <a:cxn ang="0">
                    <a:pos x="1270" y="127"/>
                  </a:cxn>
                  <a:cxn ang="0">
                    <a:pos x="1228" y="127"/>
                  </a:cxn>
                  <a:cxn ang="0">
                    <a:pos x="1143" y="127"/>
                  </a:cxn>
                </a:cxnLst>
                <a:rect l="0" t="0" r="r" b="b"/>
                <a:pathLst>
                  <a:path w="1355" h="932">
                    <a:moveTo>
                      <a:pt x="1143" y="127"/>
                    </a:moveTo>
                    <a:lnTo>
                      <a:pt x="1143" y="170"/>
                    </a:lnTo>
                    <a:lnTo>
                      <a:pt x="1101" y="212"/>
                    </a:lnTo>
                    <a:lnTo>
                      <a:pt x="1016" y="254"/>
                    </a:lnTo>
                    <a:lnTo>
                      <a:pt x="762" y="339"/>
                    </a:lnTo>
                    <a:lnTo>
                      <a:pt x="678" y="381"/>
                    </a:lnTo>
                    <a:lnTo>
                      <a:pt x="678" y="424"/>
                    </a:lnTo>
                    <a:lnTo>
                      <a:pt x="678" y="508"/>
                    </a:lnTo>
                    <a:lnTo>
                      <a:pt x="720" y="508"/>
                    </a:lnTo>
                    <a:lnTo>
                      <a:pt x="720" y="466"/>
                    </a:lnTo>
                    <a:lnTo>
                      <a:pt x="720" y="466"/>
                    </a:lnTo>
                    <a:lnTo>
                      <a:pt x="720" y="466"/>
                    </a:lnTo>
                    <a:lnTo>
                      <a:pt x="720" y="466"/>
                    </a:lnTo>
                    <a:lnTo>
                      <a:pt x="762" y="466"/>
                    </a:lnTo>
                    <a:lnTo>
                      <a:pt x="720" y="508"/>
                    </a:lnTo>
                    <a:lnTo>
                      <a:pt x="678" y="593"/>
                    </a:lnTo>
                    <a:lnTo>
                      <a:pt x="678" y="593"/>
                    </a:lnTo>
                    <a:lnTo>
                      <a:pt x="678" y="593"/>
                    </a:lnTo>
                    <a:lnTo>
                      <a:pt x="551" y="678"/>
                    </a:lnTo>
                    <a:lnTo>
                      <a:pt x="508" y="720"/>
                    </a:lnTo>
                    <a:lnTo>
                      <a:pt x="466" y="720"/>
                    </a:lnTo>
                    <a:lnTo>
                      <a:pt x="466" y="762"/>
                    </a:lnTo>
                    <a:lnTo>
                      <a:pt x="424" y="805"/>
                    </a:lnTo>
                    <a:lnTo>
                      <a:pt x="339" y="847"/>
                    </a:lnTo>
                    <a:lnTo>
                      <a:pt x="339" y="847"/>
                    </a:lnTo>
                    <a:lnTo>
                      <a:pt x="339" y="847"/>
                    </a:lnTo>
                    <a:lnTo>
                      <a:pt x="297" y="847"/>
                    </a:lnTo>
                    <a:lnTo>
                      <a:pt x="212" y="847"/>
                    </a:lnTo>
                    <a:lnTo>
                      <a:pt x="85" y="847"/>
                    </a:lnTo>
                    <a:lnTo>
                      <a:pt x="43" y="889"/>
                    </a:lnTo>
                    <a:lnTo>
                      <a:pt x="43" y="889"/>
                    </a:lnTo>
                    <a:lnTo>
                      <a:pt x="43" y="932"/>
                    </a:lnTo>
                    <a:lnTo>
                      <a:pt x="85" y="932"/>
                    </a:lnTo>
                    <a:lnTo>
                      <a:pt x="43" y="932"/>
                    </a:lnTo>
                    <a:lnTo>
                      <a:pt x="0" y="932"/>
                    </a:lnTo>
                    <a:lnTo>
                      <a:pt x="0" y="932"/>
                    </a:lnTo>
                    <a:lnTo>
                      <a:pt x="0" y="847"/>
                    </a:lnTo>
                    <a:lnTo>
                      <a:pt x="0" y="805"/>
                    </a:lnTo>
                    <a:lnTo>
                      <a:pt x="0" y="762"/>
                    </a:lnTo>
                    <a:lnTo>
                      <a:pt x="254" y="635"/>
                    </a:lnTo>
                    <a:lnTo>
                      <a:pt x="381" y="508"/>
                    </a:lnTo>
                    <a:lnTo>
                      <a:pt x="466" y="466"/>
                    </a:lnTo>
                    <a:lnTo>
                      <a:pt x="551" y="381"/>
                    </a:lnTo>
                    <a:lnTo>
                      <a:pt x="593" y="339"/>
                    </a:lnTo>
                    <a:lnTo>
                      <a:pt x="762" y="212"/>
                    </a:lnTo>
                    <a:lnTo>
                      <a:pt x="847" y="170"/>
                    </a:lnTo>
                    <a:lnTo>
                      <a:pt x="889" y="127"/>
                    </a:lnTo>
                    <a:lnTo>
                      <a:pt x="889" y="127"/>
                    </a:lnTo>
                    <a:lnTo>
                      <a:pt x="1016" y="85"/>
                    </a:lnTo>
                    <a:lnTo>
                      <a:pt x="1101" y="43"/>
                    </a:lnTo>
                    <a:lnTo>
                      <a:pt x="1186" y="0"/>
                    </a:lnTo>
                    <a:lnTo>
                      <a:pt x="1228" y="0"/>
                    </a:lnTo>
                    <a:lnTo>
                      <a:pt x="1355" y="43"/>
                    </a:lnTo>
                    <a:lnTo>
                      <a:pt x="1355" y="85"/>
                    </a:lnTo>
                    <a:lnTo>
                      <a:pt x="1313" y="127"/>
                    </a:lnTo>
                    <a:lnTo>
                      <a:pt x="1313" y="127"/>
                    </a:lnTo>
                    <a:lnTo>
                      <a:pt x="1313" y="127"/>
                    </a:lnTo>
                    <a:lnTo>
                      <a:pt x="1270" y="127"/>
                    </a:lnTo>
                    <a:lnTo>
                      <a:pt x="1228" y="127"/>
                    </a:lnTo>
                    <a:lnTo>
                      <a:pt x="1143" y="127"/>
                    </a:lnTo>
                    <a:close/>
                  </a:path>
                </a:pathLst>
              </a:custGeom>
              <a:grpFill/>
              <a:ln w="12700" cap="flat" cmpd="sng">
                <a:solidFill>
                  <a:schemeClr val="tx1"/>
                </a:solidFill>
                <a:prstDash val="solid"/>
                <a:bevel/>
                <a:headEnd/>
                <a:tailEnd/>
              </a:ln>
            </p:spPr>
            <p:txBody>
              <a:bodyPr/>
              <a:lstStyle/>
              <a:p>
                <a:endParaRPr lang="nl-NL"/>
              </a:p>
            </p:txBody>
          </p:sp>
          <p:sp>
            <p:nvSpPr>
              <p:cNvPr id="144" name="Freeform 548">
                <a:extLst>
                  <a:ext uri="{FF2B5EF4-FFF2-40B4-BE49-F238E27FC236}">
                    <a16:creationId xmlns:a16="http://schemas.microsoft.com/office/drawing/2014/main" id="{B0200634-EDA9-94F7-6FC1-EEF27774E1B0}"/>
                  </a:ext>
                </a:extLst>
              </p:cNvPr>
              <p:cNvSpPr>
                <a:spLocks/>
              </p:cNvSpPr>
              <p:nvPr/>
            </p:nvSpPr>
            <p:spPr bwMode="auto">
              <a:xfrm>
                <a:off x="5022" y="846"/>
                <a:ext cx="40" cy="39"/>
              </a:xfrm>
              <a:custGeom>
                <a:avLst/>
                <a:gdLst/>
                <a:ahLst/>
                <a:cxnLst>
                  <a:cxn ang="0">
                    <a:pos x="212" y="43"/>
                  </a:cxn>
                  <a:cxn ang="0">
                    <a:pos x="212" y="85"/>
                  </a:cxn>
                  <a:cxn ang="0">
                    <a:pos x="212" y="85"/>
                  </a:cxn>
                  <a:cxn ang="0">
                    <a:pos x="254" y="127"/>
                  </a:cxn>
                  <a:cxn ang="0">
                    <a:pos x="296" y="170"/>
                  </a:cxn>
                  <a:cxn ang="0">
                    <a:pos x="339" y="212"/>
                  </a:cxn>
                  <a:cxn ang="0">
                    <a:pos x="296" y="170"/>
                  </a:cxn>
                  <a:cxn ang="0">
                    <a:pos x="254" y="170"/>
                  </a:cxn>
                  <a:cxn ang="0">
                    <a:pos x="169" y="170"/>
                  </a:cxn>
                  <a:cxn ang="0">
                    <a:pos x="127" y="170"/>
                  </a:cxn>
                  <a:cxn ang="0">
                    <a:pos x="127" y="170"/>
                  </a:cxn>
                  <a:cxn ang="0">
                    <a:pos x="127" y="212"/>
                  </a:cxn>
                  <a:cxn ang="0">
                    <a:pos x="127" y="254"/>
                  </a:cxn>
                  <a:cxn ang="0">
                    <a:pos x="169" y="254"/>
                  </a:cxn>
                  <a:cxn ang="0">
                    <a:pos x="169" y="254"/>
                  </a:cxn>
                  <a:cxn ang="0">
                    <a:pos x="127" y="339"/>
                  </a:cxn>
                  <a:cxn ang="0">
                    <a:pos x="85" y="297"/>
                  </a:cxn>
                  <a:cxn ang="0">
                    <a:pos x="42" y="170"/>
                  </a:cxn>
                  <a:cxn ang="0">
                    <a:pos x="0" y="127"/>
                  </a:cxn>
                  <a:cxn ang="0">
                    <a:pos x="0" y="85"/>
                  </a:cxn>
                  <a:cxn ang="0">
                    <a:pos x="42" y="0"/>
                  </a:cxn>
                  <a:cxn ang="0">
                    <a:pos x="85" y="0"/>
                  </a:cxn>
                  <a:cxn ang="0">
                    <a:pos x="127" y="0"/>
                  </a:cxn>
                  <a:cxn ang="0">
                    <a:pos x="169" y="0"/>
                  </a:cxn>
                  <a:cxn ang="0">
                    <a:pos x="212" y="43"/>
                  </a:cxn>
                  <a:cxn ang="0">
                    <a:pos x="212" y="43"/>
                  </a:cxn>
                  <a:cxn ang="0">
                    <a:pos x="212" y="43"/>
                  </a:cxn>
                </a:cxnLst>
                <a:rect l="0" t="0" r="r" b="b"/>
                <a:pathLst>
                  <a:path w="339" h="339">
                    <a:moveTo>
                      <a:pt x="212" y="43"/>
                    </a:moveTo>
                    <a:lnTo>
                      <a:pt x="212" y="85"/>
                    </a:lnTo>
                    <a:lnTo>
                      <a:pt x="212" y="85"/>
                    </a:lnTo>
                    <a:lnTo>
                      <a:pt x="254" y="127"/>
                    </a:lnTo>
                    <a:lnTo>
                      <a:pt x="296" y="170"/>
                    </a:lnTo>
                    <a:lnTo>
                      <a:pt x="339" y="212"/>
                    </a:lnTo>
                    <a:lnTo>
                      <a:pt x="296" y="170"/>
                    </a:lnTo>
                    <a:lnTo>
                      <a:pt x="254" y="170"/>
                    </a:lnTo>
                    <a:lnTo>
                      <a:pt x="169" y="170"/>
                    </a:lnTo>
                    <a:lnTo>
                      <a:pt x="127" y="170"/>
                    </a:lnTo>
                    <a:lnTo>
                      <a:pt x="127" y="170"/>
                    </a:lnTo>
                    <a:lnTo>
                      <a:pt x="127" y="212"/>
                    </a:lnTo>
                    <a:lnTo>
                      <a:pt x="127" y="254"/>
                    </a:lnTo>
                    <a:lnTo>
                      <a:pt x="169" y="254"/>
                    </a:lnTo>
                    <a:lnTo>
                      <a:pt x="169" y="254"/>
                    </a:lnTo>
                    <a:lnTo>
                      <a:pt x="127" y="339"/>
                    </a:lnTo>
                    <a:lnTo>
                      <a:pt x="85" y="297"/>
                    </a:lnTo>
                    <a:lnTo>
                      <a:pt x="42" y="170"/>
                    </a:lnTo>
                    <a:lnTo>
                      <a:pt x="0" y="127"/>
                    </a:lnTo>
                    <a:lnTo>
                      <a:pt x="0" y="85"/>
                    </a:lnTo>
                    <a:lnTo>
                      <a:pt x="42" y="0"/>
                    </a:lnTo>
                    <a:lnTo>
                      <a:pt x="85" y="0"/>
                    </a:lnTo>
                    <a:lnTo>
                      <a:pt x="127" y="0"/>
                    </a:lnTo>
                    <a:lnTo>
                      <a:pt x="169" y="0"/>
                    </a:lnTo>
                    <a:lnTo>
                      <a:pt x="212" y="43"/>
                    </a:lnTo>
                    <a:lnTo>
                      <a:pt x="212" y="43"/>
                    </a:lnTo>
                    <a:lnTo>
                      <a:pt x="212" y="43"/>
                    </a:lnTo>
                    <a:close/>
                  </a:path>
                </a:pathLst>
              </a:custGeom>
              <a:grpFill/>
              <a:ln w="12700" cap="flat" cmpd="sng">
                <a:solidFill>
                  <a:schemeClr val="tx1"/>
                </a:solidFill>
                <a:prstDash val="solid"/>
                <a:bevel/>
                <a:headEnd/>
                <a:tailEnd/>
              </a:ln>
            </p:spPr>
            <p:txBody>
              <a:bodyPr/>
              <a:lstStyle/>
              <a:p>
                <a:endParaRPr lang="nl-NL"/>
              </a:p>
            </p:txBody>
          </p:sp>
          <p:sp>
            <p:nvSpPr>
              <p:cNvPr id="145" name="Freeform 549">
                <a:extLst>
                  <a:ext uri="{FF2B5EF4-FFF2-40B4-BE49-F238E27FC236}">
                    <a16:creationId xmlns:a16="http://schemas.microsoft.com/office/drawing/2014/main" id="{5A64EBA9-73A9-4B88-089D-10A2A4A28371}"/>
                  </a:ext>
                </a:extLst>
              </p:cNvPr>
              <p:cNvSpPr>
                <a:spLocks noEditPoints="1"/>
              </p:cNvSpPr>
              <p:nvPr/>
            </p:nvSpPr>
            <p:spPr bwMode="auto">
              <a:xfrm>
                <a:off x="4308" y="1000"/>
                <a:ext cx="709" cy="655"/>
              </a:xfrm>
              <a:custGeom>
                <a:avLst/>
                <a:gdLst/>
                <a:ahLst/>
                <a:cxnLst>
                  <a:cxn ang="0">
                    <a:pos x="4106" y="84"/>
                  </a:cxn>
                  <a:cxn ang="0">
                    <a:pos x="3513" y="169"/>
                  </a:cxn>
                  <a:cxn ang="0">
                    <a:pos x="3048" y="254"/>
                  </a:cxn>
                  <a:cxn ang="0">
                    <a:pos x="2709" y="423"/>
                  </a:cxn>
                  <a:cxn ang="0">
                    <a:pos x="1905" y="846"/>
                  </a:cxn>
                  <a:cxn ang="0">
                    <a:pos x="1397" y="1058"/>
                  </a:cxn>
                  <a:cxn ang="0">
                    <a:pos x="1143" y="1397"/>
                  </a:cxn>
                  <a:cxn ang="0">
                    <a:pos x="762" y="1651"/>
                  </a:cxn>
                  <a:cxn ang="0">
                    <a:pos x="508" y="2074"/>
                  </a:cxn>
                  <a:cxn ang="0">
                    <a:pos x="465" y="2328"/>
                  </a:cxn>
                  <a:cxn ang="0">
                    <a:pos x="296" y="2794"/>
                  </a:cxn>
                  <a:cxn ang="0">
                    <a:pos x="296" y="3005"/>
                  </a:cxn>
                  <a:cxn ang="0">
                    <a:pos x="381" y="3344"/>
                  </a:cxn>
                  <a:cxn ang="0">
                    <a:pos x="338" y="3386"/>
                  </a:cxn>
                  <a:cxn ang="0">
                    <a:pos x="381" y="3556"/>
                  </a:cxn>
                  <a:cxn ang="0">
                    <a:pos x="423" y="3979"/>
                  </a:cxn>
                  <a:cxn ang="0">
                    <a:pos x="423" y="4148"/>
                  </a:cxn>
                  <a:cxn ang="0">
                    <a:pos x="423" y="4487"/>
                  </a:cxn>
                  <a:cxn ang="0">
                    <a:pos x="169" y="4783"/>
                  </a:cxn>
                  <a:cxn ang="0">
                    <a:pos x="296" y="4995"/>
                  </a:cxn>
                  <a:cxn ang="0">
                    <a:pos x="677" y="5122"/>
                  </a:cxn>
                  <a:cxn ang="0">
                    <a:pos x="1270" y="5334"/>
                  </a:cxn>
                  <a:cxn ang="0">
                    <a:pos x="1566" y="5164"/>
                  </a:cxn>
                  <a:cxn ang="0">
                    <a:pos x="1862" y="5207"/>
                  </a:cxn>
                  <a:cxn ang="0">
                    <a:pos x="2116" y="5249"/>
                  </a:cxn>
                  <a:cxn ang="0">
                    <a:pos x="2540" y="5588"/>
                  </a:cxn>
                  <a:cxn ang="0">
                    <a:pos x="2794" y="5545"/>
                  </a:cxn>
                  <a:cxn ang="0">
                    <a:pos x="3090" y="5545"/>
                  </a:cxn>
                  <a:cxn ang="0">
                    <a:pos x="3259" y="5334"/>
                  </a:cxn>
                  <a:cxn ang="0">
                    <a:pos x="3556" y="5291"/>
                  </a:cxn>
                  <a:cxn ang="0">
                    <a:pos x="3852" y="5461"/>
                  </a:cxn>
                  <a:cxn ang="0">
                    <a:pos x="4148" y="5249"/>
                  </a:cxn>
                  <a:cxn ang="0">
                    <a:pos x="4783" y="4783"/>
                  </a:cxn>
                  <a:cxn ang="0">
                    <a:pos x="5249" y="4445"/>
                  </a:cxn>
                  <a:cxn ang="0">
                    <a:pos x="5926" y="4233"/>
                  </a:cxn>
                  <a:cxn ang="0">
                    <a:pos x="5672" y="3386"/>
                  </a:cxn>
                  <a:cxn ang="0">
                    <a:pos x="5291" y="2878"/>
                  </a:cxn>
                  <a:cxn ang="0">
                    <a:pos x="4910" y="2709"/>
                  </a:cxn>
                  <a:cxn ang="0">
                    <a:pos x="4656" y="2328"/>
                  </a:cxn>
                  <a:cxn ang="0">
                    <a:pos x="4826" y="1947"/>
                  </a:cxn>
                  <a:cxn ang="0">
                    <a:pos x="4826" y="1651"/>
                  </a:cxn>
                  <a:cxn ang="0">
                    <a:pos x="4995" y="1354"/>
                  </a:cxn>
                  <a:cxn ang="0">
                    <a:pos x="5037" y="1143"/>
                  </a:cxn>
                  <a:cxn ang="0">
                    <a:pos x="5249" y="931"/>
                  </a:cxn>
                  <a:cxn ang="0">
                    <a:pos x="5037" y="592"/>
                  </a:cxn>
                  <a:cxn ang="0">
                    <a:pos x="4910" y="677"/>
                  </a:cxn>
                  <a:cxn ang="0">
                    <a:pos x="4783" y="550"/>
                  </a:cxn>
                  <a:cxn ang="0">
                    <a:pos x="4699" y="677"/>
                  </a:cxn>
                  <a:cxn ang="0">
                    <a:pos x="4572" y="592"/>
                  </a:cxn>
                  <a:cxn ang="0">
                    <a:pos x="4529" y="296"/>
                  </a:cxn>
                  <a:cxn ang="0">
                    <a:pos x="4868" y="550"/>
                  </a:cxn>
                  <a:cxn ang="0">
                    <a:pos x="0" y="3090"/>
                  </a:cxn>
                  <a:cxn ang="0">
                    <a:pos x="465" y="2116"/>
                  </a:cxn>
                  <a:cxn ang="0">
                    <a:pos x="4572" y="846"/>
                  </a:cxn>
                </a:cxnLst>
                <a:rect l="0" t="0" r="r" b="b"/>
                <a:pathLst>
                  <a:path w="6053" h="5588">
                    <a:moveTo>
                      <a:pt x="4614" y="0"/>
                    </a:moveTo>
                    <a:lnTo>
                      <a:pt x="4402" y="84"/>
                    </a:lnTo>
                    <a:lnTo>
                      <a:pt x="4360" y="84"/>
                    </a:lnTo>
                    <a:lnTo>
                      <a:pt x="4275" y="42"/>
                    </a:lnTo>
                    <a:lnTo>
                      <a:pt x="4148" y="42"/>
                    </a:lnTo>
                    <a:lnTo>
                      <a:pt x="4148" y="84"/>
                    </a:lnTo>
                    <a:lnTo>
                      <a:pt x="4106" y="84"/>
                    </a:lnTo>
                    <a:lnTo>
                      <a:pt x="4064" y="84"/>
                    </a:lnTo>
                    <a:lnTo>
                      <a:pt x="4021" y="42"/>
                    </a:lnTo>
                    <a:lnTo>
                      <a:pt x="3852" y="84"/>
                    </a:lnTo>
                    <a:lnTo>
                      <a:pt x="3767" y="84"/>
                    </a:lnTo>
                    <a:lnTo>
                      <a:pt x="3725" y="84"/>
                    </a:lnTo>
                    <a:lnTo>
                      <a:pt x="3683" y="127"/>
                    </a:lnTo>
                    <a:lnTo>
                      <a:pt x="3513" y="169"/>
                    </a:lnTo>
                    <a:lnTo>
                      <a:pt x="3471" y="169"/>
                    </a:lnTo>
                    <a:lnTo>
                      <a:pt x="3429" y="169"/>
                    </a:lnTo>
                    <a:lnTo>
                      <a:pt x="3259" y="254"/>
                    </a:lnTo>
                    <a:lnTo>
                      <a:pt x="3175" y="254"/>
                    </a:lnTo>
                    <a:lnTo>
                      <a:pt x="3132" y="254"/>
                    </a:lnTo>
                    <a:lnTo>
                      <a:pt x="3090" y="254"/>
                    </a:lnTo>
                    <a:lnTo>
                      <a:pt x="3048" y="254"/>
                    </a:lnTo>
                    <a:lnTo>
                      <a:pt x="3048" y="211"/>
                    </a:lnTo>
                    <a:lnTo>
                      <a:pt x="3005" y="169"/>
                    </a:lnTo>
                    <a:lnTo>
                      <a:pt x="3005" y="254"/>
                    </a:lnTo>
                    <a:lnTo>
                      <a:pt x="2921" y="296"/>
                    </a:lnTo>
                    <a:lnTo>
                      <a:pt x="2836" y="338"/>
                    </a:lnTo>
                    <a:lnTo>
                      <a:pt x="2794" y="381"/>
                    </a:lnTo>
                    <a:lnTo>
                      <a:pt x="2709" y="423"/>
                    </a:lnTo>
                    <a:lnTo>
                      <a:pt x="2667" y="465"/>
                    </a:lnTo>
                    <a:lnTo>
                      <a:pt x="2582" y="508"/>
                    </a:lnTo>
                    <a:lnTo>
                      <a:pt x="2497" y="508"/>
                    </a:lnTo>
                    <a:lnTo>
                      <a:pt x="2370" y="592"/>
                    </a:lnTo>
                    <a:lnTo>
                      <a:pt x="2201" y="677"/>
                    </a:lnTo>
                    <a:lnTo>
                      <a:pt x="2116" y="719"/>
                    </a:lnTo>
                    <a:lnTo>
                      <a:pt x="1905" y="846"/>
                    </a:lnTo>
                    <a:lnTo>
                      <a:pt x="1778" y="846"/>
                    </a:lnTo>
                    <a:lnTo>
                      <a:pt x="1735" y="889"/>
                    </a:lnTo>
                    <a:lnTo>
                      <a:pt x="1651" y="931"/>
                    </a:lnTo>
                    <a:lnTo>
                      <a:pt x="1608" y="931"/>
                    </a:lnTo>
                    <a:lnTo>
                      <a:pt x="1566" y="973"/>
                    </a:lnTo>
                    <a:lnTo>
                      <a:pt x="1481" y="1016"/>
                    </a:lnTo>
                    <a:lnTo>
                      <a:pt x="1397" y="1058"/>
                    </a:lnTo>
                    <a:lnTo>
                      <a:pt x="1354" y="1100"/>
                    </a:lnTo>
                    <a:lnTo>
                      <a:pt x="1270" y="1185"/>
                    </a:lnTo>
                    <a:lnTo>
                      <a:pt x="1227" y="1270"/>
                    </a:lnTo>
                    <a:lnTo>
                      <a:pt x="1185" y="1312"/>
                    </a:lnTo>
                    <a:lnTo>
                      <a:pt x="1185" y="1354"/>
                    </a:lnTo>
                    <a:lnTo>
                      <a:pt x="1143" y="1354"/>
                    </a:lnTo>
                    <a:lnTo>
                      <a:pt x="1143" y="1397"/>
                    </a:lnTo>
                    <a:lnTo>
                      <a:pt x="1058" y="1439"/>
                    </a:lnTo>
                    <a:lnTo>
                      <a:pt x="1016" y="1481"/>
                    </a:lnTo>
                    <a:lnTo>
                      <a:pt x="973" y="1481"/>
                    </a:lnTo>
                    <a:lnTo>
                      <a:pt x="889" y="1566"/>
                    </a:lnTo>
                    <a:lnTo>
                      <a:pt x="846" y="1608"/>
                    </a:lnTo>
                    <a:lnTo>
                      <a:pt x="804" y="1608"/>
                    </a:lnTo>
                    <a:lnTo>
                      <a:pt x="762" y="1651"/>
                    </a:lnTo>
                    <a:lnTo>
                      <a:pt x="719" y="1735"/>
                    </a:lnTo>
                    <a:lnTo>
                      <a:pt x="677" y="1735"/>
                    </a:lnTo>
                    <a:lnTo>
                      <a:pt x="635" y="1778"/>
                    </a:lnTo>
                    <a:lnTo>
                      <a:pt x="592" y="1862"/>
                    </a:lnTo>
                    <a:lnTo>
                      <a:pt x="550" y="1989"/>
                    </a:lnTo>
                    <a:lnTo>
                      <a:pt x="508" y="2032"/>
                    </a:lnTo>
                    <a:lnTo>
                      <a:pt x="508" y="2074"/>
                    </a:lnTo>
                    <a:lnTo>
                      <a:pt x="550" y="2074"/>
                    </a:lnTo>
                    <a:lnTo>
                      <a:pt x="508" y="2116"/>
                    </a:lnTo>
                    <a:lnTo>
                      <a:pt x="465" y="2159"/>
                    </a:lnTo>
                    <a:lnTo>
                      <a:pt x="423" y="2201"/>
                    </a:lnTo>
                    <a:lnTo>
                      <a:pt x="423" y="2243"/>
                    </a:lnTo>
                    <a:lnTo>
                      <a:pt x="465" y="2243"/>
                    </a:lnTo>
                    <a:lnTo>
                      <a:pt x="465" y="2328"/>
                    </a:lnTo>
                    <a:lnTo>
                      <a:pt x="423" y="2413"/>
                    </a:lnTo>
                    <a:lnTo>
                      <a:pt x="423" y="2540"/>
                    </a:lnTo>
                    <a:lnTo>
                      <a:pt x="423" y="2624"/>
                    </a:lnTo>
                    <a:lnTo>
                      <a:pt x="423" y="2667"/>
                    </a:lnTo>
                    <a:lnTo>
                      <a:pt x="381" y="2709"/>
                    </a:lnTo>
                    <a:lnTo>
                      <a:pt x="381" y="2751"/>
                    </a:lnTo>
                    <a:lnTo>
                      <a:pt x="296" y="2794"/>
                    </a:lnTo>
                    <a:lnTo>
                      <a:pt x="254" y="2794"/>
                    </a:lnTo>
                    <a:lnTo>
                      <a:pt x="296" y="2836"/>
                    </a:lnTo>
                    <a:lnTo>
                      <a:pt x="254" y="2878"/>
                    </a:lnTo>
                    <a:lnTo>
                      <a:pt x="254" y="2921"/>
                    </a:lnTo>
                    <a:lnTo>
                      <a:pt x="211" y="2963"/>
                    </a:lnTo>
                    <a:lnTo>
                      <a:pt x="254" y="2963"/>
                    </a:lnTo>
                    <a:lnTo>
                      <a:pt x="296" y="3005"/>
                    </a:lnTo>
                    <a:lnTo>
                      <a:pt x="338" y="3090"/>
                    </a:lnTo>
                    <a:lnTo>
                      <a:pt x="338" y="3132"/>
                    </a:lnTo>
                    <a:lnTo>
                      <a:pt x="338" y="3175"/>
                    </a:lnTo>
                    <a:lnTo>
                      <a:pt x="338" y="3217"/>
                    </a:lnTo>
                    <a:lnTo>
                      <a:pt x="381" y="3302"/>
                    </a:lnTo>
                    <a:lnTo>
                      <a:pt x="338" y="3302"/>
                    </a:lnTo>
                    <a:lnTo>
                      <a:pt x="381" y="3344"/>
                    </a:lnTo>
                    <a:lnTo>
                      <a:pt x="338" y="3344"/>
                    </a:lnTo>
                    <a:lnTo>
                      <a:pt x="338" y="3302"/>
                    </a:lnTo>
                    <a:lnTo>
                      <a:pt x="254" y="3302"/>
                    </a:lnTo>
                    <a:lnTo>
                      <a:pt x="254" y="3344"/>
                    </a:lnTo>
                    <a:lnTo>
                      <a:pt x="254" y="3386"/>
                    </a:lnTo>
                    <a:lnTo>
                      <a:pt x="296" y="3386"/>
                    </a:lnTo>
                    <a:lnTo>
                      <a:pt x="338" y="3386"/>
                    </a:lnTo>
                    <a:lnTo>
                      <a:pt x="338" y="3471"/>
                    </a:lnTo>
                    <a:lnTo>
                      <a:pt x="338" y="3513"/>
                    </a:lnTo>
                    <a:lnTo>
                      <a:pt x="381" y="3471"/>
                    </a:lnTo>
                    <a:lnTo>
                      <a:pt x="381" y="3513"/>
                    </a:lnTo>
                    <a:lnTo>
                      <a:pt x="338" y="3513"/>
                    </a:lnTo>
                    <a:lnTo>
                      <a:pt x="338" y="3556"/>
                    </a:lnTo>
                    <a:lnTo>
                      <a:pt x="381" y="3556"/>
                    </a:lnTo>
                    <a:lnTo>
                      <a:pt x="423" y="3598"/>
                    </a:lnTo>
                    <a:lnTo>
                      <a:pt x="423" y="3640"/>
                    </a:lnTo>
                    <a:lnTo>
                      <a:pt x="423" y="3683"/>
                    </a:lnTo>
                    <a:lnTo>
                      <a:pt x="423" y="3725"/>
                    </a:lnTo>
                    <a:lnTo>
                      <a:pt x="381" y="3767"/>
                    </a:lnTo>
                    <a:lnTo>
                      <a:pt x="381" y="3852"/>
                    </a:lnTo>
                    <a:lnTo>
                      <a:pt x="423" y="3979"/>
                    </a:lnTo>
                    <a:lnTo>
                      <a:pt x="423" y="4064"/>
                    </a:lnTo>
                    <a:lnTo>
                      <a:pt x="465" y="4106"/>
                    </a:lnTo>
                    <a:lnTo>
                      <a:pt x="465" y="4120"/>
                    </a:lnTo>
                    <a:lnTo>
                      <a:pt x="550" y="4064"/>
                    </a:lnTo>
                    <a:lnTo>
                      <a:pt x="465" y="4148"/>
                    </a:lnTo>
                    <a:lnTo>
                      <a:pt x="465" y="4120"/>
                    </a:lnTo>
                    <a:lnTo>
                      <a:pt x="423" y="4148"/>
                    </a:lnTo>
                    <a:lnTo>
                      <a:pt x="423" y="4191"/>
                    </a:lnTo>
                    <a:lnTo>
                      <a:pt x="423" y="4275"/>
                    </a:lnTo>
                    <a:lnTo>
                      <a:pt x="381" y="4275"/>
                    </a:lnTo>
                    <a:lnTo>
                      <a:pt x="338" y="4318"/>
                    </a:lnTo>
                    <a:lnTo>
                      <a:pt x="381" y="4360"/>
                    </a:lnTo>
                    <a:lnTo>
                      <a:pt x="423" y="4445"/>
                    </a:lnTo>
                    <a:lnTo>
                      <a:pt x="423" y="4487"/>
                    </a:lnTo>
                    <a:lnTo>
                      <a:pt x="423" y="4572"/>
                    </a:lnTo>
                    <a:lnTo>
                      <a:pt x="423" y="4614"/>
                    </a:lnTo>
                    <a:lnTo>
                      <a:pt x="381" y="4656"/>
                    </a:lnTo>
                    <a:lnTo>
                      <a:pt x="338" y="4656"/>
                    </a:lnTo>
                    <a:lnTo>
                      <a:pt x="296" y="4656"/>
                    </a:lnTo>
                    <a:lnTo>
                      <a:pt x="211" y="4741"/>
                    </a:lnTo>
                    <a:lnTo>
                      <a:pt x="169" y="4783"/>
                    </a:lnTo>
                    <a:lnTo>
                      <a:pt x="127" y="4826"/>
                    </a:lnTo>
                    <a:lnTo>
                      <a:pt x="169" y="4868"/>
                    </a:lnTo>
                    <a:lnTo>
                      <a:pt x="169" y="4910"/>
                    </a:lnTo>
                    <a:lnTo>
                      <a:pt x="169" y="4953"/>
                    </a:lnTo>
                    <a:lnTo>
                      <a:pt x="254" y="4953"/>
                    </a:lnTo>
                    <a:lnTo>
                      <a:pt x="254" y="4995"/>
                    </a:lnTo>
                    <a:lnTo>
                      <a:pt x="296" y="4995"/>
                    </a:lnTo>
                    <a:lnTo>
                      <a:pt x="381" y="5080"/>
                    </a:lnTo>
                    <a:lnTo>
                      <a:pt x="465" y="5164"/>
                    </a:lnTo>
                    <a:lnTo>
                      <a:pt x="508" y="5164"/>
                    </a:lnTo>
                    <a:lnTo>
                      <a:pt x="550" y="5164"/>
                    </a:lnTo>
                    <a:lnTo>
                      <a:pt x="592" y="5164"/>
                    </a:lnTo>
                    <a:lnTo>
                      <a:pt x="677" y="5164"/>
                    </a:lnTo>
                    <a:lnTo>
                      <a:pt x="677" y="5122"/>
                    </a:lnTo>
                    <a:lnTo>
                      <a:pt x="804" y="5164"/>
                    </a:lnTo>
                    <a:lnTo>
                      <a:pt x="889" y="5164"/>
                    </a:lnTo>
                    <a:lnTo>
                      <a:pt x="931" y="5207"/>
                    </a:lnTo>
                    <a:lnTo>
                      <a:pt x="1100" y="5291"/>
                    </a:lnTo>
                    <a:lnTo>
                      <a:pt x="1185" y="5291"/>
                    </a:lnTo>
                    <a:lnTo>
                      <a:pt x="1185" y="5334"/>
                    </a:lnTo>
                    <a:lnTo>
                      <a:pt x="1270" y="5334"/>
                    </a:lnTo>
                    <a:lnTo>
                      <a:pt x="1312" y="5291"/>
                    </a:lnTo>
                    <a:lnTo>
                      <a:pt x="1354" y="5291"/>
                    </a:lnTo>
                    <a:lnTo>
                      <a:pt x="1354" y="5249"/>
                    </a:lnTo>
                    <a:lnTo>
                      <a:pt x="1397" y="5207"/>
                    </a:lnTo>
                    <a:lnTo>
                      <a:pt x="1397" y="5164"/>
                    </a:lnTo>
                    <a:lnTo>
                      <a:pt x="1481" y="5122"/>
                    </a:lnTo>
                    <a:lnTo>
                      <a:pt x="1566" y="5164"/>
                    </a:lnTo>
                    <a:lnTo>
                      <a:pt x="1608" y="5122"/>
                    </a:lnTo>
                    <a:lnTo>
                      <a:pt x="1693" y="5080"/>
                    </a:lnTo>
                    <a:lnTo>
                      <a:pt x="1735" y="5080"/>
                    </a:lnTo>
                    <a:lnTo>
                      <a:pt x="1778" y="5122"/>
                    </a:lnTo>
                    <a:lnTo>
                      <a:pt x="1778" y="5207"/>
                    </a:lnTo>
                    <a:lnTo>
                      <a:pt x="1820" y="5207"/>
                    </a:lnTo>
                    <a:lnTo>
                      <a:pt x="1862" y="5207"/>
                    </a:lnTo>
                    <a:lnTo>
                      <a:pt x="1947" y="5207"/>
                    </a:lnTo>
                    <a:lnTo>
                      <a:pt x="1989" y="5207"/>
                    </a:lnTo>
                    <a:lnTo>
                      <a:pt x="2032" y="5207"/>
                    </a:lnTo>
                    <a:lnTo>
                      <a:pt x="2032" y="5249"/>
                    </a:lnTo>
                    <a:lnTo>
                      <a:pt x="2074" y="5249"/>
                    </a:lnTo>
                    <a:lnTo>
                      <a:pt x="2116" y="5207"/>
                    </a:lnTo>
                    <a:lnTo>
                      <a:pt x="2116" y="5249"/>
                    </a:lnTo>
                    <a:lnTo>
                      <a:pt x="2201" y="5291"/>
                    </a:lnTo>
                    <a:lnTo>
                      <a:pt x="2159" y="5207"/>
                    </a:lnTo>
                    <a:lnTo>
                      <a:pt x="2286" y="5249"/>
                    </a:lnTo>
                    <a:lnTo>
                      <a:pt x="2328" y="5249"/>
                    </a:lnTo>
                    <a:lnTo>
                      <a:pt x="2497" y="5461"/>
                    </a:lnTo>
                    <a:lnTo>
                      <a:pt x="2540" y="5545"/>
                    </a:lnTo>
                    <a:lnTo>
                      <a:pt x="2540" y="5588"/>
                    </a:lnTo>
                    <a:lnTo>
                      <a:pt x="2582" y="5545"/>
                    </a:lnTo>
                    <a:lnTo>
                      <a:pt x="2667" y="5461"/>
                    </a:lnTo>
                    <a:lnTo>
                      <a:pt x="2709" y="5461"/>
                    </a:lnTo>
                    <a:lnTo>
                      <a:pt x="2709" y="5503"/>
                    </a:lnTo>
                    <a:lnTo>
                      <a:pt x="2751" y="5503"/>
                    </a:lnTo>
                    <a:lnTo>
                      <a:pt x="2794" y="5503"/>
                    </a:lnTo>
                    <a:lnTo>
                      <a:pt x="2794" y="5545"/>
                    </a:lnTo>
                    <a:lnTo>
                      <a:pt x="2836" y="5545"/>
                    </a:lnTo>
                    <a:lnTo>
                      <a:pt x="2878" y="5545"/>
                    </a:lnTo>
                    <a:lnTo>
                      <a:pt x="2921" y="5588"/>
                    </a:lnTo>
                    <a:lnTo>
                      <a:pt x="2963" y="5588"/>
                    </a:lnTo>
                    <a:lnTo>
                      <a:pt x="3005" y="5588"/>
                    </a:lnTo>
                    <a:lnTo>
                      <a:pt x="3048" y="5588"/>
                    </a:lnTo>
                    <a:lnTo>
                      <a:pt x="3090" y="5545"/>
                    </a:lnTo>
                    <a:lnTo>
                      <a:pt x="3132" y="5545"/>
                    </a:lnTo>
                    <a:lnTo>
                      <a:pt x="3132" y="5503"/>
                    </a:lnTo>
                    <a:lnTo>
                      <a:pt x="3175" y="5503"/>
                    </a:lnTo>
                    <a:lnTo>
                      <a:pt x="3217" y="5461"/>
                    </a:lnTo>
                    <a:lnTo>
                      <a:pt x="3217" y="5418"/>
                    </a:lnTo>
                    <a:lnTo>
                      <a:pt x="3259" y="5376"/>
                    </a:lnTo>
                    <a:lnTo>
                      <a:pt x="3259" y="5334"/>
                    </a:lnTo>
                    <a:lnTo>
                      <a:pt x="3302" y="5291"/>
                    </a:lnTo>
                    <a:lnTo>
                      <a:pt x="3386" y="5291"/>
                    </a:lnTo>
                    <a:lnTo>
                      <a:pt x="3386" y="5249"/>
                    </a:lnTo>
                    <a:lnTo>
                      <a:pt x="3471" y="5291"/>
                    </a:lnTo>
                    <a:lnTo>
                      <a:pt x="3471" y="5249"/>
                    </a:lnTo>
                    <a:lnTo>
                      <a:pt x="3556" y="5207"/>
                    </a:lnTo>
                    <a:lnTo>
                      <a:pt x="3556" y="5291"/>
                    </a:lnTo>
                    <a:lnTo>
                      <a:pt x="3598" y="5376"/>
                    </a:lnTo>
                    <a:lnTo>
                      <a:pt x="3640" y="5418"/>
                    </a:lnTo>
                    <a:lnTo>
                      <a:pt x="3683" y="5418"/>
                    </a:lnTo>
                    <a:lnTo>
                      <a:pt x="3683" y="5461"/>
                    </a:lnTo>
                    <a:lnTo>
                      <a:pt x="3725" y="5418"/>
                    </a:lnTo>
                    <a:lnTo>
                      <a:pt x="3852" y="5376"/>
                    </a:lnTo>
                    <a:lnTo>
                      <a:pt x="3852" y="5461"/>
                    </a:lnTo>
                    <a:lnTo>
                      <a:pt x="3937" y="5418"/>
                    </a:lnTo>
                    <a:lnTo>
                      <a:pt x="3979" y="5376"/>
                    </a:lnTo>
                    <a:lnTo>
                      <a:pt x="4021" y="5376"/>
                    </a:lnTo>
                    <a:lnTo>
                      <a:pt x="4021" y="5334"/>
                    </a:lnTo>
                    <a:lnTo>
                      <a:pt x="3979" y="5249"/>
                    </a:lnTo>
                    <a:lnTo>
                      <a:pt x="4021" y="5249"/>
                    </a:lnTo>
                    <a:lnTo>
                      <a:pt x="4148" y="5249"/>
                    </a:lnTo>
                    <a:lnTo>
                      <a:pt x="4191" y="5207"/>
                    </a:lnTo>
                    <a:lnTo>
                      <a:pt x="4233" y="5164"/>
                    </a:lnTo>
                    <a:lnTo>
                      <a:pt x="4360" y="5080"/>
                    </a:lnTo>
                    <a:lnTo>
                      <a:pt x="4487" y="4995"/>
                    </a:lnTo>
                    <a:lnTo>
                      <a:pt x="4572" y="4910"/>
                    </a:lnTo>
                    <a:lnTo>
                      <a:pt x="4741" y="4826"/>
                    </a:lnTo>
                    <a:lnTo>
                      <a:pt x="4783" y="4783"/>
                    </a:lnTo>
                    <a:lnTo>
                      <a:pt x="4826" y="4741"/>
                    </a:lnTo>
                    <a:lnTo>
                      <a:pt x="4953" y="4572"/>
                    </a:lnTo>
                    <a:lnTo>
                      <a:pt x="5037" y="4529"/>
                    </a:lnTo>
                    <a:lnTo>
                      <a:pt x="5037" y="4487"/>
                    </a:lnTo>
                    <a:lnTo>
                      <a:pt x="5037" y="4445"/>
                    </a:lnTo>
                    <a:lnTo>
                      <a:pt x="5122" y="4402"/>
                    </a:lnTo>
                    <a:lnTo>
                      <a:pt x="5249" y="4445"/>
                    </a:lnTo>
                    <a:lnTo>
                      <a:pt x="5376" y="4445"/>
                    </a:lnTo>
                    <a:lnTo>
                      <a:pt x="5545" y="4614"/>
                    </a:lnTo>
                    <a:lnTo>
                      <a:pt x="5715" y="4487"/>
                    </a:lnTo>
                    <a:lnTo>
                      <a:pt x="5842" y="4360"/>
                    </a:lnTo>
                    <a:lnTo>
                      <a:pt x="5884" y="4318"/>
                    </a:lnTo>
                    <a:lnTo>
                      <a:pt x="5926" y="4275"/>
                    </a:lnTo>
                    <a:lnTo>
                      <a:pt x="5926" y="4233"/>
                    </a:lnTo>
                    <a:lnTo>
                      <a:pt x="6053" y="4021"/>
                    </a:lnTo>
                    <a:lnTo>
                      <a:pt x="6011" y="3979"/>
                    </a:lnTo>
                    <a:lnTo>
                      <a:pt x="5969" y="3894"/>
                    </a:lnTo>
                    <a:lnTo>
                      <a:pt x="5926" y="3810"/>
                    </a:lnTo>
                    <a:lnTo>
                      <a:pt x="5757" y="3556"/>
                    </a:lnTo>
                    <a:lnTo>
                      <a:pt x="5672" y="3429"/>
                    </a:lnTo>
                    <a:lnTo>
                      <a:pt x="5672" y="3386"/>
                    </a:lnTo>
                    <a:lnTo>
                      <a:pt x="5672" y="3259"/>
                    </a:lnTo>
                    <a:lnTo>
                      <a:pt x="5715" y="3132"/>
                    </a:lnTo>
                    <a:lnTo>
                      <a:pt x="5630" y="3090"/>
                    </a:lnTo>
                    <a:lnTo>
                      <a:pt x="5503" y="3090"/>
                    </a:lnTo>
                    <a:lnTo>
                      <a:pt x="5376" y="3005"/>
                    </a:lnTo>
                    <a:lnTo>
                      <a:pt x="5418" y="2921"/>
                    </a:lnTo>
                    <a:lnTo>
                      <a:pt x="5291" y="2878"/>
                    </a:lnTo>
                    <a:lnTo>
                      <a:pt x="5291" y="2836"/>
                    </a:lnTo>
                    <a:lnTo>
                      <a:pt x="5249" y="2794"/>
                    </a:lnTo>
                    <a:lnTo>
                      <a:pt x="5164" y="2751"/>
                    </a:lnTo>
                    <a:lnTo>
                      <a:pt x="5122" y="2709"/>
                    </a:lnTo>
                    <a:lnTo>
                      <a:pt x="5080" y="2709"/>
                    </a:lnTo>
                    <a:lnTo>
                      <a:pt x="4995" y="2709"/>
                    </a:lnTo>
                    <a:lnTo>
                      <a:pt x="4910" y="2709"/>
                    </a:lnTo>
                    <a:lnTo>
                      <a:pt x="4826" y="2709"/>
                    </a:lnTo>
                    <a:lnTo>
                      <a:pt x="4783" y="2709"/>
                    </a:lnTo>
                    <a:lnTo>
                      <a:pt x="4741" y="2624"/>
                    </a:lnTo>
                    <a:lnTo>
                      <a:pt x="4699" y="2582"/>
                    </a:lnTo>
                    <a:lnTo>
                      <a:pt x="4656" y="2540"/>
                    </a:lnTo>
                    <a:lnTo>
                      <a:pt x="4656" y="2370"/>
                    </a:lnTo>
                    <a:lnTo>
                      <a:pt x="4656" y="2328"/>
                    </a:lnTo>
                    <a:lnTo>
                      <a:pt x="4656" y="2243"/>
                    </a:lnTo>
                    <a:lnTo>
                      <a:pt x="4656" y="2159"/>
                    </a:lnTo>
                    <a:lnTo>
                      <a:pt x="4699" y="2116"/>
                    </a:lnTo>
                    <a:lnTo>
                      <a:pt x="4741" y="2032"/>
                    </a:lnTo>
                    <a:lnTo>
                      <a:pt x="4741" y="1989"/>
                    </a:lnTo>
                    <a:lnTo>
                      <a:pt x="4783" y="1947"/>
                    </a:lnTo>
                    <a:lnTo>
                      <a:pt x="4826" y="1947"/>
                    </a:lnTo>
                    <a:lnTo>
                      <a:pt x="4868" y="1905"/>
                    </a:lnTo>
                    <a:lnTo>
                      <a:pt x="4910" y="1820"/>
                    </a:lnTo>
                    <a:lnTo>
                      <a:pt x="4910" y="1778"/>
                    </a:lnTo>
                    <a:lnTo>
                      <a:pt x="4910" y="1735"/>
                    </a:lnTo>
                    <a:lnTo>
                      <a:pt x="4910" y="1651"/>
                    </a:lnTo>
                    <a:lnTo>
                      <a:pt x="4868" y="1651"/>
                    </a:lnTo>
                    <a:lnTo>
                      <a:pt x="4826" y="1651"/>
                    </a:lnTo>
                    <a:lnTo>
                      <a:pt x="4826" y="1608"/>
                    </a:lnTo>
                    <a:lnTo>
                      <a:pt x="4868" y="1566"/>
                    </a:lnTo>
                    <a:lnTo>
                      <a:pt x="4910" y="1524"/>
                    </a:lnTo>
                    <a:lnTo>
                      <a:pt x="4953" y="1481"/>
                    </a:lnTo>
                    <a:lnTo>
                      <a:pt x="4953" y="1439"/>
                    </a:lnTo>
                    <a:lnTo>
                      <a:pt x="4953" y="1397"/>
                    </a:lnTo>
                    <a:lnTo>
                      <a:pt x="4995" y="1354"/>
                    </a:lnTo>
                    <a:lnTo>
                      <a:pt x="4995" y="1312"/>
                    </a:lnTo>
                    <a:lnTo>
                      <a:pt x="5037" y="1312"/>
                    </a:lnTo>
                    <a:lnTo>
                      <a:pt x="5080" y="1270"/>
                    </a:lnTo>
                    <a:lnTo>
                      <a:pt x="5037" y="1270"/>
                    </a:lnTo>
                    <a:lnTo>
                      <a:pt x="5037" y="1227"/>
                    </a:lnTo>
                    <a:lnTo>
                      <a:pt x="5037" y="1185"/>
                    </a:lnTo>
                    <a:lnTo>
                      <a:pt x="5037" y="1143"/>
                    </a:lnTo>
                    <a:lnTo>
                      <a:pt x="5080" y="1100"/>
                    </a:lnTo>
                    <a:lnTo>
                      <a:pt x="5122" y="1100"/>
                    </a:lnTo>
                    <a:lnTo>
                      <a:pt x="5164" y="1058"/>
                    </a:lnTo>
                    <a:lnTo>
                      <a:pt x="5164" y="1016"/>
                    </a:lnTo>
                    <a:lnTo>
                      <a:pt x="5207" y="973"/>
                    </a:lnTo>
                    <a:lnTo>
                      <a:pt x="5249" y="973"/>
                    </a:lnTo>
                    <a:lnTo>
                      <a:pt x="5249" y="931"/>
                    </a:lnTo>
                    <a:lnTo>
                      <a:pt x="5207" y="931"/>
                    </a:lnTo>
                    <a:lnTo>
                      <a:pt x="5207" y="889"/>
                    </a:lnTo>
                    <a:lnTo>
                      <a:pt x="5207" y="635"/>
                    </a:lnTo>
                    <a:lnTo>
                      <a:pt x="5164" y="635"/>
                    </a:lnTo>
                    <a:lnTo>
                      <a:pt x="5164" y="592"/>
                    </a:lnTo>
                    <a:lnTo>
                      <a:pt x="5080" y="592"/>
                    </a:lnTo>
                    <a:lnTo>
                      <a:pt x="5037" y="592"/>
                    </a:lnTo>
                    <a:lnTo>
                      <a:pt x="4995" y="635"/>
                    </a:lnTo>
                    <a:lnTo>
                      <a:pt x="4953" y="635"/>
                    </a:lnTo>
                    <a:lnTo>
                      <a:pt x="4910" y="635"/>
                    </a:lnTo>
                    <a:lnTo>
                      <a:pt x="4953" y="677"/>
                    </a:lnTo>
                    <a:lnTo>
                      <a:pt x="4953" y="719"/>
                    </a:lnTo>
                    <a:lnTo>
                      <a:pt x="4910" y="719"/>
                    </a:lnTo>
                    <a:lnTo>
                      <a:pt x="4910" y="677"/>
                    </a:lnTo>
                    <a:lnTo>
                      <a:pt x="4868" y="635"/>
                    </a:lnTo>
                    <a:lnTo>
                      <a:pt x="4868" y="592"/>
                    </a:lnTo>
                    <a:lnTo>
                      <a:pt x="4826" y="592"/>
                    </a:lnTo>
                    <a:lnTo>
                      <a:pt x="4868" y="550"/>
                    </a:lnTo>
                    <a:lnTo>
                      <a:pt x="4826" y="550"/>
                    </a:lnTo>
                    <a:lnTo>
                      <a:pt x="4783" y="508"/>
                    </a:lnTo>
                    <a:lnTo>
                      <a:pt x="4783" y="550"/>
                    </a:lnTo>
                    <a:lnTo>
                      <a:pt x="4741" y="635"/>
                    </a:lnTo>
                    <a:lnTo>
                      <a:pt x="4741" y="592"/>
                    </a:lnTo>
                    <a:lnTo>
                      <a:pt x="4741" y="550"/>
                    </a:lnTo>
                    <a:lnTo>
                      <a:pt x="4656" y="508"/>
                    </a:lnTo>
                    <a:lnTo>
                      <a:pt x="4614" y="550"/>
                    </a:lnTo>
                    <a:lnTo>
                      <a:pt x="4614" y="592"/>
                    </a:lnTo>
                    <a:lnTo>
                      <a:pt x="4699" y="677"/>
                    </a:lnTo>
                    <a:lnTo>
                      <a:pt x="4699" y="719"/>
                    </a:lnTo>
                    <a:lnTo>
                      <a:pt x="4656" y="719"/>
                    </a:lnTo>
                    <a:lnTo>
                      <a:pt x="4656" y="677"/>
                    </a:lnTo>
                    <a:lnTo>
                      <a:pt x="4614" y="719"/>
                    </a:lnTo>
                    <a:lnTo>
                      <a:pt x="4614" y="677"/>
                    </a:lnTo>
                    <a:lnTo>
                      <a:pt x="4572" y="635"/>
                    </a:lnTo>
                    <a:lnTo>
                      <a:pt x="4572" y="592"/>
                    </a:lnTo>
                    <a:lnTo>
                      <a:pt x="4572" y="550"/>
                    </a:lnTo>
                    <a:lnTo>
                      <a:pt x="4572" y="465"/>
                    </a:lnTo>
                    <a:lnTo>
                      <a:pt x="4529" y="423"/>
                    </a:lnTo>
                    <a:lnTo>
                      <a:pt x="4529" y="381"/>
                    </a:lnTo>
                    <a:lnTo>
                      <a:pt x="4572" y="338"/>
                    </a:lnTo>
                    <a:lnTo>
                      <a:pt x="4529" y="338"/>
                    </a:lnTo>
                    <a:lnTo>
                      <a:pt x="4529" y="296"/>
                    </a:lnTo>
                    <a:lnTo>
                      <a:pt x="4529" y="254"/>
                    </a:lnTo>
                    <a:lnTo>
                      <a:pt x="4487" y="211"/>
                    </a:lnTo>
                    <a:lnTo>
                      <a:pt x="4529" y="127"/>
                    </a:lnTo>
                    <a:lnTo>
                      <a:pt x="4529" y="84"/>
                    </a:lnTo>
                    <a:lnTo>
                      <a:pt x="4529" y="42"/>
                    </a:lnTo>
                    <a:lnTo>
                      <a:pt x="4614" y="0"/>
                    </a:lnTo>
                    <a:close/>
                    <a:moveTo>
                      <a:pt x="4868" y="550"/>
                    </a:moveTo>
                    <a:lnTo>
                      <a:pt x="4868" y="592"/>
                    </a:lnTo>
                    <a:lnTo>
                      <a:pt x="4910" y="635"/>
                    </a:lnTo>
                    <a:lnTo>
                      <a:pt x="4868" y="550"/>
                    </a:lnTo>
                    <a:close/>
                    <a:moveTo>
                      <a:pt x="211" y="2963"/>
                    </a:moveTo>
                    <a:lnTo>
                      <a:pt x="84" y="3090"/>
                    </a:lnTo>
                    <a:lnTo>
                      <a:pt x="42" y="3090"/>
                    </a:lnTo>
                    <a:lnTo>
                      <a:pt x="0" y="3090"/>
                    </a:lnTo>
                    <a:lnTo>
                      <a:pt x="42" y="3132"/>
                    </a:lnTo>
                    <a:lnTo>
                      <a:pt x="84" y="3132"/>
                    </a:lnTo>
                    <a:lnTo>
                      <a:pt x="127" y="3090"/>
                    </a:lnTo>
                    <a:lnTo>
                      <a:pt x="211" y="2963"/>
                    </a:lnTo>
                    <a:close/>
                    <a:moveTo>
                      <a:pt x="508" y="2116"/>
                    </a:moveTo>
                    <a:lnTo>
                      <a:pt x="508" y="2074"/>
                    </a:lnTo>
                    <a:lnTo>
                      <a:pt x="465" y="2116"/>
                    </a:lnTo>
                    <a:lnTo>
                      <a:pt x="508" y="2116"/>
                    </a:lnTo>
                    <a:close/>
                    <a:moveTo>
                      <a:pt x="4614" y="804"/>
                    </a:moveTo>
                    <a:lnTo>
                      <a:pt x="4656" y="804"/>
                    </a:lnTo>
                    <a:lnTo>
                      <a:pt x="4656" y="846"/>
                    </a:lnTo>
                    <a:lnTo>
                      <a:pt x="4614" y="804"/>
                    </a:lnTo>
                    <a:close/>
                    <a:moveTo>
                      <a:pt x="4529" y="846"/>
                    </a:moveTo>
                    <a:lnTo>
                      <a:pt x="4572" y="846"/>
                    </a:lnTo>
                    <a:lnTo>
                      <a:pt x="4529" y="889"/>
                    </a:lnTo>
                    <a:lnTo>
                      <a:pt x="4529" y="846"/>
                    </a:lnTo>
                    <a:close/>
                    <a:moveTo>
                      <a:pt x="381" y="3386"/>
                    </a:moveTo>
                    <a:lnTo>
                      <a:pt x="423" y="3386"/>
                    </a:lnTo>
                    <a:lnTo>
                      <a:pt x="381" y="3429"/>
                    </a:lnTo>
                    <a:lnTo>
                      <a:pt x="381" y="3386"/>
                    </a:lnTo>
                    <a:close/>
                  </a:path>
                </a:pathLst>
              </a:custGeom>
              <a:grpFill/>
              <a:ln w="12700" cap="flat" cmpd="sng">
                <a:solidFill>
                  <a:schemeClr val="tx1"/>
                </a:solidFill>
                <a:prstDash val="solid"/>
                <a:bevel/>
                <a:headEnd/>
                <a:tailEnd/>
              </a:ln>
            </p:spPr>
            <p:txBody>
              <a:bodyPr/>
              <a:lstStyle/>
              <a:p>
                <a:endParaRPr lang="nl-NL"/>
              </a:p>
            </p:txBody>
          </p:sp>
        </p:grpSp>
        <p:grpSp>
          <p:nvGrpSpPr>
            <p:cNvPr id="127" name="Group 550">
              <a:extLst>
                <a:ext uri="{FF2B5EF4-FFF2-40B4-BE49-F238E27FC236}">
                  <a16:creationId xmlns:a16="http://schemas.microsoft.com/office/drawing/2014/main" id="{D40A22F4-4A80-9FFC-22A4-633299039605}"/>
                </a:ext>
              </a:extLst>
            </p:cNvPr>
            <p:cNvGrpSpPr>
              <a:grpSpLocks/>
            </p:cNvGrpSpPr>
            <p:nvPr/>
          </p:nvGrpSpPr>
          <p:grpSpPr bwMode="auto">
            <a:xfrm>
              <a:off x="916449" y="7700314"/>
              <a:ext cx="1881250" cy="1818014"/>
              <a:chOff x="-119" y="2736"/>
              <a:chExt cx="1430" cy="1381"/>
            </a:xfrm>
            <a:grpFill/>
          </p:grpSpPr>
          <p:sp>
            <p:nvSpPr>
              <p:cNvPr id="132" name="Freeform 551">
                <a:extLst>
                  <a:ext uri="{FF2B5EF4-FFF2-40B4-BE49-F238E27FC236}">
                    <a16:creationId xmlns:a16="http://schemas.microsoft.com/office/drawing/2014/main" id="{D9E84DB4-813E-4004-8A85-E406AD5830DF}"/>
                  </a:ext>
                </a:extLst>
              </p:cNvPr>
              <p:cNvSpPr>
                <a:spLocks noEditPoints="1"/>
              </p:cNvSpPr>
              <p:nvPr/>
            </p:nvSpPr>
            <p:spPr bwMode="auto">
              <a:xfrm>
                <a:off x="546" y="2736"/>
                <a:ext cx="755" cy="418"/>
              </a:xfrm>
              <a:custGeom>
                <a:avLst/>
                <a:gdLst/>
                <a:ahLst/>
                <a:cxnLst>
                  <a:cxn ang="0">
                    <a:pos x="974" y="42"/>
                  </a:cxn>
                  <a:cxn ang="0">
                    <a:pos x="847" y="84"/>
                  </a:cxn>
                  <a:cxn ang="0">
                    <a:pos x="847" y="42"/>
                  </a:cxn>
                  <a:cxn ang="0">
                    <a:pos x="381" y="211"/>
                  </a:cxn>
                  <a:cxn ang="0">
                    <a:pos x="169" y="254"/>
                  </a:cxn>
                  <a:cxn ang="0">
                    <a:pos x="127" y="423"/>
                  </a:cxn>
                  <a:cxn ang="0">
                    <a:pos x="212" y="592"/>
                  </a:cxn>
                  <a:cxn ang="0">
                    <a:pos x="339" y="592"/>
                  </a:cxn>
                  <a:cxn ang="0">
                    <a:pos x="296" y="508"/>
                  </a:cxn>
                  <a:cxn ang="0">
                    <a:pos x="423" y="508"/>
                  </a:cxn>
                  <a:cxn ang="0">
                    <a:pos x="550" y="465"/>
                  </a:cxn>
                  <a:cxn ang="0">
                    <a:pos x="677" y="381"/>
                  </a:cxn>
                  <a:cxn ang="0">
                    <a:pos x="931" y="465"/>
                  </a:cxn>
                  <a:cxn ang="0">
                    <a:pos x="1016" y="635"/>
                  </a:cxn>
                  <a:cxn ang="0">
                    <a:pos x="1058" y="762"/>
                  </a:cxn>
                  <a:cxn ang="0">
                    <a:pos x="1058" y="804"/>
                  </a:cxn>
                  <a:cxn ang="0">
                    <a:pos x="1058" y="973"/>
                  </a:cxn>
                  <a:cxn ang="0">
                    <a:pos x="1143" y="1058"/>
                  </a:cxn>
                  <a:cxn ang="0">
                    <a:pos x="1185" y="1270"/>
                  </a:cxn>
                  <a:cxn ang="0">
                    <a:pos x="1312" y="1312"/>
                  </a:cxn>
                  <a:cxn ang="0">
                    <a:pos x="1439" y="1312"/>
                  </a:cxn>
                  <a:cxn ang="0">
                    <a:pos x="1609" y="1312"/>
                  </a:cxn>
                  <a:cxn ang="0">
                    <a:pos x="1820" y="1481"/>
                  </a:cxn>
                  <a:cxn ang="0">
                    <a:pos x="1990" y="1524"/>
                  </a:cxn>
                  <a:cxn ang="0">
                    <a:pos x="2117" y="1608"/>
                  </a:cxn>
                  <a:cxn ang="0">
                    <a:pos x="2159" y="1693"/>
                  </a:cxn>
                  <a:cxn ang="0">
                    <a:pos x="2413" y="1778"/>
                  </a:cxn>
                  <a:cxn ang="0">
                    <a:pos x="2582" y="1735"/>
                  </a:cxn>
                  <a:cxn ang="0">
                    <a:pos x="2836" y="1693"/>
                  </a:cxn>
                  <a:cxn ang="0">
                    <a:pos x="3006" y="1524"/>
                  </a:cxn>
                  <a:cxn ang="0">
                    <a:pos x="2963" y="1439"/>
                  </a:cxn>
                  <a:cxn ang="0">
                    <a:pos x="3090" y="1439"/>
                  </a:cxn>
                  <a:cxn ang="0">
                    <a:pos x="3175" y="1397"/>
                  </a:cxn>
                  <a:cxn ang="0">
                    <a:pos x="3133" y="1312"/>
                  </a:cxn>
                  <a:cxn ang="0">
                    <a:pos x="2921" y="1354"/>
                  </a:cxn>
                  <a:cxn ang="0">
                    <a:pos x="2709" y="1354"/>
                  </a:cxn>
                  <a:cxn ang="0">
                    <a:pos x="2498" y="1185"/>
                  </a:cxn>
                  <a:cxn ang="0">
                    <a:pos x="2413" y="1100"/>
                  </a:cxn>
                  <a:cxn ang="0">
                    <a:pos x="2328" y="973"/>
                  </a:cxn>
                  <a:cxn ang="0">
                    <a:pos x="2032" y="719"/>
                  </a:cxn>
                  <a:cxn ang="0">
                    <a:pos x="1905" y="677"/>
                  </a:cxn>
                  <a:cxn ang="0">
                    <a:pos x="1736" y="550"/>
                  </a:cxn>
                  <a:cxn ang="0">
                    <a:pos x="1439" y="423"/>
                  </a:cxn>
                  <a:cxn ang="0">
                    <a:pos x="1270" y="296"/>
                  </a:cxn>
                  <a:cxn ang="0">
                    <a:pos x="1185" y="296"/>
                  </a:cxn>
                  <a:cxn ang="0">
                    <a:pos x="1185" y="211"/>
                  </a:cxn>
                  <a:cxn ang="0">
                    <a:pos x="1143" y="211"/>
                  </a:cxn>
                  <a:cxn ang="0">
                    <a:pos x="1016" y="127"/>
                  </a:cxn>
                  <a:cxn ang="0">
                    <a:pos x="169" y="635"/>
                  </a:cxn>
                  <a:cxn ang="0">
                    <a:pos x="0" y="804"/>
                  </a:cxn>
                  <a:cxn ang="0">
                    <a:pos x="169" y="889"/>
                  </a:cxn>
                  <a:cxn ang="0">
                    <a:pos x="169" y="804"/>
                  </a:cxn>
                </a:cxnLst>
                <a:rect l="0" t="0" r="r" b="b"/>
                <a:pathLst>
                  <a:path w="3217" h="1778">
                    <a:moveTo>
                      <a:pt x="974" y="0"/>
                    </a:moveTo>
                    <a:lnTo>
                      <a:pt x="889" y="42"/>
                    </a:lnTo>
                    <a:lnTo>
                      <a:pt x="974" y="42"/>
                    </a:lnTo>
                    <a:lnTo>
                      <a:pt x="974" y="0"/>
                    </a:lnTo>
                    <a:close/>
                    <a:moveTo>
                      <a:pt x="974" y="42"/>
                    </a:moveTo>
                    <a:lnTo>
                      <a:pt x="847" y="84"/>
                    </a:lnTo>
                    <a:lnTo>
                      <a:pt x="804" y="84"/>
                    </a:lnTo>
                    <a:lnTo>
                      <a:pt x="762" y="84"/>
                    </a:lnTo>
                    <a:lnTo>
                      <a:pt x="847" y="42"/>
                    </a:lnTo>
                    <a:lnTo>
                      <a:pt x="720" y="84"/>
                    </a:lnTo>
                    <a:lnTo>
                      <a:pt x="466" y="169"/>
                    </a:lnTo>
                    <a:lnTo>
                      <a:pt x="381" y="211"/>
                    </a:lnTo>
                    <a:lnTo>
                      <a:pt x="339" y="211"/>
                    </a:lnTo>
                    <a:lnTo>
                      <a:pt x="212" y="254"/>
                    </a:lnTo>
                    <a:lnTo>
                      <a:pt x="169" y="254"/>
                    </a:lnTo>
                    <a:lnTo>
                      <a:pt x="127" y="338"/>
                    </a:lnTo>
                    <a:lnTo>
                      <a:pt x="127" y="381"/>
                    </a:lnTo>
                    <a:lnTo>
                      <a:pt x="127" y="423"/>
                    </a:lnTo>
                    <a:lnTo>
                      <a:pt x="169" y="550"/>
                    </a:lnTo>
                    <a:lnTo>
                      <a:pt x="169" y="592"/>
                    </a:lnTo>
                    <a:lnTo>
                      <a:pt x="212" y="592"/>
                    </a:lnTo>
                    <a:lnTo>
                      <a:pt x="212" y="635"/>
                    </a:lnTo>
                    <a:lnTo>
                      <a:pt x="254" y="635"/>
                    </a:lnTo>
                    <a:lnTo>
                      <a:pt x="339" y="592"/>
                    </a:lnTo>
                    <a:lnTo>
                      <a:pt x="339" y="550"/>
                    </a:lnTo>
                    <a:lnTo>
                      <a:pt x="296" y="550"/>
                    </a:lnTo>
                    <a:lnTo>
                      <a:pt x="296" y="508"/>
                    </a:lnTo>
                    <a:lnTo>
                      <a:pt x="339" y="508"/>
                    </a:lnTo>
                    <a:lnTo>
                      <a:pt x="381" y="508"/>
                    </a:lnTo>
                    <a:lnTo>
                      <a:pt x="423" y="508"/>
                    </a:lnTo>
                    <a:lnTo>
                      <a:pt x="466" y="465"/>
                    </a:lnTo>
                    <a:lnTo>
                      <a:pt x="508" y="465"/>
                    </a:lnTo>
                    <a:lnTo>
                      <a:pt x="550" y="465"/>
                    </a:lnTo>
                    <a:lnTo>
                      <a:pt x="593" y="465"/>
                    </a:lnTo>
                    <a:lnTo>
                      <a:pt x="635" y="423"/>
                    </a:lnTo>
                    <a:lnTo>
                      <a:pt x="677" y="381"/>
                    </a:lnTo>
                    <a:lnTo>
                      <a:pt x="762" y="423"/>
                    </a:lnTo>
                    <a:lnTo>
                      <a:pt x="847" y="423"/>
                    </a:lnTo>
                    <a:lnTo>
                      <a:pt x="931" y="465"/>
                    </a:lnTo>
                    <a:lnTo>
                      <a:pt x="931" y="508"/>
                    </a:lnTo>
                    <a:lnTo>
                      <a:pt x="974" y="550"/>
                    </a:lnTo>
                    <a:lnTo>
                      <a:pt x="1016" y="635"/>
                    </a:lnTo>
                    <a:lnTo>
                      <a:pt x="1058" y="635"/>
                    </a:lnTo>
                    <a:lnTo>
                      <a:pt x="1058" y="719"/>
                    </a:lnTo>
                    <a:lnTo>
                      <a:pt x="1058" y="762"/>
                    </a:lnTo>
                    <a:lnTo>
                      <a:pt x="1016" y="762"/>
                    </a:lnTo>
                    <a:lnTo>
                      <a:pt x="1016" y="804"/>
                    </a:lnTo>
                    <a:lnTo>
                      <a:pt x="1058" y="804"/>
                    </a:lnTo>
                    <a:lnTo>
                      <a:pt x="1016" y="846"/>
                    </a:lnTo>
                    <a:lnTo>
                      <a:pt x="1016" y="889"/>
                    </a:lnTo>
                    <a:lnTo>
                      <a:pt x="1058" y="973"/>
                    </a:lnTo>
                    <a:lnTo>
                      <a:pt x="1101" y="973"/>
                    </a:lnTo>
                    <a:lnTo>
                      <a:pt x="1101" y="1016"/>
                    </a:lnTo>
                    <a:lnTo>
                      <a:pt x="1143" y="1058"/>
                    </a:lnTo>
                    <a:lnTo>
                      <a:pt x="1143" y="1100"/>
                    </a:lnTo>
                    <a:lnTo>
                      <a:pt x="1185" y="1185"/>
                    </a:lnTo>
                    <a:lnTo>
                      <a:pt x="1185" y="1270"/>
                    </a:lnTo>
                    <a:lnTo>
                      <a:pt x="1228" y="1270"/>
                    </a:lnTo>
                    <a:lnTo>
                      <a:pt x="1270" y="1270"/>
                    </a:lnTo>
                    <a:lnTo>
                      <a:pt x="1312" y="1312"/>
                    </a:lnTo>
                    <a:lnTo>
                      <a:pt x="1355" y="1270"/>
                    </a:lnTo>
                    <a:lnTo>
                      <a:pt x="1355" y="1312"/>
                    </a:lnTo>
                    <a:lnTo>
                      <a:pt x="1439" y="1312"/>
                    </a:lnTo>
                    <a:lnTo>
                      <a:pt x="1524" y="1312"/>
                    </a:lnTo>
                    <a:lnTo>
                      <a:pt x="1566" y="1312"/>
                    </a:lnTo>
                    <a:lnTo>
                      <a:pt x="1609" y="1312"/>
                    </a:lnTo>
                    <a:lnTo>
                      <a:pt x="1651" y="1354"/>
                    </a:lnTo>
                    <a:lnTo>
                      <a:pt x="1778" y="1397"/>
                    </a:lnTo>
                    <a:lnTo>
                      <a:pt x="1820" y="1481"/>
                    </a:lnTo>
                    <a:lnTo>
                      <a:pt x="1863" y="1524"/>
                    </a:lnTo>
                    <a:lnTo>
                      <a:pt x="1947" y="1524"/>
                    </a:lnTo>
                    <a:lnTo>
                      <a:pt x="1990" y="1524"/>
                    </a:lnTo>
                    <a:lnTo>
                      <a:pt x="1990" y="1566"/>
                    </a:lnTo>
                    <a:lnTo>
                      <a:pt x="2074" y="1566"/>
                    </a:lnTo>
                    <a:lnTo>
                      <a:pt x="2117" y="1608"/>
                    </a:lnTo>
                    <a:lnTo>
                      <a:pt x="2159" y="1608"/>
                    </a:lnTo>
                    <a:lnTo>
                      <a:pt x="2159" y="1651"/>
                    </a:lnTo>
                    <a:lnTo>
                      <a:pt x="2159" y="1693"/>
                    </a:lnTo>
                    <a:lnTo>
                      <a:pt x="2244" y="1735"/>
                    </a:lnTo>
                    <a:lnTo>
                      <a:pt x="2286" y="1778"/>
                    </a:lnTo>
                    <a:lnTo>
                      <a:pt x="2413" y="1778"/>
                    </a:lnTo>
                    <a:lnTo>
                      <a:pt x="2455" y="1778"/>
                    </a:lnTo>
                    <a:lnTo>
                      <a:pt x="2498" y="1778"/>
                    </a:lnTo>
                    <a:lnTo>
                      <a:pt x="2582" y="1735"/>
                    </a:lnTo>
                    <a:lnTo>
                      <a:pt x="2667" y="1735"/>
                    </a:lnTo>
                    <a:lnTo>
                      <a:pt x="2709" y="1735"/>
                    </a:lnTo>
                    <a:lnTo>
                      <a:pt x="2836" y="1693"/>
                    </a:lnTo>
                    <a:lnTo>
                      <a:pt x="2921" y="1651"/>
                    </a:lnTo>
                    <a:lnTo>
                      <a:pt x="2963" y="1608"/>
                    </a:lnTo>
                    <a:lnTo>
                      <a:pt x="3006" y="1524"/>
                    </a:lnTo>
                    <a:lnTo>
                      <a:pt x="3006" y="1481"/>
                    </a:lnTo>
                    <a:lnTo>
                      <a:pt x="2963" y="1481"/>
                    </a:lnTo>
                    <a:lnTo>
                      <a:pt x="2963" y="1439"/>
                    </a:lnTo>
                    <a:lnTo>
                      <a:pt x="3006" y="1439"/>
                    </a:lnTo>
                    <a:lnTo>
                      <a:pt x="3048" y="1439"/>
                    </a:lnTo>
                    <a:lnTo>
                      <a:pt x="3090" y="1439"/>
                    </a:lnTo>
                    <a:lnTo>
                      <a:pt x="3133" y="1439"/>
                    </a:lnTo>
                    <a:lnTo>
                      <a:pt x="3217" y="1397"/>
                    </a:lnTo>
                    <a:lnTo>
                      <a:pt x="3175" y="1397"/>
                    </a:lnTo>
                    <a:lnTo>
                      <a:pt x="3175" y="1354"/>
                    </a:lnTo>
                    <a:lnTo>
                      <a:pt x="3175" y="1312"/>
                    </a:lnTo>
                    <a:lnTo>
                      <a:pt x="3133" y="1312"/>
                    </a:lnTo>
                    <a:lnTo>
                      <a:pt x="3090" y="1354"/>
                    </a:lnTo>
                    <a:lnTo>
                      <a:pt x="3006" y="1354"/>
                    </a:lnTo>
                    <a:lnTo>
                      <a:pt x="2921" y="1354"/>
                    </a:lnTo>
                    <a:lnTo>
                      <a:pt x="2836" y="1354"/>
                    </a:lnTo>
                    <a:lnTo>
                      <a:pt x="2794" y="1354"/>
                    </a:lnTo>
                    <a:lnTo>
                      <a:pt x="2709" y="1354"/>
                    </a:lnTo>
                    <a:lnTo>
                      <a:pt x="2625" y="1227"/>
                    </a:lnTo>
                    <a:lnTo>
                      <a:pt x="2540" y="1227"/>
                    </a:lnTo>
                    <a:lnTo>
                      <a:pt x="2498" y="1185"/>
                    </a:lnTo>
                    <a:lnTo>
                      <a:pt x="2455" y="1185"/>
                    </a:lnTo>
                    <a:lnTo>
                      <a:pt x="2413" y="1143"/>
                    </a:lnTo>
                    <a:lnTo>
                      <a:pt x="2413" y="1100"/>
                    </a:lnTo>
                    <a:lnTo>
                      <a:pt x="2328" y="1058"/>
                    </a:lnTo>
                    <a:lnTo>
                      <a:pt x="2328" y="1016"/>
                    </a:lnTo>
                    <a:lnTo>
                      <a:pt x="2328" y="973"/>
                    </a:lnTo>
                    <a:lnTo>
                      <a:pt x="2286" y="973"/>
                    </a:lnTo>
                    <a:lnTo>
                      <a:pt x="2159" y="846"/>
                    </a:lnTo>
                    <a:lnTo>
                      <a:pt x="2032" y="719"/>
                    </a:lnTo>
                    <a:lnTo>
                      <a:pt x="1990" y="719"/>
                    </a:lnTo>
                    <a:lnTo>
                      <a:pt x="1990" y="677"/>
                    </a:lnTo>
                    <a:lnTo>
                      <a:pt x="1905" y="677"/>
                    </a:lnTo>
                    <a:lnTo>
                      <a:pt x="1863" y="635"/>
                    </a:lnTo>
                    <a:lnTo>
                      <a:pt x="1820" y="635"/>
                    </a:lnTo>
                    <a:lnTo>
                      <a:pt x="1736" y="550"/>
                    </a:lnTo>
                    <a:lnTo>
                      <a:pt x="1651" y="508"/>
                    </a:lnTo>
                    <a:lnTo>
                      <a:pt x="1609" y="508"/>
                    </a:lnTo>
                    <a:lnTo>
                      <a:pt x="1439" y="423"/>
                    </a:lnTo>
                    <a:lnTo>
                      <a:pt x="1397" y="381"/>
                    </a:lnTo>
                    <a:lnTo>
                      <a:pt x="1270" y="338"/>
                    </a:lnTo>
                    <a:lnTo>
                      <a:pt x="1270" y="296"/>
                    </a:lnTo>
                    <a:lnTo>
                      <a:pt x="1228" y="254"/>
                    </a:lnTo>
                    <a:lnTo>
                      <a:pt x="1185" y="254"/>
                    </a:lnTo>
                    <a:lnTo>
                      <a:pt x="1185" y="296"/>
                    </a:lnTo>
                    <a:lnTo>
                      <a:pt x="1143" y="254"/>
                    </a:lnTo>
                    <a:lnTo>
                      <a:pt x="1185" y="254"/>
                    </a:lnTo>
                    <a:lnTo>
                      <a:pt x="1185" y="211"/>
                    </a:lnTo>
                    <a:lnTo>
                      <a:pt x="1185" y="169"/>
                    </a:lnTo>
                    <a:lnTo>
                      <a:pt x="1143" y="169"/>
                    </a:lnTo>
                    <a:lnTo>
                      <a:pt x="1143" y="211"/>
                    </a:lnTo>
                    <a:lnTo>
                      <a:pt x="1101" y="211"/>
                    </a:lnTo>
                    <a:lnTo>
                      <a:pt x="1101" y="169"/>
                    </a:lnTo>
                    <a:lnTo>
                      <a:pt x="1016" y="127"/>
                    </a:lnTo>
                    <a:lnTo>
                      <a:pt x="1016" y="84"/>
                    </a:lnTo>
                    <a:lnTo>
                      <a:pt x="974" y="42"/>
                    </a:lnTo>
                    <a:close/>
                    <a:moveTo>
                      <a:pt x="169" y="635"/>
                    </a:moveTo>
                    <a:lnTo>
                      <a:pt x="127" y="719"/>
                    </a:lnTo>
                    <a:lnTo>
                      <a:pt x="85" y="762"/>
                    </a:lnTo>
                    <a:lnTo>
                      <a:pt x="0" y="804"/>
                    </a:lnTo>
                    <a:lnTo>
                      <a:pt x="42" y="804"/>
                    </a:lnTo>
                    <a:lnTo>
                      <a:pt x="127" y="846"/>
                    </a:lnTo>
                    <a:lnTo>
                      <a:pt x="169" y="889"/>
                    </a:lnTo>
                    <a:lnTo>
                      <a:pt x="212" y="889"/>
                    </a:lnTo>
                    <a:lnTo>
                      <a:pt x="212" y="846"/>
                    </a:lnTo>
                    <a:lnTo>
                      <a:pt x="169" y="804"/>
                    </a:lnTo>
                    <a:lnTo>
                      <a:pt x="127" y="762"/>
                    </a:lnTo>
                    <a:lnTo>
                      <a:pt x="169" y="635"/>
                    </a:lnTo>
                    <a:close/>
                  </a:path>
                </a:pathLst>
              </a:custGeom>
              <a:grpFill/>
              <a:ln w="12700" cap="flat" cmpd="sng">
                <a:solidFill>
                  <a:schemeClr val="tx1"/>
                </a:solidFill>
                <a:prstDash val="solid"/>
                <a:bevel/>
                <a:headEnd/>
                <a:tailEnd/>
              </a:ln>
            </p:spPr>
            <p:txBody>
              <a:bodyPr/>
              <a:lstStyle/>
              <a:p>
                <a:endParaRPr lang="nl-NL"/>
              </a:p>
            </p:txBody>
          </p:sp>
          <p:sp>
            <p:nvSpPr>
              <p:cNvPr id="133" name="Freeform 552">
                <a:extLst>
                  <a:ext uri="{FF2B5EF4-FFF2-40B4-BE49-F238E27FC236}">
                    <a16:creationId xmlns:a16="http://schemas.microsoft.com/office/drawing/2014/main" id="{90916941-453B-CF6F-E8B4-E928A900F91B}"/>
                  </a:ext>
                </a:extLst>
              </p:cNvPr>
              <p:cNvSpPr>
                <a:spLocks noEditPoints="1"/>
              </p:cNvSpPr>
              <p:nvPr/>
            </p:nvSpPr>
            <p:spPr bwMode="auto">
              <a:xfrm>
                <a:off x="0" y="3273"/>
                <a:ext cx="1122" cy="487"/>
              </a:xfrm>
              <a:custGeom>
                <a:avLst/>
                <a:gdLst/>
                <a:ahLst/>
                <a:cxnLst>
                  <a:cxn ang="0">
                    <a:pos x="592" y="84"/>
                  </a:cxn>
                  <a:cxn ang="0">
                    <a:pos x="296" y="254"/>
                  </a:cxn>
                  <a:cxn ang="0">
                    <a:pos x="42" y="423"/>
                  </a:cxn>
                  <a:cxn ang="0">
                    <a:pos x="42" y="677"/>
                  </a:cxn>
                  <a:cxn ang="0">
                    <a:pos x="254" y="846"/>
                  </a:cxn>
                  <a:cxn ang="0">
                    <a:pos x="423" y="1016"/>
                  </a:cxn>
                  <a:cxn ang="0">
                    <a:pos x="550" y="1227"/>
                  </a:cxn>
                  <a:cxn ang="0">
                    <a:pos x="719" y="1397"/>
                  </a:cxn>
                  <a:cxn ang="0">
                    <a:pos x="889" y="1270"/>
                  </a:cxn>
                  <a:cxn ang="0">
                    <a:pos x="1100" y="1397"/>
                  </a:cxn>
                  <a:cxn ang="0">
                    <a:pos x="1312" y="1312"/>
                  </a:cxn>
                  <a:cxn ang="0">
                    <a:pos x="1397" y="1227"/>
                  </a:cxn>
                  <a:cxn ang="0">
                    <a:pos x="1566" y="1143"/>
                  </a:cxn>
                  <a:cxn ang="0">
                    <a:pos x="1566" y="1312"/>
                  </a:cxn>
                  <a:cxn ang="0">
                    <a:pos x="1481" y="1397"/>
                  </a:cxn>
                  <a:cxn ang="0">
                    <a:pos x="1608" y="1608"/>
                  </a:cxn>
                  <a:cxn ang="0">
                    <a:pos x="1735" y="1651"/>
                  </a:cxn>
                  <a:cxn ang="0">
                    <a:pos x="1989" y="1778"/>
                  </a:cxn>
                  <a:cxn ang="0">
                    <a:pos x="2243" y="1905"/>
                  </a:cxn>
                  <a:cxn ang="0">
                    <a:pos x="2540" y="1820"/>
                  </a:cxn>
                  <a:cxn ang="0">
                    <a:pos x="2709" y="1608"/>
                  </a:cxn>
                  <a:cxn ang="0">
                    <a:pos x="2751" y="1397"/>
                  </a:cxn>
                  <a:cxn ang="0">
                    <a:pos x="2963" y="1312"/>
                  </a:cxn>
                  <a:cxn ang="0">
                    <a:pos x="3175" y="1397"/>
                  </a:cxn>
                  <a:cxn ang="0">
                    <a:pos x="3344" y="1481"/>
                  </a:cxn>
                  <a:cxn ang="0">
                    <a:pos x="3556" y="1693"/>
                  </a:cxn>
                  <a:cxn ang="0">
                    <a:pos x="3852" y="1820"/>
                  </a:cxn>
                  <a:cxn ang="0">
                    <a:pos x="4275" y="1778"/>
                  </a:cxn>
                  <a:cxn ang="0">
                    <a:pos x="4445" y="1820"/>
                  </a:cxn>
                  <a:cxn ang="0">
                    <a:pos x="4783" y="2032"/>
                  </a:cxn>
                  <a:cxn ang="0">
                    <a:pos x="4699" y="1693"/>
                  </a:cxn>
                  <a:cxn ang="0">
                    <a:pos x="4445" y="1016"/>
                  </a:cxn>
                  <a:cxn ang="0">
                    <a:pos x="4402" y="1481"/>
                  </a:cxn>
                  <a:cxn ang="0">
                    <a:pos x="4191" y="1439"/>
                  </a:cxn>
                  <a:cxn ang="0">
                    <a:pos x="3979" y="1524"/>
                  </a:cxn>
                  <a:cxn ang="0">
                    <a:pos x="3725" y="1397"/>
                  </a:cxn>
                  <a:cxn ang="0">
                    <a:pos x="3513" y="1058"/>
                  </a:cxn>
                  <a:cxn ang="0">
                    <a:pos x="3471" y="889"/>
                  </a:cxn>
                  <a:cxn ang="0">
                    <a:pos x="3217" y="719"/>
                  </a:cxn>
                  <a:cxn ang="0">
                    <a:pos x="2963" y="592"/>
                  </a:cxn>
                  <a:cxn ang="0">
                    <a:pos x="2836" y="550"/>
                  </a:cxn>
                  <a:cxn ang="0">
                    <a:pos x="2667" y="465"/>
                  </a:cxn>
                  <a:cxn ang="0">
                    <a:pos x="2413" y="508"/>
                  </a:cxn>
                  <a:cxn ang="0">
                    <a:pos x="2201" y="423"/>
                  </a:cxn>
                  <a:cxn ang="0">
                    <a:pos x="1862" y="465"/>
                  </a:cxn>
                  <a:cxn ang="0">
                    <a:pos x="1651" y="592"/>
                  </a:cxn>
                  <a:cxn ang="0">
                    <a:pos x="1566" y="719"/>
                  </a:cxn>
                  <a:cxn ang="0">
                    <a:pos x="1397" y="592"/>
                  </a:cxn>
                  <a:cxn ang="0">
                    <a:pos x="1270" y="338"/>
                  </a:cxn>
                  <a:cxn ang="0">
                    <a:pos x="1100" y="84"/>
                  </a:cxn>
                  <a:cxn ang="0">
                    <a:pos x="889" y="0"/>
                  </a:cxn>
                  <a:cxn ang="0">
                    <a:pos x="1524" y="1312"/>
                  </a:cxn>
                </a:cxnLst>
                <a:rect l="0" t="0" r="r" b="b"/>
                <a:pathLst>
                  <a:path w="4783" h="2074">
                    <a:moveTo>
                      <a:pt x="719" y="0"/>
                    </a:moveTo>
                    <a:lnTo>
                      <a:pt x="719" y="42"/>
                    </a:lnTo>
                    <a:lnTo>
                      <a:pt x="677" y="42"/>
                    </a:lnTo>
                    <a:lnTo>
                      <a:pt x="635" y="42"/>
                    </a:lnTo>
                    <a:lnTo>
                      <a:pt x="592" y="84"/>
                    </a:lnTo>
                    <a:lnTo>
                      <a:pt x="508" y="127"/>
                    </a:lnTo>
                    <a:lnTo>
                      <a:pt x="465" y="169"/>
                    </a:lnTo>
                    <a:lnTo>
                      <a:pt x="381" y="211"/>
                    </a:lnTo>
                    <a:lnTo>
                      <a:pt x="338" y="211"/>
                    </a:lnTo>
                    <a:lnTo>
                      <a:pt x="296" y="254"/>
                    </a:lnTo>
                    <a:lnTo>
                      <a:pt x="254" y="296"/>
                    </a:lnTo>
                    <a:lnTo>
                      <a:pt x="169" y="338"/>
                    </a:lnTo>
                    <a:lnTo>
                      <a:pt x="127" y="381"/>
                    </a:lnTo>
                    <a:lnTo>
                      <a:pt x="84" y="381"/>
                    </a:lnTo>
                    <a:lnTo>
                      <a:pt x="42" y="423"/>
                    </a:lnTo>
                    <a:lnTo>
                      <a:pt x="0" y="465"/>
                    </a:lnTo>
                    <a:lnTo>
                      <a:pt x="0" y="508"/>
                    </a:lnTo>
                    <a:lnTo>
                      <a:pt x="0" y="550"/>
                    </a:lnTo>
                    <a:lnTo>
                      <a:pt x="0" y="592"/>
                    </a:lnTo>
                    <a:lnTo>
                      <a:pt x="42" y="677"/>
                    </a:lnTo>
                    <a:lnTo>
                      <a:pt x="84" y="677"/>
                    </a:lnTo>
                    <a:lnTo>
                      <a:pt x="127" y="719"/>
                    </a:lnTo>
                    <a:lnTo>
                      <a:pt x="169" y="762"/>
                    </a:lnTo>
                    <a:lnTo>
                      <a:pt x="254" y="804"/>
                    </a:lnTo>
                    <a:lnTo>
                      <a:pt x="254" y="846"/>
                    </a:lnTo>
                    <a:lnTo>
                      <a:pt x="296" y="846"/>
                    </a:lnTo>
                    <a:lnTo>
                      <a:pt x="338" y="889"/>
                    </a:lnTo>
                    <a:lnTo>
                      <a:pt x="381" y="931"/>
                    </a:lnTo>
                    <a:lnTo>
                      <a:pt x="381" y="973"/>
                    </a:lnTo>
                    <a:lnTo>
                      <a:pt x="423" y="1016"/>
                    </a:lnTo>
                    <a:lnTo>
                      <a:pt x="423" y="1058"/>
                    </a:lnTo>
                    <a:lnTo>
                      <a:pt x="465" y="1100"/>
                    </a:lnTo>
                    <a:lnTo>
                      <a:pt x="465" y="1143"/>
                    </a:lnTo>
                    <a:lnTo>
                      <a:pt x="508" y="1185"/>
                    </a:lnTo>
                    <a:lnTo>
                      <a:pt x="550" y="1227"/>
                    </a:lnTo>
                    <a:lnTo>
                      <a:pt x="635" y="1270"/>
                    </a:lnTo>
                    <a:lnTo>
                      <a:pt x="635" y="1312"/>
                    </a:lnTo>
                    <a:lnTo>
                      <a:pt x="677" y="1312"/>
                    </a:lnTo>
                    <a:lnTo>
                      <a:pt x="719" y="1354"/>
                    </a:lnTo>
                    <a:lnTo>
                      <a:pt x="719" y="1397"/>
                    </a:lnTo>
                    <a:lnTo>
                      <a:pt x="762" y="1397"/>
                    </a:lnTo>
                    <a:lnTo>
                      <a:pt x="846" y="1397"/>
                    </a:lnTo>
                    <a:lnTo>
                      <a:pt x="889" y="1397"/>
                    </a:lnTo>
                    <a:lnTo>
                      <a:pt x="889" y="1354"/>
                    </a:lnTo>
                    <a:lnTo>
                      <a:pt x="889" y="1270"/>
                    </a:lnTo>
                    <a:lnTo>
                      <a:pt x="931" y="1270"/>
                    </a:lnTo>
                    <a:lnTo>
                      <a:pt x="931" y="1354"/>
                    </a:lnTo>
                    <a:lnTo>
                      <a:pt x="973" y="1397"/>
                    </a:lnTo>
                    <a:lnTo>
                      <a:pt x="1016" y="1397"/>
                    </a:lnTo>
                    <a:lnTo>
                      <a:pt x="1100" y="1397"/>
                    </a:lnTo>
                    <a:lnTo>
                      <a:pt x="1143" y="1354"/>
                    </a:lnTo>
                    <a:lnTo>
                      <a:pt x="1143" y="1312"/>
                    </a:lnTo>
                    <a:lnTo>
                      <a:pt x="1185" y="1312"/>
                    </a:lnTo>
                    <a:lnTo>
                      <a:pt x="1270" y="1312"/>
                    </a:lnTo>
                    <a:lnTo>
                      <a:pt x="1312" y="1312"/>
                    </a:lnTo>
                    <a:lnTo>
                      <a:pt x="1227" y="1270"/>
                    </a:lnTo>
                    <a:lnTo>
                      <a:pt x="1270" y="1227"/>
                    </a:lnTo>
                    <a:lnTo>
                      <a:pt x="1354" y="1185"/>
                    </a:lnTo>
                    <a:lnTo>
                      <a:pt x="1397" y="1185"/>
                    </a:lnTo>
                    <a:lnTo>
                      <a:pt x="1397" y="1227"/>
                    </a:lnTo>
                    <a:lnTo>
                      <a:pt x="1524" y="1143"/>
                    </a:lnTo>
                    <a:lnTo>
                      <a:pt x="1524" y="1100"/>
                    </a:lnTo>
                    <a:lnTo>
                      <a:pt x="1524" y="1058"/>
                    </a:lnTo>
                    <a:lnTo>
                      <a:pt x="1566" y="1100"/>
                    </a:lnTo>
                    <a:lnTo>
                      <a:pt x="1566" y="1143"/>
                    </a:lnTo>
                    <a:lnTo>
                      <a:pt x="1608" y="1143"/>
                    </a:lnTo>
                    <a:lnTo>
                      <a:pt x="1566" y="1185"/>
                    </a:lnTo>
                    <a:lnTo>
                      <a:pt x="1566" y="1270"/>
                    </a:lnTo>
                    <a:lnTo>
                      <a:pt x="1608" y="1270"/>
                    </a:lnTo>
                    <a:lnTo>
                      <a:pt x="1566" y="1312"/>
                    </a:lnTo>
                    <a:lnTo>
                      <a:pt x="1608" y="1354"/>
                    </a:lnTo>
                    <a:lnTo>
                      <a:pt x="1608" y="1397"/>
                    </a:lnTo>
                    <a:lnTo>
                      <a:pt x="1566" y="1354"/>
                    </a:lnTo>
                    <a:lnTo>
                      <a:pt x="1524" y="1397"/>
                    </a:lnTo>
                    <a:lnTo>
                      <a:pt x="1481" y="1397"/>
                    </a:lnTo>
                    <a:lnTo>
                      <a:pt x="1524" y="1439"/>
                    </a:lnTo>
                    <a:lnTo>
                      <a:pt x="1566" y="1481"/>
                    </a:lnTo>
                    <a:lnTo>
                      <a:pt x="1566" y="1524"/>
                    </a:lnTo>
                    <a:lnTo>
                      <a:pt x="1608" y="1524"/>
                    </a:lnTo>
                    <a:lnTo>
                      <a:pt x="1608" y="1608"/>
                    </a:lnTo>
                    <a:lnTo>
                      <a:pt x="1608" y="1651"/>
                    </a:lnTo>
                    <a:lnTo>
                      <a:pt x="1651" y="1651"/>
                    </a:lnTo>
                    <a:lnTo>
                      <a:pt x="1693" y="1693"/>
                    </a:lnTo>
                    <a:lnTo>
                      <a:pt x="1735" y="1693"/>
                    </a:lnTo>
                    <a:lnTo>
                      <a:pt x="1735" y="1651"/>
                    </a:lnTo>
                    <a:lnTo>
                      <a:pt x="1778" y="1651"/>
                    </a:lnTo>
                    <a:lnTo>
                      <a:pt x="1862" y="1693"/>
                    </a:lnTo>
                    <a:lnTo>
                      <a:pt x="1905" y="1693"/>
                    </a:lnTo>
                    <a:lnTo>
                      <a:pt x="1905" y="1735"/>
                    </a:lnTo>
                    <a:lnTo>
                      <a:pt x="1989" y="1778"/>
                    </a:lnTo>
                    <a:lnTo>
                      <a:pt x="1989" y="1820"/>
                    </a:lnTo>
                    <a:lnTo>
                      <a:pt x="2032" y="1820"/>
                    </a:lnTo>
                    <a:lnTo>
                      <a:pt x="2116" y="1905"/>
                    </a:lnTo>
                    <a:lnTo>
                      <a:pt x="2159" y="1905"/>
                    </a:lnTo>
                    <a:lnTo>
                      <a:pt x="2243" y="1905"/>
                    </a:lnTo>
                    <a:lnTo>
                      <a:pt x="2328" y="1862"/>
                    </a:lnTo>
                    <a:lnTo>
                      <a:pt x="2370" y="1862"/>
                    </a:lnTo>
                    <a:lnTo>
                      <a:pt x="2413" y="1820"/>
                    </a:lnTo>
                    <a:lnTo>
                      <a:pt x="2497" y="1820"/>
                    </a:lnTo>
                    <a:lnTo>
                      <a:pt x="2540" y="1820"/>
                    </a:lnTo>
                    <a:lnTo>
                      <a:pt x="2582" y="1862"/>
                    </a:lnTo>
                    <a:lnTo>
                      <a:pt x="2624" y="1820"/>
                    </a:lnTo>
                    <a:lnTo>
                      <a:pt x="2667" y="1651"/>
                    </a:lnTo>
                    <a:lnTo>
                      <a:pt x="2709" y="1651"/>
                    </a:lnTo>
                    <a:lnTo>
                      <a:pt x="2709" y="1608"/>
                    </a:lnTo>
                    <a:lnTo>
                      <a:pt x="2709" y="1566"/>
                    </a:lnTo>
                    <a:lnTo>
                      <a:pt x="2751" y="1566"/>
                    </a:lnTo>
                    <a:lnTo>
                      <a:pt x="2751" y="1481"/>
                    </a:lnTo>
                    <a:lnTo>
                      <a:pt x="2751" y="1439"/>
                    </a:lnTo>
                    <a:lnTo>
                      <a:pt x="2751" y="1397"/>
                    </a:lnTo>
                    <a:lnTo>
                      <a:pt x="2751" y="1354"/>
                    </a:lnTo>
                    <a:lnTo>
                      <a:pt x="2751" y="1312"/>
                    </a:lnTo>
                    <a:lnTo>
                      <a:pt x="2836" y="1354"/>
                    </a:lnTo>
                    <a:lnTo>
                      <a:pt x="2921" y="1312"/>
                    </a:lnTo>
                    <a:lnTo>
                      <a:pt x="2963" y="1312"/>
                    </a:lnTo>
                    <a:lnTo>
                      <a:pt x="3048" y="1227"/>
                    </a:lnTo>
                    <a:lnTo>
                      <a:pt x="3090" y="1270"/>
                    </a:lnTo>
                    <a:lnTo>
                      <a:pt x="3132" y="1312"/>
                    </a:lnTo>
                    <a:lnTo>
                      <a:pt x="3175" y="1354"/>
                    </a:lnTo>
                    <a:lnTo>
                      <a:pt x="3175" y="1397"/>
                    </a:lnTo>
                    <a:lnTo>
                      <a:pt x="3217" y="1397"/>
                    </a:lnTo>
                    <a:lnTo>
                      <a:pt x="3217" y="1439"/>
                    </a:lnTo>
                    <a:lnTo>
                      <a:pt x="3259" y="1439"/>
                    </a:lnTo>
                    <a:lnTo>
                      <a:pt x="3302" y="1439"/>
                    </a:lnTo>
                    <a:lnTo>
                      <a:pt x="3344" y="1481"/>
                    </a:lnTo>
                    <a:lnTo>
                      <a:pt x="3386" y="1524"/>
                    </a:lnTo>
                    <a:lnTo>
                      <a:pt x="3471" y="1524"/>
                    </a:lnTo>
                    <a:lnTo>
                      <a:pt x="3471" y="1566"/>
                    </a:lnTo>
                    <a:lnTo>
                      <a:pt x="3471" y="1651"/>
                    </a:lnTo>
                    <a:lnTo>
                      <a:pt x="3556" y="1693"/>
                    </a:lnTo>
                    <a:lnTo>
                      <a:pt x="3598" y="1693"/>
                    </a:lnTo>
                    <a:lnTo>
                      <a:pt x="3640" y="1735"/>
                    </a:lnTo>
                    <a:lnTo>
                      <a:pt x="3683" y="1735"/>
                    </a:lnTo>
                    <a:lnTo>
                      <a:pt x="3767" y="1778"/>
                    </a:lnTo>
                    <a:lnTo>
                      <a:pt x="3852" y="1820"/>
                    </a:lnTo>
                    <a:lnTo>
                      <a:pt x="3937" y="1820"/>
                    </a:lnTo>
                    <a:lnTo>
                      <a:pt x="3979" y="1862"/>
                    </a:lnTo>
                    <a:lnTo>
                      <a:pt x="4064" y="1862"/>
                    </a:lnTo>
                    <a:lnTo>
                      <a:pt x="4191" y="1820"/>
                    </a:lnTo>
                    <a:lnTo>
                      <a:pt x="4275" y="1778"/>
                    </a:lnTo>
                    <a:lnTo>
                      <a:pt x="4318" y="1778"/>
                    </a:lnTo>
                    <a:lnTo>
                      <a:pt x="4360" y="1778"/>
                    </a:lnTo>
                    <a:lnTo>
                      <a:pt x="4360" y="1820"/>
                    </a:lnTo>
                    <a:lnTo>
                      <a:pt x="4402" y="1820"/>
                    </a:lnTo>
                    <a:lnTo>
                      <a:pt x="4445" y="1820"/>
                    </a:lnTo>
                    <a:lnTo>
                      <a:pt x="4529" y="1862"/>
                    </a:lnTo>
                    <a:lnTo>
                      <a:pt x="4572" y="1989"/>
                    </a:lnTo>
                    <a:lnTo>
                      <a:pt x="4572" y="2074"/>
                    </a:lnTo>
                    <a:lnTo>
                      <a:pt x="4699" y="2074"/>
                    </a:lnTo>
                    <a:lnTo>
                      <a:pt x="4783" y="2032"/>
                    </a:lnTo>
                    <a:lnTo>
                      <a:pt x="4741" y="1989"/>
                    </a:lnTo>
                    <a:lnTo>
                      <a:pt x="4699" y="1989"/>
                    </a:lnTo>
                    <a:lnTo>
                      <a:pt x="4699" y="1947"/>
                    </a:lnTo>
                    <a:lnTo>
                      <a:pt x="4741" y="1820"/>
                    </a:lnTo>
                    <a:lnTo>
                      <a:pt x="4699" y="1693"/>
                    </a:lnTo>
                    <a:lnTo>
                      <a:pt x="4699" y="1651"/>
                    </a:lnTo>
                    <a:lnTo>
                      <a:pt x="4783" y="1608"/>
                    </a:lnTo>
                    <a:lnTo>
                      <a:pt x="4699" y="1481"/>
                    </a:lnTo>
                    <a:lnTo>
                      <a:pt x="4529" y="1016"/>
                    </a:lnTo>
                    <a:lnTo>
                      <a:pt x="4445" y="1016"/>
                    </a:lnTo>
                    <a:lnTo>
                      <a:pt x="4445" y="1270"/>
                    </a:lnTo>
                    <a:lnTo>
                      <a:pt x="4445" y="1312"/>
                    </a:lnTo>
                    <a:lnTo>
                      <a:pt x="4487" y="1481"/>
                    </a:lnTo>
                    <a:lnTo>
                      <a:pt x="4445" y="1481"/>
                    </a:lnTo>
                    <a:lnTo>
                      <a:pt x="4402" y="1481"/>
                    </a:lnTo>
                    <a:lnTo>
                      <a:pt x="4360" y="1481"/>
                    </a:lnTo>
                    <a:lnTo>
                      <a:pt x="4318" y="1439"/>
                    </a:lnTo>
                    <a:lnTo>
                      <a:pt x="4275" y="1439"/>
                    </a:lnTo>
                    <a:lnTo>
                      <a:pt x="4233" y="1439"/>
                    </a:lnTo>
                    <a:lnTo>
                      <a:pt x="4191" y="1439"/>
                    </a:lnTo>
                    <a:lnTo>
                      <a:pt x="4148" y="1481"/>
                    </a:lnTo>
                    <a:lnTo>
                      <a:pt x="4106" y="1481"/>
                    </a:lnTo>
                    <a:lnTo>
                      <a:pt x="4064" y="1524"/>
                    </a:lnTo>
                    <a:lnTo>
                      <a:pt x="4021" y="1524"/>
                    </a:lnTo>
                    <a:lnTo>
                      <a:pt x="3979" y="1524"/>
                    </a:lnTo>
                    <a:lnTo>
                      <a:pt x="3937" y="1524"/>
                    </a:lnTo>
                    <a:lnTo>
                      <a:pt x="3937" y="1481"/>
                    </a:lnTo>
                    <a:lnTo>
                      <a:pt x="3894" y="1481"/>
                    </a:lnTo>
                    <a:lnTo>
                      <a:pt x="3767" y="1397"/>
                    </a:lnTo>
                    <a:lnTo>
                      <a:pt x="3725" y="1397"/>
                    </a:lnTo>
                    <a:lnTo>
                      <a:pt x="3683" y="1270"/>
                    </a:lnTo>
                    <a:lnTo>
                      <a:pt x="3640" y="1270"/>
                    </a:lnTo>
                    <a:lnTo>
                      <a:pt x="3556" y="1143"/>
                    </a:lnTo>
                    <a:lnTo>
                      <a:pt x="3556" y="1100"/>
                    </a:lnTo>
                    <a:lnTo>
                      <a:pt x="3513" y="1058"/>
                    </a:lnTo>
                    <a:lnTo>
                      <a:pt x="3556" y="1016"/>
                    </a:lnTo>
                    <a:lnTo>
                      <a:pt x="3513" y="973"/>
                    </a:lnTo>
                    <a:lnTo>
                      <a:pt x="3513" y="931"/>
                    </a:lnTo>
                    <a:lnTo>
                      <a:pt x="3513" y="889"/>
                    </a:lnTo>
                    <a:lnTo>
                      <a:pt x="3471" y="889"/>
                    </a:lnTo>
                    <a:lnTo>
                      <a:pt x="3429" y="846"/>
                    </a:lnTo>
                    <a:lnTo>
                      <a:pt x="3344" y="762"/>
                    </a:lnTo>
                    <a:lnTo>
                      <a:pt x="3302" y="719"/>
                    </a:lnTo>
                    <a:lnTo>
                      <a:pt x="3259" y="719"/>
                    </a:lnTo>
                    <a:lnTo>
                      <a:pt x="3217" y="719"/>
                    </a:lnTo>
                    <a:lnTo>
                      <a:pt x="3175" y="677"/>
                    </a:lnTo>
                    <a:lnTo>
                      <a:pt x="3132" y="677"/>
                    </a:lnTo>
                    <a:lnTo>
                      <a:pt x="3048" y="635"/>
                    </a:lnTo>
                    <a:lnTo>
                      <a:pt x="3005" y="635"/>
                    </a:lnTo>
                    <a:lnTo>
                      <a:pt x="2963" y="592"/>
                    </a:lnTo>
                    <a:lnTo>
                      <a:pt x="2921" y="635"/>
                    </a:lnTo>
                    <a:lnTo>
                      <a:pt x="2878" y="635"/>
                    </a:lnTo>
                    <a:lnTo>
                      <a:pt x="2878" y="677"/>
                    </a:lnTo>
                    <a:lnTo>
                      <a:pt x="2794" y="550"/>
                    </a:lnTo>
                    <a:lnTo>
                      <a:pt x="2836" y="550"/>
                    </a:lnTo>
                    <a:lnTo>
                      <a:pt x="2794" y="508"/>
                    </a:lnTo>
                    <a:lnTo>
                      <a:pt x="2794" y="465"/>
                    </a:lnTo>
                    <a:lnTo>
                      <a:pt x="2751" y="465"/>
                    </a:lnTo>
                    <a:lnTo>
                      <a:pt x="2709" y="465"/>
                    </a:lnTo>
                    <a:lnTo>
                      <a:pt x="2667" y="465"/>
                    </a:lnTo>
                    <a:lnTo>
                      <a:pt x="2624" y="508"/>
                    </a:lnTo>
                    <a:lnTo>
                      <a:pt x="2582" y="508"/>
                    </a:lnTo>
                    <a:lnTo>
                      <a:pt x="2540" y="508"/>
                    </a:lnTo>
                    <a:lnTo>
                      <a:pt x="2455" y="508"/>
                    </a:lnTo>
                    <a:lnTo>
                      <a:pt x="2413" y="508"/>
                    </a:lnTo>
                    <a:lnTo>
                      <a:pt x="2370" y="508"/>
                    </a:lnTo>
                    <a:lnTo>
                      <a:pt x="2328" y="508"/>
                    </a:lnTo>
                    <a:lnTo>
                      <a:pt x="2328" y="465"/>
                    </a:lnTo>
                    <a:lnTo>
                      <a:pt x="2286" y="423"/>
                    </a:lnTo>
                    <a:lnTo>
                      <a:pt x="2201" y="423"/>
                    </a:lnTo>
                    <a:lnTo>
                      <a:pt x="2116" y="465"/>
                    </a:lnTo>
                    <a:lnTo>
                      <a:pt x="2074" y="465"/>
                    </a:lnTo>
                    <a:lnTo>
                      <a:pt x="2032" y="508"/>
                    </a:lnTo>
                    <a:lnTo>
                      <a:pt x="1905" y="465"/>
                    </a:lnTo>
                    <a:lnTo>
                      <a:pt x="1862" y="465"/>
                    </a:lnTo>
                    <a:lnTo>
                      <a:pt x="1820" y="423"/>
                    </a:lnTo>
                    <a:lnTo>
                      <a:pt x="1778" y="465"/>
                    </a:lnTo>
                    <a:lnTo>
                      <a:pt x="1693" y="508"/>
                    </a:lnTo>
                    <a:lnTo>
                      <a:pt x="1693" y="550"/>
                    </a:lnTo>
                    <a:lnTo>
                      <a:pt x="1651" y="592"/>
                    </a:lnTo>
                    <a:lnTo>
                      <a:pt x="1651" y="635"/>
                    </a:lnTo>
                    <a:lnTo>
                      <a:pt x="1608" y="677"/>
                    </a:lnTo>
                    <a:lnTo>
                      <a:pt x="1566" y="677"/>
                    </a:lnTo>
                    <a:lnTo>
                      <a:pt x="1524" y="719"/>
                    </a:lnTo>
                    <a:lnTo>
                      <a:pt x="1566" y="719"/>
                    </a:lnTo>
                    <a:lnTo>
                      <a:pt x="1608" y="719"/>
                    </a:lnTo>
                    <a:lnTo>
                      <a:pt x="1524" y="762"/>
                    </a:lnTo>
                    <a:lnTo>
                      <a:pt x="1524" y="719"/>
                    </a:lnTo>
                    <a:lnTo>
                      <a:pt x="1439" y="635"/>
                    </a:lnTo>
                    <a:lnTo>
                      <a:pt x="1397" y="592"/>
                    </a:lnTo>
                    <a:lnTo>
                      <a:pt x="1397" y="550"/>
                    </a:lnTo>
                    <a:lnTo>
                      <a:pt x="1354" y="423"/>
                    </a:lnTo>
                    <a:lnTo>
                      <a:pt x="1354" y="381"/>
                    </a:lnTo>
                    <a:lnTo>
                      <a:pt x="1312" y="381"/>
                    </a:lnTo>
                    <a:lnTo>
                      <a:pt x="1270" y="338"/>
                    </a:lnTo>
                    <a:lnTo>
                      <a:pt x="1185" y="296"/>
                    </a:lnTo>
                    <a:lnTo>
                      <a:pt x="1143" y="254"/>
                    </a:lnTo>
                    <a:lnTo>
                      <a:pt x="1100" y="211"/>
                    </a:lnTo>
                    <a:lnTo>
                      <a:pt x="1100" y="169"/>
                    </a:lnTo>
                    <a:lnTo>
                      <a:pt x="1100" y="84"/>
                    </a:lnTo>
                    <a:lnTo>
                      <a:pt x="1143" y="42"/>
                    </a:lnTo>
                    <a:lnTo>
                      <a:pt x="1100" y="42"/>
                    </a:lnTo>
                    <a:lnTo>
                      <a:pt x="1058" y="42"/>
                    </a:lnTo>
                    <a:lnTo>
                      <a:pt x="1016" y="0"/>
                    </a:lnTo>
                    <a:lnTo>
                      <a:pt x="889" y="0"/>
                    </a:lnTo>
                    <a:lnTo>
                      <a:pt x="846" y="0"/>
                    </a:lnTo>
                    <a:lnTo>
                      <a:pt x="804" y="0"/>
                    </a:lnTo>
                    <a:lnTo>
                      <a:pt x="719" y="0"/>
                    </a:lnTo>
                    <a:close/>
                    <a:moveTo>
                      <a:pt x="1481" y="1397"/>
                    </a:moveTo>
                    <a:lnTo>
                      <a:pt x="1524" y="1312"/>
                    </a:lnTo>
                    <a:lnTo>
                      <a:pt x="1481" y="1354"/>
                    </a:lnTo>
                    <a:lnTo>
                      <a:pt x="1481" y="1397"/>
                    </a:lnTo>
                    <a:close/>
                  </a:path>
                </a:pathLst>
              </a:custGeom>
              <a:grpFill/>
              <a:ln w="12700" cap="flat" cmpd="sng">
                <a:solidFill>
                  <a:schemeClr val="tx1"/>
                </a:solidFill>
                <a:prstDash val="solid"/>
                <a:bevel/>
                <a:headEnd/>
                <a:tailEnd/>
              </a:ln>
            </p:spPr>
            <p:txBody>
              <a:bodyPr/>
              <a:lstStyle/>
              <a:p>
                <a:endParaRPr lang="nl-NL"/>
              </a:p>
            </p:txBody>
          </p:sp>
          <p:sp>
            <p:nvSpPr>
              <p:cNvPr id="134" name="Freeform 553">
                <a:extLst>
                  <a:ext uri="{FF2B5EF4-FFF2-40B4-BE49-F238E27FC236}">
                    <a16:creationId xmlns:a16="http://schemas.microsoft.com/office/drawing/2014/main" id="{DD8D5BA8-3E03-692A-DF17-3A51A7822FDF}"/>
                  </a:ext>
                </a:extLst>
              </p:cNvPr>
              <p:cNvSpPr>
                <a:spLocks noEditPoints="1"/>
              </p:cNvSpPr>
              <p:nvPr/>
            </p:nvSpPr>
            <p:spPr bwMode="auto">
              <a:xfrm>
                <a:off x="-119" y="3670"/>
                <a:ext cx="1181" cy="447"/>
              </a:xfrm>
              <a:custGeom>
                <a:avLst/>
                <a:gdLst/>
                <a:ahLst/>
                <a:cxnLst>
                  <a:cxn ang="0">
                    <a:pos x="677" y="85"/>
                  </a:cxn>
                  <a:cxn ang="0">
                    <a:pos x="465" y="127"/>
                  </a:cxn>
                  <a:cxn ang="0">
                    <a:pos x="296" y="169"/>
                  </a:cxn>
                  <a:cxn ang="0">
                    <a:pos x="84" y="254"/>
                  </a:cxn>
                  <a:cxn ang="0">
                    <a:pos x="127" y="508"/>
                  </a:cxn>
                  <a:cxn ang="0">
                    <a:pos x="42" y="847"/>
                  </a:cxn>
                  <a:cxn ang="0">
                    <a:pos x="84" y="1016"/>
                  </a:cxn>
                  <a:cxn ang="0">
                    <a:pos x="169" y="1185"/>
                  </a:cxn>
                  <a:cxn ang="0">
                    <a:pos x="381" y="1355"/>
                  </a:cxn>
                  <a:cxn ang="0">
                    <a:pos x="508" y="1482"/>
                  </a:cxn>
                  <a:cxn ang="0">
                    <a:pos x="973" y="1058"/>
                  </a:cxn>
                  <a:cxn ang="0">
                    <a:pos x="1143" y="1058"/>
                  </a:cxn>
                  <a:cxn ang="0">
                    <a:pos x="1312" y="1058"/>
                  </a:cxn>
                  <a:cxn ang="0">
                    <a:pos x="1524" y="1058"/>
                  </a:cxn>
                  <a:cxn ang="0">
                    <a:pos x="1820" y="1143"/>
                  </a:cxn>
                  <a:cxn ang="0">
                    <a:pos x="2074" y="1270"/>
                  </a:cxn>
                  <a:cxn ang="0">
                    <a:pos x="2370" y="1355"/>
                  </a:cxn>
                  <a:cxn ang="0">
                    <a:pos x="2497" y="1439"/>
                  </a:cxn>
                  <a:cxn ang="0">
                    <a:pos x="2497" y="1820"/>
                  </a:cxn>
                  <a:cxn ang="0">
                    <a:pos x="2667" y="1820"/>
                  </a:cxn>
                  <a:cxn ang="0">
                    <a:pos x="2878" y="1820"/>
                  </a:cxn>
                  <a:cxn ang="0">
                    <a:pos x="3005" y="1820"/>
                  </a:cxn>
                  <a:cxn ang="0">
                    <a:pos x="3175" y="1863"/>
                  </a:cxn>
                  <a:cxn ang="0">
                    <a:pos x="3344" y="1820"/>
                  </a:cxn>
                  <a:cxn ang="0">
                    <a:pos x="3471" y="1693"/>
                  </a:cxn>
                  <a:cxn ang="0">
                    <a:pos x="3767" y="1524"/>
                  </a:cxn>
                  <a:cxn ang="0">
                    <a:pos x="3894" y="1566"/>
                  </a:cxn>
                  <a:cxn ang="0">
                    <a:pos x="4191" y="1397"/>
                  </a:cxn>
                  <a:cxn ang="0">
                    <a:pos x="5037" y="593"/>
                  </a:cxn>
                  <a:cxn ang="0">
                    <a:pos x="4953" y="466"/>
                  </a:cxn>
                  <a:cxn ang="0">
                    <a:pos x="4826" y="381"/>
                  </a:cxn>
                  <a:cxn ang="0">
                    <a:pos x="4741" y="381"/>
                  </a:cxn>
                  <a:cxn ang="0">
                    <a:pos x="4783" y="550"/>
                  </a:cxn>
                  <a:cxn ang="0">
                    <a:pos x="4699" y="635"/>
                  </a:cxn>
                  <a:cxn ang="0">
                    <a:pos x="4656" y="677"/>
                  </a:cxn>
                  <a:cxn ang="0">
                    <a:pos x="4572" y="635"/>
                  </a:cxn>
                  <a:cxn ang="0">
                    <a:pos x="4487" y="635"/>
                  </a:cxn>
                  <a:cxn ang="0">
                    <a:pos x="4445" y="720"/>
                  </a:cxn>
                  <a:cxn ang="0">
                    <a:pos x="4148" y="423"/>
                  </a:cxn>
                  <a:cxn ang="0">
                    <a:pos x="3894" y="296"/>
                  </a:cxn>
                  <a:cxn ang="0">
                    <a:pos x="3810" y="127"/>
                  </a:cxn>
                  <a:cxn ang="0">
                    <a:pos x="3556" y="42"/>
                  </a:cxn>
                  <a:cxn ang="0">
                    <a:pos x="3471" y="296"/>
                  </a:cxn>
                  <a:cxn ang="0">
                    <a:pos x="3217" y="466"/>
                  </a:cxn>
                  <a:cxn ang="0">
                    <a:pos x="2963" y="593"/>
                  </a:cxn>
                  <a:cxn ang="0">
                    <a:pos x="2751" y="677"/>
                  </a:cxn>
                  <a:cxn ang="0">
                    <a:pos x="2624" y="677"/>
                  </a:cxn>
                  <a:cxn ang="0">
                    <a:pos x="2497" y="593"/>
                  </a:cxn>
                  <a:cxn ang="0">
                    <a:pos x="2286" y="593"/>
                  </a:cxn>
                  <a:cxn ang="0">
                    <a:pos x="2116" y="550"/>
                  </a:cxn>
                  <a:cxn ang="0">
                    <a:pos x="1947" y="423"/>
                  </a:cxn>
                  <a:cxn ang="0">
                    <a:pos x="1651" y="296"/>
                  </a:cxn>
                  <a:cxn ang="0">
                    <a:pos x="1354" y="169"/>
                  </a:cxn>
                  <a:cxn ang="0">
                    <a:pos x="1143" y="42"/>
                  </a:cxn>
                  <a:cxn ang="0">
                    <a:pos x="846" y="0"/>
                  </a:cxn>
                  <a:cxn ang="0">
                    <a:pos x="4656" y="550"/>
                  </a:cxn>
                  <a:cxn ang="0">
                    <a:pos x="4699" y="508"/>
                  </a:cxn>
                  <a:cxn ang="0">
                    <a:pos x="4741" y="466"/>
                  </a:cxn>
                  <a:cxn ang="0">
                    <a:pos x="4826" y="423"/>
                  </a:cxn>
                  <a:cxn ang="0">
                    <a:pos x="4529" y="720"/>
                  </a:cxn>
                </a:cxnLst>
                <a:rect l="0" t="0" r="r" b="b"/>
                <a:pathLst>
                  <a:path w="5037" h="1905">
                    <a:moveTo>
                      <a:pt x="846" y="0"/>
                    </a:moveTo>
                    <a:lnTo>
                      <a:pt x="846" y="42"/>
                    </a:lnTo>
                    <a:lnTo>
                      <a:pt x="804" y="42"/>
                    </a:lnTo>
                    <a:lnTo>
                      <a:pt x="762" y="42"/>
                    </a:lnTo>
                    <a:lnTo>
                      <a:pt x="677" y="85"/>
                    </a:lnTo>
                    <a:lnTo>
                      <a:pt x="635" y="85"/>
                    </a:lnTo>
                    <a:lnTo>
                      <a:pt x="592" y="85"/>
                    </a:lnTo>
                    <a:lnTo>
                      <a:pt x="550" y="127"/>
                    </a:lnTo>
                    <a:lnTo>
                      <a:pt x="508" y="127"/>
                    </a:lnTo>
                    <a:lnTo>
                      <a:pt x="465" y="127"/>
                    </a:lnTo>
                    <a:lnTo>
                      <a:pt x="423" y="127"/>
                    </a:lnTo>
                    <a:lnTo>
                      <a:pt x="381" y="127"/>
                    </a:lnTo>
                    <a:lnTo>
                      <a:pt x="338" y="127"/>
                    </a:lnTo>
                    <a:lnTo>
                      <a:pt x="338" y="169"/>
                    </a:lnTo>
                    <a:lnTo>
                      <a:pt x="296" y="169"/>
                    </a:lnTo>
                    <a:lnTo>
                      <a:pt x="254" y="212"/>
                    </a:lnTo>
                    <a:lnTo>
                      <a:pt x="211" y="212"/>
                    </a:lnTo>
                    <a:lnTo>
                      <a:pt x="169" y="212"/>
                    </a:lnTo>
                    <a:lnTo>
                      <a:pt x="127" y="254"/>
                    </a:lnTo>
                    <a:lnTo>
                      <a:pt x="84" y="254"/>
                    </a:lnTo>
                    <a:lnTo>
                      <a:pt x="84" y="296"/>
                    </a:lnTo>
                    <a:lnTo>
                      <a:pt x="127" y="339"/>
                    </a:lnTo>
                    <a:lnTo>
                      <a:pt x="127" y="423"/>
                    </a:lnTo>
                    <a:lnTo>
                      <a:pt x="127" y="466"/>
                    </a:lnTo>
                    <a:lnTo>
                      <a:pt x="127" y="508"/>
                    </a:lnTo>
                    <a:lnTo>
                      <a:pt x="169" y="550"/>
                    </a:lnTo>
                    <a:lnTo>
                      <a:pt x="169" y="635"/>
                    </a:lnTo>
                    <a:lnTo>
                      <a:pt x="42" y="762"/>
                    </a:lnTo>
                    <a:lnTo>
                      <a:pt x="0" y="804"/>
                    </a:lnTo>
                    <a:lnTo>
                      <a:pt x="42" y="847"/>
                    </a:lnTo>
                    <a:lnTo>
                      <a:pt x="127" y="931"/>
                    </a:lnTo>
                    <a:lnTo>
                      <a:pt x="84" y="931"/>
                    </a:lnTo>
                    <a:lnTo>
                      <a:pt x="42" y="931"/>
                    </a:lnTo>
                    <a:lnTo>
                      <a:pt x="42" y="974"/>
                    </a:lnTo>
                    <a:lnTo>
                      <a:pt x="84" y="1016"/>
                    </a:lnTo>
                    <a:lnTo>
                      <a:pt x="127" y="1058"/>
                    </a:lnTo>
                    <a:lnTo>
                      <a:pt x="127" y="1101"/>
                    </a:lnTo>
                    <a:lnTo>
                      <a:pt x="84" y="1143"/>
                    </a:lnTo>
                    <a:lnTo>
                      <a:pt x="127" y="1185"/>
                    </a:lnTo>
                    <a:lnTo>
                      <a:pt x="169" y="1185"/>
                    </a:lnTo>
                    <a:lnTo>
                      <a:pt x="211" y="1270"/>
                    </a:lnTo>
                    <a:lnTo>
                      <a:pt x="254" y="1270"/>
                    </a:lnTo>
                    <a:lnTo>
                      <a:pt x="296" y="1355"/>
                    </a:lnTo>
                    <a:lnTo>
                      <a:pt x="338" y="1312"/>
                    </a:lnTo>
                    <a:lnTo>
                      <a:pt x="381" y="1355"/>
                    </a:lnTo>
                    <a:lnTo>
                      <a:pt x="381" y="1397"/>
                    </a:lnTo>
                    <a:lnTo>
                      <a:pt x="381" y="1439"/>
                    </a:lnTo>
                    <a:lnTo>
                      <a:pt x="423" y="1439"/>
                    </a:lnTo>
                    <a:lnTo>
                      <a:pt x="465" y="1482"/>
                    </a:lnTo>
                    <a:lnTo>
                      <a:pt x="508" y="1482"/>
                    </a:lnTo>
                    <a:lnTo>
                      <a:pt x="635" y="1482"/>
                    </a:lnTo>
                    <a:lnTo>
                      <a:pt x="973" y="1439"/>
                    </a:lnTo>
                    <a:lnTo>
                      <a:pt x="931" y="1143"/>
                    </a:lnTo>
                    <a:lnTo>
                      <a:pt x="889" y="1101"/>
                    </a:lnTo>
                    <a:lnTo>
                      <a:pt x="973" y="1058"/>
                    </a:lnTo>
                    <a:lnTo>
                      <a:pt x="1016" y="1101"/>
                    </a:lnTo>
                    <a:lnTo>
                      <a:pt x="1058" y="1101"/>
                    </a:lnTo>
                    <a:lnTo>
                      <a:pt x="1058" y="1058"/>
                    </a:lnTo>
                    <a:lnTo>
                      <a:pt x="1100" y="1058"/>
                    </a:lnTo>
                    <a:lnTo>
                      <a:pt x="1143" y="1058"/>
                    </a:lnTo>
                    <a:lnTo>
                      <a:pt x="1143" y="1016"/>
                    </a:lnTo>
                    <a:lnTo>
                      <a:pt x="1185" y="1016"/>
                    </a:lnTo>
                    <a:lnTo>
                      <a:pt x="1227" y="1058"/>
                    </a:lnTo>
                    <a:lnTo>
                      <a:pt x="1270" y="1101"/>
                    </a:lnTo>
                    <a:lnTo>
                      <a:pt x="1312" y="1058"/>
                    </a:lnTo>
                    <a:lnTo>
                      <a:pt x="1270" y="974"/>
                    </a:lnTo>
                    <a:lnTo>
                      <a:pt x="1354" y="931"/>
                    </a:lnTo>
                    <a:lnTo>
                      <a:pt x="1397" y="974"/>
                    </a:lnTo>
                    <a:lnTo>
                      <a:pt x="1481" y="1016"/>
                    </a:lnTo>
                    <a:lnTo>
                      <a:pt x="1524" y="1058"/>
                    </a:lnTo>
                    <a:lnTo>
                      <a:pt x="1608" y="1101"/>
                    </a:lnTo>
                    <a:lnTo>
                      <a:pt x="1651" y="1101"/>
                    </a:lnTo>
                    <a:lnTo>
                      <a:pt x="1651" y="1058"/>
                    </a:lnTo>
                    <a:lnTo>
                      <a:pt x="1735" y="1058"/>
                    </a:lnTo>
                    <a:lnTo>
                      <a:pt x="1820" y="1143"/>
                    </a:lnTo>
                    <a:lnTo>
                      <a:pt x="1862" y="1143"/>
                    </a:lnTo>
                    <a:lnTo>
                      <a:pt x="1905" y="1185"/>
                    </a:lnTo>
                    <a:lnTo>
                      <a:pt x="1905" y="1228"/>
                    </a:lnTo>
                    <a:lnTo>
                      <a:pt x="2032" y="1228"/>
                    </a:lnTo>
                    <a:lnTo>
                      <a:pt x="2074" y="1270"/>
                    </a:lnTo>
                    <a:lnTo>
                      <a:pt x="2074" y="1228"/>
                    </a:lnTo>
                    <a:lnTo>
                      <a:pt x="2243" y="1270"/>
                    </a:lnTo>
                    <a:lnTo>
                      <a:pt x="2286" y="1270"/>
                    </a:lnTo>
                    <a:lnTo>
                      <a:pt x="2328" y="1355"/>
                    </a:lnTo>
                    <a:lnTo>
                      <a:pt x="2370" y="1355"/>
                    </a:lnTo>
                    <a:lnTo>
                      <a:pt x="2370" y="1312"/>
                    </a:lnTo>
                    <a:lnTo>
                      <a:pt x="2413" y="1355"/>
                    </a:lnTo>
                    <a:lnTo>
                      <a:pt x="2455" y="1397"/>
                    </a:lnTo>
                    <a:lnTo>
                      <a:pt x="2497" y="1397"/>
                    </a:lnTo>
                    <a:lnTo>
                      <a:pt x="2497" y="1439"/>
                    </a:lnTo>
                    <a:lnTo>
                      <a:pt x="2455" y="1482"/>
                    </a:lnTo>
                    <a:lnTo>
                      <a:pt x="2455" y="1566"/>
                    </a:lnTo>
                    <a:lnTo>
                      <a:pt x="2455" y="1693"/>
                    </a:lnTo>
                    <a:lnTo>
                      <a:pt x="2455" y="1778"/>
                    </a:lnTo>
                    <a:lnTo>
                      <a:pt x="2497" y="1820"/>
                    </a:lnTo>
                    <a:lnTo>
                      <a:pt x="2540" y="1820"/>
                    </a:lnTo>
                    <a:lnTo>
                      <a:pt x="2540" y="1778"/>
                    </a:lnTo>
                    <a:lnTo>
                      <a:pt x="2582" y="1820"/>
                    </a:lnTo>
                    <a:lnTo>
                      <a:pt x="2624" y="1820"/>
                    </a:lnTo>
                    <a:lnTo>
                      <a:pt x="2667" y="1820"/>
                    </a:lnTo>
                    <a:lnTo>
                      <a:pt x="2709" y="1820"/>
                    </a:lnTo>
                    <a:lnTo>
                      <a:pt x="2751" y="1820"/>
                    </a:lnTo>
                    <a:lnTo>
                      <a:pt x="2794" y="1820"/>
                    </a:lnTo>
                    <a:lnTo>
                      <a:pt x="2836" y="1820"/>
                    </a:lnTo>
                    <a:lnTo>
                      <a:pt x="2878" y="1820"/>
                    </a:lnTo>
                    <a:lnTo>
                      <a:pt x="2963" y="1736"/>
                    </a:lnTo>
                    <a:lnTo>
                      <a:pt x="3005" y="1736"/>
                    </a:lnTo>
                    <a:lnTo>
                      <a:pt x="3048" y="1736"/>
                    </a:lnTo>
                    <a:lnTo>
                      <a:pt x="3048" y="1820"/>
                    </a:lnTo>
                    <a:lnTo>
                      <a:pt x="3005" y="1820"/>
                    </a:lnTo>
                    <a:lnTo>
                      <a:pt x="2963" y="1863"/>
                    </a:lnTo>
                    <a:lnTo>
                      <a:pt x="3005" y="1905"/>
                    </a:lnTo>
                    <a:lnTo>
                      <a:pt x="3048" y="1905"/>
                    </a:lnTo>
                    <a:lnTo>
                      <a:pt x="3090" y="1905"/>
                    </a:lnTo>
                    <a:lnTo>
                      <a:pt x="3175" y="1863"/>
                    </a:lnTo>
                    <a:lnTo>
                      <a:pt x="3217" y="1863"/>
                    </a:lnTo>
                    <a:lnTo>
                      <a:pt x="3175" y="1778"/>
                    </a:lnTo>
                    <a:lnTo>
                      <a:pt x="3259" y="1736"/>
                    </a:lnTo>
                    <a:lnTo>
                      <a:pt x="3302" y="1820"/>
                    </a:lnTo>
                    <a:lnTo>
                      <a:pt x="3344" y="1820"/>
                    </a:lnTo>
                    <a:lnTo>
                      <a:pt x="3344" y="1778"/>
                    </a:lnTo>
                    <a:lnTo>
                      <a:pt x="3386" y="1778"/>
                    </a:lnTo>
                    <a:lnTo>
                      <a:pt x="3429" y="1778"/>
                    </a:lnTo>
                    <a:lnTo>
                      <a:pt x="3471" y="1736"/>
                    </a:lnTo>
                    <a:lnTo>
                      <a:pt x="3471" y="1693"/>
                    </a:lnTo>
                    <a:lnTo>
                      <a:pt x="3556" y="1693"/>
                    </a:lnTo>
                    <a:lnTo>
                      <a:pt x="3598" y="1609"/>
                    </a:lnTo>
                    <a:lnTo>
                      <a:pt x="3640" y="1609"/>
                    </a:lnTo>
                    <a:lnTo>
                      <a:pt x="3683" y="1566"/>
                    </a:lnTo>
                    <a:lnTo>
                      <a:pt x="3767" y="1524"/>
                    </a:lnTo>
                    <a:lnTo>
                      <a:pt x="3810" y="1524"/>
                    </a:lnTo>
                    <a:lnTo>
                      <a:pt x="3810" y="1566"/>
                    </a:lnTo>
                    <a:lnTo>
                      <a:pt x="3852" y="1566"/>
                    </a:lnTo>
                    <a:lnTo>
                      <a:pt x="3894" y="1524"/>
                    </a:lnTo>
                    <a:lnTo>
                      <a:pt x="3894" y="1566"/>
                    </a:lnTo>
                    <a:lnTo>
                      <a:pt x="3979" y="1566"/>
                    </a:lnTo>
                    <a:lnTo>
                      <a:pt x="4021" y="1524"/>
                    </a:lnTo>
                    <a:lnTo>
                      <a:pt x="4064" y="1524"/>
                    </a:lnTo>
                    <a:lnTo>
                      <a:pt x="4106" y="1482"/>
                    </a:lnTo>
                    <a:lnTo>
                      <a:pt x="4191" y="1397"/>
                    </a:lnTo>
                    <a:lnTo>
                      <a:pt x="4275" y="1355"/>
                    </a:lnTo>
                    <a:lnTo>
                      <a:pt x="4360" y="1312"/>
                    </a:lnTo>
                    <a:lnTo>
                      <a:pt x="4572" y="1143"/>
                    </a:lnTo>
                    <a:lnTo>
                      <a:pt x="4614" y="1101"/>
                    </a:lnTo>
                    <a:lnTo>
                      <a:pt x="5037" y="593"/>
                    </a:lnTo>
                    <a:lnTo>
                      <a:pt x="4995" y="593"/>
                    </a:lnTo>
                    <a:lnTo>
                      <a:pt x="4995" y="550"/>
                    </a:lnTo>
                    <a:lnTo>
                      <a:pt x="4953" y="550"/>
                    </a:lnTo>
                    <a:lnTo>
                      <a:pt x="4953" y="508"/>
                    </a:lnTo>
                    <a:lnTo>
                      <a:pt x="4953" y="466"/>
                    </a:lnTo>
                    <a:lnTo>
                      <a:pt x="4910" y="508"/>
                    </a:lnTo>
                    <a:lnTo>
                      <a:pt x="4910" y="466"/>
                    </a:lnTo>
                    <a:lnTo>
                      <a:pt x="4910" y="423"/>
                    </a:lnTo>
                    <a:lnTo>
                      <a:pt x="4868" y="381"/>
                    </a:lnTo>
                    <a:lnTo>
                      <a:pt x="4826" y="381"/>
                    </a:lnTo>
                    <a:lnTo>
                      <a:pt x="4783" y="381"/>
                    </a:lnTo>
                    <a:lnTo>
                      <a:pt x="4826" y="339"/>
                    </a:lnTo>
                    <a:lnTo>
                      <a:pt x="4783" y="339"/>
                    </a:lnTo>
                    <a:lnTo>
                      <a:pt x="4741" y="339"/>
                    </a:lnTo>
                    <a:lnTo>
                      <a:pt x="4741" y="381"/>
                    </a:lnTo>
                    <a:lnTo>
                      <a:pt x="4699" y="423"/>
                    </a:lnTo>
                    <a:lnTo>
                      <a:pt x="4699" y="466"/>
                    </a:lnTo>
                    <a:lnTo>
                      <a:pt x="4741" y="508"/>
                    </a:lnTo>
                    <a:lnTo>
                      <a:pt x="4783" y="508"/>
                    </a:lnTo>
                    <a:lnTo>
                      <a:pt x="4783" y="550"/>
                    </a:lnTo>
                    <a:lnTo>
                      <a:pt x="4783" y="593"/>
                    </a:lnTo>
                    <a:lnTo>
                      <a:pt x="4741" y="550"/>
                    </a:lnTo>
                    <a:lnTo>
                      <a:pt x="4699" y="593"/>
                    </a:lnTo>
                    <a:lnTo>
                      <a:pt x="4741" y="593"/>
                    </a:lnTo>
                    <a:lnTo>
                      <a:pt x="4699" y="635"/>
                    </a:lnTo>
                    <a:lnTo>
                      <a:pt x="4741" y="635"/>
                    </a:lnTo>
                    <a:lnTo>
                      <a:pt x="4741" y="677"/>
                    </a:lnTo>
                    <a:lnTo>
                      <a:pt x="4699" y="635"/>
                    </a:lnTo>
                    <a:lnTo>
                      <a:pt x="4614" y="635"/>
                    </a:lnTo>
                    <a:lnTo>
                      <a:pt x="4656" y="677"/>
                    </a:lnTo>
                    <a:lnTo>
                      <a:pt x="4656" y="720"/>
                    </a:lnTo>
                    <a:lnTo>
                      <a:pt x="4614" y="635"/>
                    </a:lnTo>
                    <a:lnTo>
                      <a:pt x="4572" y="593"/>
                    </a:lnTo>
                    <a:lnTo>
                      <a:pt x="4529" y="593"/>
                    </a:lnTo>
                    <a:lnTo>
                      <a:pt x="4572" y="635"/>
                    </a:lnTo>
                    <a:lnTo>
                      <a:pt x="4614" y="677"/>
                    </a:lnTo>
                    <a:lnTo>
                      <a:pt x="4572" y="677"/>
                    </a:lnTo>
                    <a:lnTo>
                      <a:pt x="4572" y="635"/>
                    </a:lnTo>
                    <a:lnTo>
                      <a:pt x="4529" y="635"/>
                    </a:lnTo>
                    <a:lnTo>
                      <a:pt x="4487" y="635"/>
                    </a:lnTo>
                    <a:lnTo>
                      <a:pt x="4445" y="635"/>
                    </a:lnTo>
                    <a:lnTo>
                      <a:pt x="4445" y="677"/>
                    </a:lnTo>
                    <a:lnTo>
                      <a:pt x="4487" y="677"/>
                    </a:lnTo>
                    <a:lnTo>
                      <a:pt x="4487" y="720"/>
                    </a:lnTo>
                    <a:lnTo>
                      <a:pt x="4445" y="720"/>
                    </a:lnTo>
                    <a:lnTo>
                      <a:pt x="4360" y="550"/>
                    </a:lnTo>
                    <a:lnTo>
                      <a:pt x="4318" y="550"/>
                    </a:lnTo>
                    <a:lnTo>
                      <a:pt x="4191" y="466"/>
                    </a:lnTo>
                    <a:lnTo>
                      <a:pt x="4191" y="423"/>
                    </a:lnTo>
                    <a:lnTo>
                      <a:pt x="4148" y="423"/>
                    </a:lnTo>
                    <a:lnTo>
                      <a:pt x="4148" y="466"/>
                    </a:lnTo>
                    <a:lnTo>
                      <a:pt x="3979" y="423"/>
                    </a:lnTo>
                    <a:lnTo>
                      <a:pt x="3937" y="381"/>
                    </a:lnTo>
                    <a:lnTo>
                      <a:pt x="3937" y="339"/>
                    </a:lnTo>
                    <a:lnTo>
                      <a:pt x="3894" y="296"/>
                    </a:lnTo>
                    <a:lnTo>
                      <a:pt x="3894" y="254"/>
                    </a:lnTo>
                    <a:lnTo>
                      <a:pt x="3852" y="212"/>
                    </a:lnTo>
                    <a:lnTo>
                      <a:pt x="3894" y="169"/>
                    </a:lnTo>
                    <a:lnTo>
                      <a:pt x="3852" y="169"/>
                    </a:lnTo>
                    <a:lnTo>
                      <a:pt x="3810" y="127"/>
                    </a:lnTo>
                    <a:lnTo>
                      <a:pt x="3810" y="85"/>
                    </a:lnTo>
                    <a:lnTo>
                      <a:pt x="3725" y="85"/>
                    </a:lnTo>
                    <a:lnTo>
                      <a:pt x="3683" y="85"/>
                    </a:lnTo>
                    <a:lnTo>
                      <a:pt x="3640" y="42"/>
                    </a:lnTo>
                    <a:lnTo>
                      <a:pt x="3556" y="42"/>
                    </a:lnTo>
                    <a:lnTo>
                      <a:pt x="3513" y="127"/>
                    </a:lnTo>
                    <a:lnTo>
                      <a:pt x="3513" y="169"/>
                    </a:lnTo>
                    <a:lnTo>
                      <a:pt x="3471" y="169"/>
                    </a:lnTo>
                    <a:lnTo>
                      <a:pt x="3471" y="254"/>
                    </a:lnTo>
                    <a:lnTo>
                      <a:pt x="3471" y="296"/>
                    </a:lnTo>
                    <a:lnTo>
                      <a:pt x="3471" y="339"/>
                    </a:lnTo>
                    <a:lnTo>
                      <a:pt x="3471" y="381"/>
                    </a:lnTo>
                    <a:lnTo>
                      <a:pt x="3429" y="423"/>
                    </a:lnTo>
                    <a:lnTo>
                      <a:pt x="3344" y="423"/>
                    </a:lnTo>
                    <a:lnTo>
                      <a:pt x="3217" y="466"/>
                    </a:lnTo>
                    <a:lnTo>
                      <a:pt x="3132" y="508"/>
                    </a:lnTo>
                    <a:lnTo>
                      <a:pt x="3090" y="550"/>
                    </a:lnTo>
                    <a:lnTo>
                      <a:pt x="3048" y="550"/>
                    </a:lnTo>
                    <a:lnTo>
                      <a:pt x="3048" y="593"/>
                    </a:lnTo>
                    <a:lnTo>
                      <a:pt x="2963" y="593"/>
                    </a:lnTo>
                    <a:lnTo>
                      <a:pt x="2963" y="635"/>
                    </a:lnTo>
                    <a:lnTo>
                      <a:pt x="2921" y="677"/>
                    </a:lnTo>
                    <a:lnTo>
                      <a:pt x="2878" y="677"/>
                    </a:lnTo>
                    <a:lnTo>
                      <a:pt x="2794" y="677"/>
                    </a:lnTo>
                    <a:lnTo>
                      <a:pt x="2751" y="677"/>
                    </a:lnTo>
                    <a:lnTo>
                      <a:pt x="2709" y="635"/>
                    </a:lnTo>
                    <a:lnTo>
                      <a:pt x="2667" y="635"/>
                    </a:lnTo>
                    <a:lnTo>
                      <a:pt x="2667" y="677"/>
                    </a:lnTo>
                    <a:lnTo>
                      <a:pt x="2624" y="635"/>
                    </a:lnTo>
                    <a:lnTo>
                      <a:pt x="2624" y="677"/>
                    </a:lnTo>
                    <a:lnTo>
                      <a:pt x="2624" y="720"/>
                    </a:lnTo>
                    <a:lnTo>
                      <a:pt x="2582" y="635"/>
                    </a:lnTo>
                    <a:lnTo>
                      <a:pt x="2582" y="593"/>
                    </a:lnTo>
                    <a:lnTo>
                      <a:pt x="2540" y="593"/>
                    </a:lnTo>
                    <a:lnTo>
                      <a:pt x="2497" y="593"/>
                    </a:lnTo>
                    <a:lnTo>
                      <a:pt x="2497" y="550"/>
                    </a:lnTo>
                    <a:lnTo>
                      <a:pt x="2370" y="550"/>
                    </a:lnTo>
                    <a:lnTo>
                      <a:pt x="2370" y="677"/>
                    </a:lnTo>
                    <a:lnTo>
                      <a:pt x="2286" y="635"/>
                    </a:lnTo>
                    <a:lnTo>
                      <a:pt x="2286" y="593"/>
                    </a:lnTo>
                    <a:lnTo>
                      <a:pt x="2328" y="550"/>
                    </a:lnTo>
                    <a:lnTo>
                      <a:pt x="2286" y="550"/>
                    </a:lnTo>
                    <a:lnTo>
                      <a:pt x="2201" y="550"/>
                    </a:lnTo>
                    <a:lnTo>
                      <a:pt x="2159" y="550"/>
                    </a:lnTo>
                    <a:lnTo>
                      <a:pt x="2116" y="550"/>
                    </a:lnTo>
                    <a:lnTo>
                      <a:pt x="2074" y="550"/>
                    </a:lnTo>
                    <a:lnTo>
                      <a:pt x="2074" y="508"/>
                    </a:lnTo>
                    <a:lnTo>
                      <a:pt x="2032" y="466"/>
                    </a:lnTo>
                    <a:lnTo>
                      <a:pt x="1989" y="423"/>
                    </a:lnTo>
                    <a:lnTo>
                      <a:pt x="1947" y="423"/>
                    </a:lnTo>
                    <a:lnTo>
                      <a:pt x="1947" y="381"/>
                    </a:lnTo>
                    <a:lnTo>
                      <a:pt x="1905" y="339"/>
                    </a:lnTo>
                    <a:lnTo>
                      <a:pt x="1778" y="339"/>
                    </a:lnTo>
                    <a:lnTo>
                      <a:pt x="1693" y="296"/>
                    </a:lnTo>
                    <a:lnTo>
                      <a:pt x="1651" y="296"/>
                    </a:lnTo>
                    <a:lnTo>
                      <a:pt x="1524" y="254"/>
                    </a:lnTo>
                    <a:lnTo>
                      <a:pt x="1481" y="254"/>
                    </a:lnTo>
                    <a:lnTo>
                      <a:pt x="1481" y="212"/>
                    </a:lnTo>
                    <a:lnTo>
                      <a:pt x="1439" y="212"/>
                    </a:lnTo>
                    <a:lnTo>
                      <a:pt x="1354" y="169"/>
                    </a:lnTo>
                    <a:lnTo>
                      <a:pt x="1312" y="169"/>
                    </a:lnTo>
                    <a:lnTo>
                      <a:pt x="1270" y="127"/>
                    </a:lnTo>
                    <a:lnTo>
                      <a:pt x="1227" y="85"/>
                    </a:lnTo>
                    <a:lnTo>
                      <a:pt x="1185" y="85"/>
                    </a:lnTo>
                    <a:lnTo>
                      <a:pt x="1143" y="42"/>
                    </a:lnTo>
                    <a:lnTo>
                      <a:pt x="1100" y="42"/>
                    </a:lnTo>
                    <a:lnTo>
                      <a:pt x="1100" y="0"/>
                    </a:lnTo>
                    <a:lnTo>
                      <a:pt x="973" y="0"/>
                    </a:lnTo>
                    <a:lnTo>
                      <a:pt x="931" y="0"/>
                    </a:lnTo>
                    <a:lnTo>
                      <a:pt x="846" y="0"/>
                    </a:lnTo>
                    <a:close/>
                    <a:moveTo>
                      <a:pt x="4699" y="593"/>
                    </a:moveTo>
                    <a:lnTo>
                      <a:pt x="4656" y="550"/>
                    </a:lnTo>
                    <a:lnTo>
                      <a:pt x="4614" y="593"/>
                    </a:lnTo>
                    <a:lnTo>
                      <a:pt x="4699" y="593"/>
                    </a:lnTo>
                    <a:close/>
                    <a:moveTo>
                      <a:pt x="4656" y="550"/>
                    </a:moveTo>
                    <a:lnTo>
                      <a:pt x="4699" y="550"/>
                    </a:lnTo>
                    <a:lnTo>
                      <a:pt x="4741" y="550"/>
                    </a:lnTo>
                    <a:lnTo>
                      <a:pt x="4783" y="550"/>
                    </a:lnTo>
                    <a:lnTo>
                      <a:pt x="4741" y="508"/>
                    </a:lnTo>
                    <a:lnTo>
                      <a:pt x="4699" y="508"/>
                    </a:lnTo>
                    <a:lnTo>
                      <a:pt x="4656" y="508"/>
                    </a:lnTo>
                    <a:lnTo>
                      <a:pt x="4656" y="550"/>
                    </a:lnTo>
                    <a:close/>
                    <a:moveTo>
                      <a:pt x="4741" y="423"/>
                    </a:moveTo>
                    <a:lnTo>
                      <a:pt x="4783" y="466"/>
                    </a:lnTo>
                    <a:lnTo>
                      <a:pt x="4741" y="466"/>
                    </a:lnTo>
                    <a:lnTo>
                      <a:pt x="4741" y="423"/>
                    </a:lnTo>
                    <a:close/>
                    <a:moveTo>
                      <a:pt x="4826" y="423"/>
                    </a:moveTo>
                    <a:lnTo>
                      <a:pt x="4868" y="423"/>
                    </a:lnTo>
                    <a:lnTo>
                      <a:pt x="4826" y="466"/>
                    </a:lnTo>
                    <a:lnTo>
                      <a:pt x="4826" y="423"/>
                    </a:lnTo>
                    <a:close/>
                    <a:moveTo>
                      <a:pt x="4529" y="720"/>
                    </a:moveTo>
                    <a:lnTo>
                      <a:pt x="4572" y="720"/>
                    </a:lnTo>
                    <a:lnTo>
                      <a:pt x="4572" y="762"/>
                    </a:lnTo>
                    <a:lnTo>
                      <a:pt x="4529" y="762"/>
                    </a:lnTo>
                    <a:lnTo>
                      <a:pt x="4529" y="720"/>
                    </a:lnTo>
                    <a:close/>
                  </a:path>
                </a:pathLst>
              </a:custGeom>
              <a:grpFill/>
              <a:ln w="12700" cap="flat" cmpd="sng">
                <a:solidFill>
                  <a:schemeClr val="tx1"/>
                </a:solidFill>
                <a:prstDash val="solid"/>
                <a:bevel/>
                <a:headEnd/>
                <a:tailEnd/>
              </a:ln>
            </p:spPr>
            <p:txBody>
              <a:bodyPr/>
              <a:lstStyle/>
              <a:p>
                <a:endParaRPr lang="nl-NL"/>
              </a:p>
            </p:txBody>
          </p:sp>
          <p:sp>
            <p:nvSpPr>
              <p:cNvPr id="135" name="Freeform 554">
                <a:extLst>
                  <a:ext uri="{FF2B5EF4-FFF2-40B4-BE49-F238E27FC236}">
                    <a16:creationId xmlns:a16="http://schemas.microsoft.com/office/drawing/2014/main" id="{401873F2-715D-B3A9-10A9-0D6D625FD8A5}"/>
                  </a:ext>
                </a:extLst>
              </p:cNvPr>
              <p:cNvSpPr>
                <a:spLocks/>
              </p:cNvSpPr>
              <p:nvPr/>
            </p:nvSpPr>
            <p:spPr bwMode="auto">
              <a:xfrm>
                <a:off x="735" y="3154"/>
                <a:ext cx="337" cy="357"/>
              </a:xfrm>
              <a:custGeom>
                <a:avLst/>
                <a:gdLst/>
                <a:ahLst/>
                <a:cxnLst>
                  <a:cxn ang="0">
                    <a:pos x="931" y="465"/>
                  </a:cxn>
                  <a:cxn ang="0">
                    <a:pos x="973" y="465"/>
                  </a:cxn>
                  <a:cxn ang="0">
                    <a:pos x="1058" y="465"/>
                  </a:cxn>
                  <a:cxn ang="0">
                    <a:pos x="1100" y="381"/>
                  </a:cxn>
                  <a:cxn ang="0">
                    <a:pos x="1058" y="381"/>
                  </a:cxn>
                  <a:cxn ang="0">
                    <a:pos x="973" y="381"/>
                  </a:cxn>
                  <a:cxn ang="0">
                    <a:pos x="804" y="381"/>
                  </a:cxn>
                  <a:cxn ang="0">
                    <a:pos x="677" y="211"/>
                  </a:cxn>
                  <a:cxn ang="0">
                    <a:pos x="677" y="127"/>
                  </a:cxn>
                  <a:cxn ang="0">
                    <a:pos x="889" y="42"/>
                  </a:cxn>
                  <a:cxn ang="0">
                    <a:pos x="1058" y="127"/>
                  </a:cxn>
                  <a:cxn ang="0">
                    <a:pos x="1185" y="169"/>
                  </a:cxn>
                  <a:cxn ang="0">
                    <a:pos x="1227" y="211"/>
                  </a:cxn>
                  <a:cxn ang="0">
                    <a:pos x="1227" y="211"/>
                  </a:cxn>
                  <a:cxn ang="0">
                    <a:pos x="1227" y="169"/>
                  </a:cxn>
                  <a:cxn ang="0">
                    <a:pos x="1397" y="211"/>
                  </a:cxn>
                  <a:cxn ang="0">
                    <a:pos x="1312" y="254"/>
                  </a:cxn>
                  <a:cxn ang="0">
                    <a:pos x="1185" y="423"/>
                  </a:cxn>
                  <a:cxn ang="0">
                    <a:pos x="1185" y="592"/>
                  </a:cxn>
                  <a:cxn ang="0">
                    <a:pos x="1397" y="931"/>
                  </a:cxn>
                  <a:cxn ang="0">
                    <a:pos x="1397" y="1100"/>
                  </a:cxn>
                  <a:cxn ang="0">
                    <a:pos x="1312" y="1354"/>
                  </a:cxn>
                  <a:cxn ang="0">
                    <a:pos x="1312" y="1524"/>
                  </a:cxn>
                  <a:cxn ang="0">
                    <a:pos x="1058" y="1397"/>
                  </a:cxn>
                  <a:cxn ang="0">
                    <a:pos x="1100" y="1270"/>
                  </a:cxn>
                  <a:cxn ang="0">
                    <a:pos x="931" y="1185"/>
                  </a:cxn>
                  <a:cxn ang="0">
                    <a:pos x="846" y="1185"/>
                  </a:cxn>
                  <a:cxn ang="0">
                    <a:pos x="592" y="1185"/>
                  </a:cxn>
                  <a:cxn ang="0">
                    <a:pos x="550" y="1185"/>
                  </a:cxn>
                  <a:cxn ang="0">
                    <a:pos x="465" y="1143"/>
                  </a:cxn>
                  <a:cxn ang="0">
                    <a:pos x="423" y="1016"/>
                  </a:cxn>
                  <a:cxn ang="0">
                    <a:pos x="338" y="931"/>
                  </a:cxn>
                  <a:cxn ang="0">
                    <a:pos x="254" y="846"/>
                  </a:cxn>
                  <a:cxn ang="0">
                    <a:pos x="211" y="804"/>
                  </a:cxn>
                  <a:cxn ang="0">
                    <a:pos x="84" y="719"/>
                  </a:cxn>
                  <a:cxn ang="0">
                    <a:pos x="0" y="677"/>
                  </a:cxn>
                  <a:cxn ang="0">
                    <a:pos x="42" y="550"/>
                  </a:cxn>
                  <a:cxn ang="0">
                    <a:pos x="211" y="508"/>
                  </a:cxn>
                  <a:cxn ang="0">
                    <a:pos x="338" y="465"/>
                  </a:cxn>
                  <a:cxn ang="0">
                    <a:pos x="381" y="423"/>
                  </a:cxn>
                  <a:cxn ang="0">
                    <a:pos x="677" y="423"/>
                  </a:cxn>
                  <a:cxn ang="0">
                    <a:pos x="762" y="508"/>
                  </a:cxn>
                  <a:cxn ang="0">
                    <a:pos x="846" y="508"/>
                  </a:cxn>
                  <a:cxn ang="0">
                    <a:pos x="762" y="508"/>
                  </a:cxn>
                  <a:cxn ang="0">
                    <a:pos x="804" y="508"/>
                  </a:cxn>
                  <a:cxn ang="0">
                    <a:pos x="846" y="465"/>
                  </a:cxn>
                </a:cxnLst>
                <a:rect l="0" t="0" r="r" b="b"/>
                <a:pathLst>
                  <a:path w="1439" h="1524">
                    <a:moveTo>
                      <a:pt x="846" y="465"/>
                    </a:moveTo>
                    <a:lnTo>
                      <a:pt x="889" y="465"/>
                    </a:lnTo>
                    <a:lnTo>
                      <a:pt x="931" y="465"/>
                    </a:lnTo>
                    <a:lnTo>
                      <a:pt x="931" y="465"/>
                    </a:lnTo>
                    <a:lnTo>
                      <a:pt x="973" y="465"/>
                    </a:lnTo>
                    <a:lnTo>
                      <a:pt x="973" y="465"/>
                    </a:lnTo>
                    <a:lnTo>
                      <a:pt x="1016" y="465"/>
                    </a:lnTo>
                    <a:lnTo>
                      <a:pt x="1016" y="465"/>
                    </a:lnTo>
                    <a:lnTo>
                      <a:pt x="1058" y="465"/>
                    </a:lnTo>
                    <a:lnTo>
                      <a:pt x="1100" y="423"/>
                    </a:lnTo>
                    <a:lnTo>
                      <a:pt x="1100" y="381"/>
                    </a:lnTo>
                    <a:lnTo>
                      <a:pt x="1100" y="381"/>
                    </a:lnTo>
                    <a:lnTo>
                      <a:pt x="1100" y="338"/>
                    </a:lnTo>
                    <a:lnTo>
                      <a:pt x="1058" y="338"/>
                    </a:lnTo>
                    <a:lnTo>
                      <a:pt x="1058" y="381"/>
                    </a:lnTo>
                    <a:lnTo>
                      <a:pt x="1016" y="381"/>
                    </a:lnTo>
                    <a:lnTo>
                      <a:pt x="1016" y="381"/>
                    </a:lnTo>
                    <a:lnTo>
                      <a:pt x="973" y="381"/>
                    </a:lnTo>
                    <a:lnTo>
                      <a:pt x="973" y="381"/>
                    </a:lnTo>
                    <a:lnTo>
                      <a:pt x="889" y="381"/>
                    </a:lnTo>
                    <a:lnTo>
                      <a:pt x="804" y="381"/>
                    </a:lnTo>
                    <a:lnTo>
                      <a:pt x="762" y="296"/>
                    </a:lnTo>
                    <a:lnTo>
                      <a:pt x="719" y="211"/>
                    </a:lnTo>
                    <a:lnTo>
                      <a:pt x="677" y="211"/>
                    </a:lnTo>
                    <a:lnTo>
                      <a:pt x="677" y="211"/>
                    </a:lnTo>
                    <a:lnTo>
                      <a:pt x="635" y="127"/>
                    </a:lnTo>
                    <a:lnTo>
                      <a:pt x="677" y="127"/>
                    </a:lnTo>
                    <a:lnTo>
                      <a:pt x="762" y="42"/>
                    </a:lnTo>
                    <a:lnTo>
                      <a:pt x="762" y="0"/>
                    </a:lnTo>
                    <a:lnTo>
                      <a:pt x="889" y="42"/>
                    </a:lnTo>
                    <a:lnTo>
                      <a:pt x="931" y="42"/>
                    </a:lnTo>
                    <a:lnTo>
                      <a:pt x="1058" y="127"/>
                    </a:lnTo>
                    <a:lnTo>
                      <a:pt x="1058" y="127"/>
                    </a:lnTo>
                    <a:lnTo>
                      <a:pt x="1143" y="169"/>
                    </a:lnTo>
                    <a:lnTo>
                      <a:pt x="1185" y="169"/>
                    </a:lnTo>
                    <a:lnTo>
                      <a:pt x="1185" y="169"/>
                    </a:lnTo>
                    <a:lnTo>
                      <a:pt x="1185" y="169"/>
                    </a:lnTo>
                    <a:lnTo>
                      <a:pt x="1185" y="169"/>
                    </a:lnTo>
                    <a:lnTo>
                      <a:pt x="1227" y="211"/>
                    </a:lnTo>
                    <a:lnTo>
                      <a:pt x="1227" y="211"/>
                    </a:lnTo>
                    <a:lnTo>
                      <a:pt x="1227" y="254"/>
                    </a:lnTo>
                    <a:lnTo>
                      <a:pt x="1227" y="211"/>
                    </a:lnTo>
                    <a:lnTo>
                      <a:pt x="1227" y="211"/>
                    </a:lnTo>
                    <a:lnTo>
                      <a:pt x="1185" y="169"/>
                    </a:lnTo>
                    <a:lnTo>
                      <a:pt x="1227" y="169"/>
                    </a:lnTo>
                    <a:lnTo>
                      <a:pt x="1312" y="169"/>
                    </a:lnTo>
                    <a:lnTo>
                      <a:pt x="1312" y="169"/>
                    </a:lnTo>
                    <a:lnTo>
                      <a:pt x="1397" y="211"/>
                    </a:lnTo>
                    <a:lnTo>
                      <a:pt x="1439" y="211"/>
                    </a:lnTo>
                    <a:lnTo>
                      <a:pt x="1439" y="211"/>
                    </a:lnTo>
                    <a:lnTo>
                      <a:pt x="1312" y="254"/>
                    </a:lnTo>
                    <a:lnTo>
                      <a:pt x="1270" y="296"/>
                    </a:lnTo>
                    <a:lnTo>
                      <a:pt x="1227" y="338"/>
                    </a:lnTo>
                    <a:lnTo>
                      <a:pt x="1185" y="423"/>
                    </a:lnTo>
                    <a:lnTo>
                      <a:pt x="1185" y="465"/>
                    </a:lnTo>
                    <a:lnTo>
                      <a:pt x="1185" y="550"/>
                    </a:lnTo>
                    <a:lnTo>
                      <a:pt x="1185" y="592"/>
                    </a:lnTo>
                    <a:lnTo>
                      <a:pt x="1227" y="635"/>
                    </a:lnTo>
                    <a:lnTo>
                      <a:pt x="1397" y="846"/>
                    </a:lnTo>
                    <a:lnTo>
                      <a:pt x="1397" y="931"/>
                    </a:lnTo>
                    <a:lnTo>
                      <a:pt x="1439" y="973"/>
                    </a:lnTo>
                    <a:lnTo>
                      <a:pt x="1439" y="1016"/>
                    </a:lnTo>
                    <a:lnTo>
                      <a:pt x="1397" y="1100"/>
                    </a:lnTo>
                    <a:lnTo>
                      <a:pt x="1354" y="1227"/>
                    </a:lnTo>
                    <a:lnTo>
                      <a:pt x="1312" y="1312"/>
                    </a:lnTo>
                    <a:lnTo>
                      <a:pt x="1312" y="1354"/>
                    </a:lnTo>
                    <a:lnTo>
                      <a:pt x="1397" y="1524"/>
                    </a:lnTo>
                    <a:lnTo>
                      <a:pt x="1312" y="1524"/>
                    </a:lnTo>
                    <a:lnTo>
                      <a:pt x="1312" y="1524"/>
                    </a:lnTo>
                    <a:lnTo>
                      <a:pt x="1270" y="1481"/>
                    </a:lnTo>
                    <a:lnTo>
                      <a:pt x="1100" y="1397"/>
                    </a:lnTo>
                    <a:lnTo>
                      <a:pt x="1058" y="1397"/>
                    </a:lnTo>
                    <a:lnTo>
                      <a:pt x="1058" y="1354"/>
                    </a:lnTo>
                    <a:lnTo>
                      <a:pt x="1058" y="1312"/>
                    </a:lnTo>
                    <a:lnTo>
                      <a:pt x="1100" y="1270"/>
                    </a:lnTo>
                    <a:lnTo>
                      <a:pt x="1016" y="1227"/>
                    </a:lnTo>
                    <a:lnTo>
                      <a:pt x="1016" y="1227"/>
                    </a:lnTo>
                    <a:lnTo>
                      <a:pt x="931" y="1185"/>
                    </a:lnTo>
                    <a:lnTo>
                      <a:pt x="931" y="1227"/>
                    </a:lnTo>
                    <a:lnTo>
                      <a:pt x="889" y="1227"/>
                    </a:lnTo>
                    <a:lnTo>
                      <a:pt x="846" y="1185"/>
                    </a:lnTo>
                    <a:lnTo>
                      <a:pt x="804" y="1185"/>
                    </a:lnTo>
                    <a:lnTo>
                      <a:pt x="762" y="1185"/>
                    </a:lnTo>
                    <a:lnTo>
                      <a:pt x="592" y="1185"/>
                    </a:lnTo>
                    <a:lnTo>
                      <a:pt x="592" y="1185"/>
                    </a:lnTo>
                    <a:lnTo>
                      <a:pt x="550" y="1185"/>
                    </a:lnTo>
                    <a:lnTo>
                      <a:pt x="550" y="1185"/>
                    </a:lnTo>
                    <a:lnTo>
                      <a:pt x="508" y="1185"/>
                    </a:lnTo>
                    <a:lnTo>
                      <a:pt x="508" y="1143"/>
                    </a:lnTo>
                    <a:lnTo>
                      <a:pt x="465" y="1143"/>
                    </a:lnTo>
                    <a:lnTo>
                      <a:pt x="423" y="1100"/>
                    </a:lnTo>
                    <a:lnTo>
                      <a:pt x="423" y="1016"/>
                    </a:lnTo>
                    <a:lnTo>
                      <a:pt x="423" y="1016"/>
                    </a:lnTo>
                    <a:lnTo>
                      <a:pt x="381" y="973"/>
                    </a:lnTo>
                    <a:lnTo>
                      <a:pt x="381" y="973"/>
                    </a:lnTo>
                    <a:lnTo>
                      <a:pt x="338" y="931"/>
                    </a:lnTo>
                    <a:lnTo>
                      <a:pt x="296" y="931"/>
                    </a:lnTo>
                    <a:lnTo>
                      <a:pt x="254" y="889"/>
                    </a:lnTo>
                    <a:lnTo>
                      <a:pt x="254" y="846"/>
                    </a:lnTo>
                    <a:lnTo>
                      <a:pt x="254" y="804"/>
                    </a:lnTo>
                    <a:lnTo>
                      <a:pt x="254" y="804"/>
                    </a:lnTo>
                    <a:lnTo>
                      <a:pt x="211" y="804"/>
                    </a:lnTo>
                    <a:lnTo>
                      <a:pt x="169" y="762"/>
                    </a:lnTo>
                    <a:lnTo>
                      <a:pt x="127" y="719"/>
                    </a:lnTo>
                    <a:lnTo>
                      <a:pt x="84" y="719"/>
                    </a:lnTo>
                    <a:lnTo>
                      <a:pt x="42" y="719"/>
                    </a:lnTo>
                    <a:lnTo>
                      <a:pt x="42" y="677"/>
                    </a:lnTo>
                    <a:lnTo>
                      <a:pt x="0" y="677"/>
                    </a:lnTo>
                    <a:lnTo>
                      <a:pt x="0" y="592"/>
                    </a:lnTo>
                    <a:lnTo>
                      <a:pt x="42" y="550"/>
                    </a:lnTo>
                    <a:lnTo>
                      <a:pt x="42" y="550"/>
                    </a:lnTo>
                    <a:lnTo>
                      <a:pt x="127" y="508"/>
                    </a:lnTo>
                    <a:lnTo>
                      <a:pt x="169" y="550"/>
                    </a:lnTo>
                    <a:lnTo>
                      <a:pt x="211" y="508"/>
                    </a:lnTo>
                    <a:lnTo>
                      <a:pt x="211" y="508"/>
                    </a:lnTo>
                    <a:lnTo>
                      <a:pt x="296" y="465"/>
                    </a:lnTo>
                    <a:lnTo>
                      <a:pt x="338" y="465"/>
                    </a:lnTo>
                    <a:lnTo>
                      <a:pt x="338" y="465"/>
                    </a:lnTo>
                    <a:lnTo>
                      <a:pt x="338" y="465"/>
                    </a:lnTo>
                    <a:lnTo>
                      <a:pt x="381" y="423"/>
                    </a:lnTo>
                    <a:lnTo>
                      <a:pt x="465" y="381"/>
                    </a:lnTo>
                    <a:lnTo>
                      <a:pt x="508" y="381"/>
                    </a:lnTo>
                    <a:lnTo>
                      <a:pt x="677" y="423"/>
                    </a:lnTo>
                    <a:lnTo>
                      <a:pt x="677" y="423"/>
                    </a:lnTo>
                    <a:lnTo>
                      <a:pt x="677" y="423"/>
                    </a:lnTo>
                    <a:lnTo>
                      <a:pt x="762" y="508"/>
                    </a:lnTo>
                    <a:lnTo>
                      <a:pt x="762" y="508"/>
                    </a:lnTo>
                    <a:lnTo>
                      <a:pt x="804" y="508"/>
                    </a:lnTo>
                    <a:lnTo>
                      <a:pt x="846" y="508"/>
                    </a:lnTo>
                    <a:lnTo>
                      <a:pt x="804" y="508"/>
                    </a:lnTo>
                    <a:lnTo>
                      <a:pt x="762" y="508"/>
                    </a:lnTo>
                    <a:lnTo>
                      <a:pt x="762" y="508"/>
                    </a:lnTo>
                    <a:lnTo>
                      <a:pt x="762" y="465"/>
                    </a:lnTo>
                    <a:lnTo>
                      <a:pt x="762" y="508"/>
                    </a:lnTo>
                    <a:lnTo>
                      <a:pt x="804" y="508"/>
                    </a:lnTo>
                    <a:lnTo>
                      <a:pt x="846" y="465"/>
                    </a:lnTo>
                    <a:lnTo>
                      <a:pt x="846" y="465"/>
                    </a:lnTo>
                    <a:lnTo>
                      <a:pt x="846" y="465"/>
                    </a:lnTo>
                    <a:close/>
                  </a:path>
                </a:pathLst>
              </a:custGeom>
              <a:grpFill/>
              <a:ln w="12700" cap="flat" cmpd="sng">
                <a:solidFill>
                  <a:schemeClr val="tx1"/>
                </a:solidFill>
                <a:prstDash val="solid"/>
                <a:bevel/>
                <a:headEnd/>
                <a:tailEnd/>
              </a:ln>
            </p:spPr>
            <p:txBody>
              <a:bodyPr/>
              <a:lstStyle/>
              <a:p>
                <a:endParaRPr lang="nl-NL"/>
              </a:p>
            </p:txBody>
          </p:sp>
          <p:sp>
            <p:nvSpPr>
              <p:cNvPr id="136" name="Freeform 555">
                <a:extLst>
                  <a:ext uri="{FF2B5EF4-FFF2-40B4-BE49-F238E27FC236}">
                    <a16:creationId xmlns:a16="http://schemas.microsoft.com/office/drawing/2014/main" id="{0B11E1FC-5706-A09C-BD27-BAA31029D114}"/>
                  </a:ext>
                </a:extLst>
              </p:cNvPr>
              <p:cNvSpPr>
                <a:spLocks/>
              </p:cNvSpPr>
              <p:nvPr/>
            </p:nvSpPr>
            <p:spPr bwMode="auto">
              <a:xfrm>
                <a:off x="337" y="2925"/>
                <a:ext cx="646" cy="308"/>
              </a:xfrm>
              <a:custGeom>
                <a:avLst/>
                <a:gdLst/>
                <a:ahLst/>
                <a:cxnLst>
                  <a:cxn ang="0">
                    <a:pos x="1355" y="1185"/>
                  </a:cxn>
                  <a:cxn ang="0">
                    <a:pos x="1186" y="1143"/>
                  </a:cxn>
                  <a:cxn ang="0">
                    <a:pos x="1270" y="1101"/>
                  </a:cxn>
                  <a:cxn ang="0">
                    <a:pos x="1143" y="1016"/>
                  </a:cxn>
                  <a:cxn ang="0">
                    <a:pos x="1101" y="847"/>
                  </a:cxn>
                  <a:cxn ang="0">
                    <a:pos x="932" y="720"/>
                  </a:cxn>
                  <a:cxn ang="0">
                    <a:pos x="805" y="635"/>
                  </a:cxn>
                  <a:cxn ang="0">
                    <a:pos x="678" y="550"/>
                  </a:cxn>
                  <a:cxn ang="0">
                    <a:pos x="635" y="635"/>
                  </a:cxn>
                  <a:cxn ang="0">
                    <a:pos x="635" y="635"/>
                  </a:cxn>
                  <a:cxn ang="0">
                    <a:pos x="424" y="762"/>
                  </a:cxn>
                  <a:cxn ang="0">
                    <a:pos x="339" y="762"/>
                  </a:cxn>
                  <a:cxn ang="0">
                    <a:pos x="212" y="931"/>
                  </a:cxn>
                  <a:cxn ang="0">
                    <a:pos x="212" y="974"/>
                  </a:cxn>
                  <a:cxn ang="0">
                    <a:pos x="170" y="931"/>
                  </a:cxn>
                  <a:cxn ang="0">
                    <a:pos x="212" y="847"/>
                  </a:cxn>
                  <a:cxn ang="0">
                    <a:pos x="85" y="762"/>
                  </a:cxn>
                  <a:cxn ang="0">
                    <a:pos x="0" y="466"/>
                  </a:cxn>
                  <a:cxn ang="0">
                    <a:pos x="212" y="212"/>
                  </a:cxn>
                  <a:cxn ang="0">
                    <a:pos x="508" y="127"/>
                  </a:cxn>
                  <a:cxn ang="0">
                    <a:pos x="805" y="127"/>
                  </a:cxn>
                  <a:cxn ang="0">
                    <a:pos x="847" y="0"/>
                  </a:cxn>
                  <a:cxn ang="0">
                    <a:pos x="932" y="42"/>
                  </a:cxn>
                  <a:cxn ang="0">
                    <a:pos x="889" y="85"/>
                  </a:cxn>
                  <a:cxn ang="0">
                    <a:pos x="847" y="85"/>
                  </a:cxn>
                  <a:cxn ang="0">
                    <a:pos x="932" y="169"/>
                  </a:cxn>
                  <a:cxn ang="0">
                    <a:pos x="1101" y="169"/>
                  </a:cxn>
                  <a:cxn ang="0">
                    <a:pos x="1228" y="169"/>
                  </a:cxn>
                  <a:cxn ang="0">
                    <a:pos x="1313" y="254"/>
                  </a:cxn>
                  <a:cxn ang="0">
                    <a:pos x="1524" y="254"/>
                  </a:cxn>
                  <a:cxn ang="0">
                    <a:pos x="1651" y="296"/>
                  </a:cxn>
                  <a:cxn ang="0">
                    <a:pos x="1694" y="381"/>
                  </a:cxn>
                  <a:cxn ang="0">
                    <a:pos x="1863" y="677"/>
                  </a:cxn>
                  <a:cxn ang="0">
                    <a:pos x="2117" y="720"/>
                  </a:cxn>
                  <a:cxn ang="0">
                    <a:pos x="2286" y="804"/>
                  </a:cxn>
                  <a:cxn ang="0">
                    <a:pos x="2456" y="762"/>
                  </a:cxn>
                  <a:cxn ang="0">
                    <a:pos x="2625" y="762"/>
                  </a:cxn>
                  <a:cxn ang="0">
                    <a:pos x="2710" y="847"/>
                  </a:cxn>
                  <a:cxn ang="0">
                    <a:pos x="2710" y="889"/>
                  </a:cxn>
                  <a:cxn ang="0">
                    <a:pos x="2667" y="804"/>
                  </a:cxn>
                  <a:cxn ang="0">
                    <a:pos x="2583" y="762"/>
                  </a:cxn>
                  <a:cxn ang="0">
                    <a:pos x="2329" y="847"/>
                  </a:cxn>
                  <a:cxn ang="0">
                    <a:pos x="2371" y="974"/>
                  </a:cxn>
                  <a:cxn ang="0">
                    <a:pos x="2329" y="1016"/>
                  </a:cxn>
                  <a:cxn ang="0">
                    <a:pos x="2329" y="1058"/>
                  </a:cxn>
                  <a:cxn ang="0">
                    <a:pos x="2159" y="1185"/>
                  </a:cxn>
                  <a:cxn ang="0">
                    <a:pos x="1948" y="1270"/>
                  </a:cxn>
                  <a:cxn ang="0">
                    <a:pos x="1694" y="1312"/>
                  </a:cxn>
                  <a:cxn ang="0">
                    <a:pos x="1482" y="1228"/>
                  </a:cxn>
                  <a:cxn ang="0">
                    <a:pos x="1440" y="1143"/>
                  </a:cxn>
                </a:cxnLst>
                <a:rect l="0" t="0" r="r" b="b"/>
                <a:pathLst>
                  <a:path w="2752" h="1312">
                    <a:moveTo>
                      <a:pt x="1440" y="1143"/>
                    </a:moveTo>
                    <a:lnTo>
                      <a:pt x="1397" y="1185"/>
                    </a:lnTo>
                    <a:lnTo>
                      <a:pt x="1355" y="1185"/>
                    </a:lnTo>
                    <a:lnTo>
                      <a:pt x="1355" y="1185"/>
                    </a:lnTo>
                    <a:lnTo>
                      <a:pt x="1313" y="1185"/>
                    </a:lnTo>
                    <a:lnTo>
                      <a:pt x="1313" y="1185"/>
                    </a:lnTo>
                    <a:lnTo>
                      <a:pt x="1228" y="1143"/>
                    </a:lnTo>
                    <a:lnTo>
                      <a:pt x="1186" y="1143"/>
                    </a:lnTo>
                    <a:lnTo>
                      <a:pt x="1186" y="1143"/>
                    </a:lnTo>
                    <a:lnTo>
                      <a:pt x="1270" y="1101"/>
                    </a:lnTo>
                    <a:lnTo>
                      <a:pt x="1270" y="1058"/>
                    </a:lnTo>
                    <a:lnTo>
                      <a:pt x="1270" y="1101"/>
                    </a:lnTo>
                    <a:lnTo>
                      <a:pt x="1186" y="1143"/>
                    </a:lnTo>
                    <a:lnTo>
                      <a:pt x="1143" y="1143"/>
                    </a:lnTo>
                    <a:lnTo>
                      <a:pt x="1186" y="1058"/>
                    </a:lnTo>
                    <a:lnTo>
                      <a:pt x="1143" y="1016"/>
                    </a:lnTo>
                    <a:lnTo>
                      <a:pt x="1143" y="931"/>
                    </a:lnTo>
                    <a:lnTo>
                      <a:pt x="1101" y="931"/>
                    </a:lnTo>
                    <a:lnTo>
                      <a:pt x="1101" y="889"/>
                    </a:lnTo>
                    <a:lnTo>
                      <a:pt x="1101" y="847"/>
                    </a:lnTo>
                    <a:lnTo>
                      <a:pt x="1059" y="762"/>
                    </a:lnTo>
                    <a:lnTo>
                      <a:pt x="974" y="720"/>
                    </a:lnTo>
                    <a:lnTo>
                      <a:pt x="932" y="762"/>
                    </a:lnTo>
                    <a:lnTo>
                      <a:pt x="932" y="720"/>
                    </a:lnTo>
                    <a:lnTo>
                      <a:pt x="805" y="677"/>
                    </a:lnTo>
                    <a:lnTo>
                      <a:pt x="805" y="677"/>
                    </a:lnTo>
                    <a:lnTo>
                      <a:pt x="805" y="677"/>
                    </a:lnTo>
                    <a:lnTo>
                      <a:pt x="805" y="635"/>
                    </a:lnTo>
                    <a:lnTo>
                      <a:pt x="805" y="635"/>
                    </a:lnTo>
                    <a:lnTo>
                      <a:pt x="805" y="593"/>
                    </a:lnTo>
                    <a:lnTo>
                      <a:pt x="762" y="550"/>
                    </a:lnTo>
                    <a:lnTo>
                      <a:pt x="678" y="550"/>
                    </a:lnTo>
                    <a:lnTo>
                      <a:pt x="635" y="550"/>
                    </a:lnTo>
                    <a:lnTo>
                      <a:pt x="593" y="593"/>
                    </a:lnTo>
                    <a:lnTo>
                      <a:pt x="593" y="635"/>
                    </a:lnTo>
                    <a:lnTo>
                      <a:pt x="635" y="635"/>
                    </a:lnTo>
                    <a:lnTo>
                      <a:pt x="678" y="593"/>
                    </a:lnTo>
                    <a:lnTo>
                      <a:pt x="720" y="635"/>
                    </a:lnTo>
                    <a:lnTo>
                      <a:pt x="678" y="593"/>
                    </a:lnTo>
                    <a:lnTo>
                      <a:pt x="635" y="635"/>
                    </a:lnTo>
                    <a:lnTo>
                      <a:pt x="551" y="635"/>
                    </a:lnTo>
                    <a:lnTo>
                      <a:pt x="508" y="720"/>
                    </a:lnTo>
                    <a:lnTo>
                      <a:pt x="424" y="762"/>
                    </a:lnTo>
                    <a:lnTo>
                      <a:pt x="424" y="762"/>
                    </a:lnTo>
                    <a:lnTo>
                      <a:pt x="424" y="762"/>
                    </a:lnTo>
                    <a:lnTo>
                      <a:pt x="424" y="762"/>
                    </a:lnTo>
                    <a:lnTo>
                      <a:pt x="381" y="762"/>
                    </a:lnTo>
                    <a:lnTo>
                      <a:pt x="339" y="762"/>
                    </a:lnTo>
                    <a:lnTo>
                      <a:pt x="254" y="804"/>
                    </a:lnTo>
                    <a:lnTo>
                      <a:pt x="212" y="847"/>
                    </a:lnTo>
                    <a:lnTo>
                      <a:pt x="212" y="931"/>
                    </a:lnTo>
                    <a:lnTo>
                      <a:pt x="212" y="931"/>
                    </a:lnTo>
                    <a:lnTo>
                      <a:pt x="254" y="931"/>
                    </a:lnTo>
                    <a:lnTo>
                      <a:pt x="254" y="974"/>
                    </a:lnTo>
                    <a:lnTo>
                      <a:pt x="212" y="974"/>
                    </a:lnTo>
                    <a:lnTo>
                      <a:pt x="212" y="974"/>
                    </a:lnTo>
                    <a:lnTo>
                      <a:pt x="212" y="974"/>
                    </a:lnTo>
                    <a:lnTo>
                      <a:pt x="170" y="931"/>
                    </a:lnTo>
                    <a:lnTo>
                      <a:pt x="170" y="931"/>
                    </a:lnTo>
                    <a:lnTo>
                      <a:pt x="170" y="931"/>
                    </a:lnTo>
                    <a:lnTo>
                      <a:pt x="212" y="931"/>
                    </a:lnTo>
                    <a:lnTo>
                      <a:pt x="212" y="931"/>
                    </a:lnTo>
                    <a:lnTo>
                      <a:pt x="212" y="847"/>
                    </a:lnTo>
                    <a:lnTo>
                      <a:pt x="212" y="847"/>
                    </a:lnTo>
                    <a:lnTo>
                      <a:pt x="170" y="804"/>
                    </a:lnTo>
                    <a:lnTo>
                      <a:pt x="127" y="804"/>
                    </a:lnTo>
                    <a:lnTo>
                      <a:pt x="85" y="804"/>
                    </a:lnTo>
                    <a:lnTo>
                      <a:pt x="85" y="762"/>
                    </a:lnTo>
                    <a:lnTo>
                      <a:pt x="43" y="720"/>
                    </a:lnTo>
                    <a:lnTo>
                      <a:pt x="0" y="635"/>
                    </a:lnTo>
                    <a:lnTo>
                      <a:pt x="0" y="550"/>
                    </a:lnTo>
                    <a:lnTo>
                      <a:pt x="0" y="466"/>
                    </a:lnTo>
                    <a:lnTo>
                      <a:pt x="0" y="423"/>
                    </a:lnTo>
                    <a:lnTo>
                      <a:pt x="43" y="339"/>
                    </a:lnTo>
                    <a:lnTo>
                      <a:pt x="127" y="254"/>
                    </a:lnTo>
                    <a:lnTo>
                      <a:pt x="212" y="212"/>
                    </a:lnTo>
                    <a:lnTo>
                      <a:pt x="254" y="212"/>
                    </a:lnTo>
                    <a:lnTo>
                      <a:pt x="297" y="212"/>
                    </a:lnTo>
                    <a:lnTo>
                      <a:pt x="466" y="169"/>
                    </a:lnTo>
                    <a:lnTo>
                      <a:pt x="508" y="127"/>
                    </a:lnTo>
                    <a:lnTo>
                      <a:pt x="593" y="127"/>
                    </a:lnTo>
                    <a:lnTo>
                      <a:pt x="678" y="127"/>
                    </a:lnTo>
                    <a:lnTo>
                      <a:pt x="805" y="169"/>
                    </a:lnTo>
                    <a:lnTo>
                      <a:pt x="805" y="127"/>
                    </a:lnTo>
                    <a:lnTo>
                      <a:pt x="805" y="127"/>
                    </a:lnTo>
                    <a:lnTo>
                      <a:pt x="805" y="85"/>
                    </a:lnTo>
                    <a:lnTo>
                      <a:pt x="847" y="42"/>
                    </a:lnTo>
                    <a:lnTo>
                      <a:pt x="847" y="0"/>
                    </a:lnTo>
                    <a:lnTo>
                      <a:pt x="889" y="0"/>
                    </a:lnTo>
                    <a:lnTo>
                      <a:pt x="932" y="0"/>
                    </a:lnTo>
                    <a:lnTo>
                      <a:pt x="889" y="42"/>
                    </a:lnTo>
                    <a:lnTo>
                      <a:pt x="932" y="42"/>
                    </a:lnTo>
                    <a:lnTo>
                      <a:pt x="889" y="85"/>
                    </a:lnTo>
                    <a:lnTo>
                      <a:pt x="889" y="85"/>
                    </a:lnTo>
                    <a:lnTo>
                      <a:pt x="889" y="85"/>
                    </a:lnTo>
                    <a:lnTo>
                      <a:pt x="889" y="85"/>
                    </a:lnTo>
                    <a:lnTo>
                      <a:pt x="889" y="42"/>
                    </a:lnTo>
                    <a:lnTo>
                      <a:pt x="889" y="42"/>
                    </a:lnTo>
                    <a:lnTo>
                      <a:pt x="847" y="42"/>
                    </a:lnTo>
                    <a:lnTo>
                      <a:pt x="847" y="85"/>
                    </a:lnTo>
                    <a:lnTo>
                      <a:pt x="805" y="169"/>
                    </a:lnTo>
                    <a:lnTo>
                      <a:pt x="847" y="169"/>
                    </a:lnTo>
                    <a:lnTo>
                      <a:pt x="889" y="169"/>
                    </a:lnTo>
                    <a:lnTo>
                      <a:pt x="932" y="169"/>
                    </a:lnTo>
                    <a:lnTo>
                      <a:pt x="974" y="169"/>
                    </a:lnTo>
                    <a:lnTo>
                      <a:pt x="974" y="169"/>
                    </a:lnTo>
                    <a:lnTo>
                      <a:pt x="974" y="169"/>
                    </a:lnTo>
                    <a:lnTo>
                      <a:pt x="1101" y="169"/>
                    </a:lnTo>
                    <a:lnTo>
                      <a:pt x="1186" y="127"/>
                    </a:lnTo>
                    <a:lnTo>
                      <a:pt x="1186" y="127"/>
                    </a:lnTo>
                    <a:lnTo>
                      <a:pt x="1228" y="169"/>
                    </a:lnTo>
                    <a:lnTo>
                      <a:pt x="1228" y="169"/>
                    </a:lnTo>
                    <a:lnTo>
                      <a:pt x="1270" y="212"/>
                    </a:lnTo>
                    <a:lnTo>
                      <a:pt x="1270" y="254"/>
                    </a:lnTo>
                    <a:lnTo>
                      <a:pt x="1313" y="254"/>
                    </a:lnTo>
                    <a:lnTo>
                      <a:pt x="1313" y="254"/>
                    </a:lnTo>
                    <a:lnTo>
                      <a:pt x="1355" y="254"/>
                    </a:lnTo>
                    <a:lnTo>
                      <a:pt x="1397" y="254"/>
                    </a:lnTo>
                    <a:lnTo>
                      <a:pt x="1482" y="212"/>
                    </a:lnTo>
                    <a:lnTo>
                      <a:pt x="1524" y="254"/>
                    </a:lnTo>
                    <a:lnTo>
                      <a:pt x="1651" y="254"/>
                    </a:lnTo>
                    <a:lnTo>
                      <a:pt x="1651" y="254"/>
                    </a:lnTo>
                    <a:lnTo>
                      <a:pt x="1651" y="296"/>
                    </a:lnTo>
                    <a:lnTo>
                      <a:pt x="1651" y="296"/>
                    </a:lnTo>
                    <a:lnTo>
                      <a:pt x="1651" y="254"/>
                    </a:lnTo>
                    <a:lnTo>
                      <a:pt x="1694" y="296"/>
                    </a:lnTo>
                    <a:lnTo>
                      <a:pt x="1694" y="381"/>
                    </a:lnTo>
                    <a:lnTo>
                      <a:pt x="1694" y="381"/>
                    </a:lnTo>
                    <a:lnTo>
                      <a:pt x="1736" y="423"/>
                    </a:lnTo>
                    <a:lnTo>
                      <a:pt x="1821" y="508"/>
                    </a:lnTo>
                    <a:lnTo>
                      <a:pt x="1863" y="593"/>
                    </a:lnTo>
                    <a:lnTo>
                      <a:pt x="1863" y="677"/>
                    </a:lnTo>
                    <a:lnTo>
                      <a:pt x="1905" y="677"/>
                    </a:lnTo>
                    <a:lnTo>
                      <a:pt x="1990" y="677"/>
                    </a:lnTo>
                    <a:lnTo>
                      <a:pt x="2032" y="677"/>
                    </a:lnTo>
                    <a:lnTo>
                      <a:pt x="2117" y="720"/>
                    </a:lnTo>
                    <a:lnTo>
                      <a:pt x="2117" y="720"/>
                    </a:lnTo>
                    <a:lnTo>
                      <a:pt x="2244" y="804"/>
                    </a:lnTo>
                    <a:lnTo>
                      <a:pt x="2286" y="804"/>
                    </a:lnTo>
                    <a:lnTo>
                      <a:pt x="2286" y="804"/>
                    </a:lnTo>
                    <a:lnTo>
                      <a:pt x="2286" y="847"/>
                    </a:lnTo>
                    <a:lnTo>
                      <a:pt x="2329" y="847"/>
                    </a:lnTo>
                    <a:lnTo>
                      <a:pt x="2413" y="762"/>
                    </a:lnTo>
                    <a:lnTo>
                      <a:pt x="2456" y="762"/>
                    </a:lnTo>
                    <a:lnTo>
                      <a:pt x="2498" y="762"/>
                    </a:lnTo>
                    <a:lnTo>
                      <a:pt x="2498" y="762"/>
                    </a:lnTo>
                    <a:lnTo>
                      <a:pt x="2625" y="762"/>
                    </a:lnTo>
                    <a:lnTo>
                      <a:pt x="2625" y="762"/>
                    </a:lnTo>
                    <a:lnTo>
                      <a:pt x="2667" y="720"/>
                    </a:lnTo>
                    <a:lnTo>
                      <a:pt x="2710" y="720"/>
                    </a:lnTo>
                    <a:lnTo>
                      <a:pt x="2710" y="804"/>
                    </a:lnTo>
                    <a:lnTo>
                      <a:pt x="2710" y="847"/>
                    </a:lnTo>
                    <a:lnTo>
                      <a:pt x="2752" y="847"/>
                    </a:lnTo>
                    <a:lnTo>
                      <a:pt x="2752" y="847"/>
                    </a:lnTo>
                    <a:lnTo>
                      <a:pt x="2710" y="889"/>
                    </a:lnTo>
                    <a:lnTo>
                      <a:pt x="2710" y="889"/>
                    </a:lnTo>
                    <a:lnTo>
                      <a:pt x="2667" y="889"/>
                    </a:lnTo>
                    <a:lnTo>
                      <a:pt x="2710" y="847"/>
                    </a:lnTo>
                    <a:lnTo>
                      <a:pt x="2710" y="847"/>
                    </a:lnTo>
                    <a:lnTo>
                      <a:pt x="2667" y="804"/>
                    </a:lnTo>
                    <a:lnTo>
                      <a:pt x="2667" y="762"/>
                    </a:lnTo>
                    <a:lnTo>
                      <a:pt x="2625" y="762"/>
                    </a:lnTo>
                    <a:lnTo>
                      <a:pt x="2625" y="804"/>
                    </a:lnTo>
                    <a:lnTo>
                      <a:pt x="2583" y="762"/>
                    </a:lnTo>
                    <a:lnTo>
                      <a:pt x="2456" y="804"/>
                    </a:lnTo>
                    <a:lnTo>
                      <a:pt x="2413" y="804"/>
                    </a:lnTo>
                    <a:lnTo>
                      <a:pt x="2371" y="847"/>
                    </a:lnTo>
                    <a:lnTo>
                      <a:pt x="2329" y="847"/>
                    </a:lnTo>
                    <a:lnTo>
                      <a:pt x="2329" y="889"/>
                    </a:lnTo>
                    <a:lnTo>
                      <a:pt x="2371" y="931"/>
                    </a:lnTo>
                    <a:lnTo>
                      <a:pt x="2371" y="931"/>
                    </a:lnTo>
                    <a:lnTo>
                      <a:pt x="2371" y="974"/>
                    </a:lnTo>
                    <a:lnTo>
                      <a:pt x="2371" y="974"/>
                    </a:lnTo>
                    <a:lnTo>
                      <a:pt x="2371" y="974"/>
                    </a:lnTo>
                    <a:lnTo>
                      <a:pt x="2371" y="974"/>
                    </a:lnTo>
                    <a:lnTo>
                      <a:pt x="2329" y="1016"/>
                    </a:lnTo>
                    <a:lnTo>
                      <a:pt x="2371" y="1016"/>
                    </a:lnTo>
                    <a:lnTo>
                      <a:pt x="2371" y="974"/>
                    </a:lnTo>
                    <a:lnTo>
                      <a:pt x="2329" y="1016"/>
                    </a:lnTo>
                    <a:lnTo>
                      <a:pt x="2329" y="1058"/>
                    </a:lnTo>
                    <a:lnTo>
                      <a:pt x="2286" y="1058"/>
                    </a:lnTo>
                    <a:lnTo>
                      <a:pt x="2244" y="1101"/>
                    </a:lnTo>
                    <a:lnTo>
                      <a:pt x="2202" y="1185"/>
                    </a:lnTo>
                    <a:lnTo>
                      <a:pt x="2159" y="1185"/>
                    </a:lnTo>
                    <a:lnTo>
                      <a:pt x="2117" y="1228"/>
                    </a:lnTo>
                    <a:lnTo>
                      <a:pt x="2075" y="1185"/>
                    </a:lnTo>
                    <a:lnTo>
                      <a:pt x="1990" y="1228"/>
                    </a:lnTo>
                    <a:lnTo>
                      <a:pt x="1948" y="1270"/>
                    </a:lnTo>
                    <a:lnTo>
                      <a:pt x="1863" y="1270"/>
                    </a:lnTo>
                    <a:lnTo>
                      <a:pt x="1863" y="1312"/>
                    </a:lnTo>
                    <a:lnTo>
                      <a:pt x="1736" y="1312"/>
                    </a:lnTo>
                    <a:lnTo>
                      <a:pt x="1694" y="1312"/>
                    </a:lnTo>
                    <a:lnTo>
                      <a:pt x="1609" y="1312"/>
                    </a:lnTo>
                    <a:lnTo>
                      <a:pt x="1567" y="1312"/>
                    </a:lnTo>
                    <a:lnTo>
                      <a:pt x="1567" y="1312"/>
                    </a:lnTo>
                    <a:lnTo>
                      <a:pt x="1482" y="1228"/>
                    </a:lnTo>
                    <a:lnTo>
                      <a:pt x="1482" y="1228"/>
                    </a:lnTo>
                    <a:lnTo>
                      <a:pt x="1482" y="1228"/>
                    </a:lnTo>
                    <a:lnTo>
                      <a:pt x="1440" y="1143"/>
                    </a:lnTo>
                    <a:lnTo>
                      <a:pt x="1440" y="1143"/>
                    </a:lnTo>
                    <a:close/>
                  </a:path>
                </a:pathLst>
              </a:custGeom>
              <a:grpFill/>
              <a:ln w="12700" cap="flat" cmpd="sng">
                <a:solidFill>
                  <a:schemeClr val="tx1"/>
                </a:solidFill>
                <a:prstDash val="solid"/>
                <a:bevel/>
                <a:headEnd/>
                <a:tailEnd/>
              </a:ln>
            </p:spPr>
            <p:txBody>
              <a:bodyPr/>
              <a:lstStyle/>
              <a:p>
                <a:endParaRPr lang="nl-NL"/>
              </a:p>
            </p:txBody>
          </p:sp>
          <p:sp>
            <p:nvSpPr>
              <p:cNvPr id="137" name="Freeform 556">
                <a:extLst>
                  <a:ext uri="{FF2B5EF4-FFF2-40B4-BE49-F238E27FC236}">
                    <a16:creationId xmlns:a16="http://schemas.microsoft.com/office/drawing/2014/main" id="{F7AF9581-7F69-4104-FCA6-D393B986FBCA}"/>
                  </a:ext>
                </a:extLst>
              </p:cNvPr>
              <p:cNvSpPr>
                <a:spLocks/>
              </p:cNvSpPr>
              <p:nvPr/>
            </p:nvSpPr>
            <p:spPr bwMode="auto">
              <a:xfrm>
                <a:off x="268" y="3253"/>
                <a:ext cx="348" cy="169"/>
              </a:xfrm>
              <a:custGeom>
                <a:avLst/>
                <a:gdLst/>
                <a:ahLst/>
                <a:cxnLst>
                  <a:cxn ang="0">
                    <a:pos x="1185" y="0"/>
                  </a:cxn>
                  <a:cxn ang="0">
                    <a:pos x="1228" y="0"/>
                  </a:cxn>
                  <a:cxn ang="0">
                    <a:pos x="1270" y="42"/>
                  </a:cxn>
                  <a:cxn ang="0">
                    <a:pos x="1355" y="85"/>
                  </a:cxn>
                  <a:cxn ang="0">
                    <a:pos x="1397" y="212"/>
                  </a:cxn>
                  <a:cxn ang="0">
                    <a:pos x="1439" y="296"/>
                  </a:cxn>
                  <a:cxn ang="0">
                    <a:pos x="1482" y="296"/>
                  </a:cxn>
                  <a:cxn ang="0">
                    <a:pos x="1482" y="381"/>
                  </a:cxn>
                  <a:cxn ang="0">
                    <a:pos x="1482" y="423"/>
                  </a:cxn>
                  <a:cxn ang="0">
                    <a:pos x="1439" y="466"/>
                  </a:cxn>
                  <a:cxn ang="0">
                    <a:pos x="1355" y="466"/>
                  </a:cxn>
                  <a:cxn ang="0">
                    <a:pos x="1312" y="550"/>
                  </a:cxn>
                  <a:cxn ang="0">
                    <a:pos x="1228" y="550"/>
                  </a:cxn>
                  <a:cxn ang="0">
                    <a:pos x="1143" y="466"/>
                  </a:cxn>
                  <a:cxn ang="0">
                    <a:pos x="1058" y="466"/>
                  </a:cxn>
                  <a:cxn ang="0">
                    <a:pos x="1016" y="508"/>
                  </a:cxn>
                  <a:cxn ang="0">
                    <a:pos x="974" y="508"/>
                  </a:cxn>
                  <a:cxn ang="0">
                    <a:pos x="847" y="508"/>
                  </a:cxn>
                  <a:cxn ang="0">
                    <a:pos x="720" y="466"/>
                  </a:cxn>
                  <a:cxn ang="0">
                    <a:pos x="508" y="550"/>
                  </a:cxn>
                  <a:cxn ang="0">
                    <a:pos x="423" y="635"/>
                  </a:cxn>
                  <a:cxn ang="0">
                    <a:pos x="381" y="720"/>
                  </a:cxn>
                  <a:cxn ang="0">
                    <a:pos x="339" y="635"/>
                  </a:cxn>
                  <a:cxn ang="0">
                    <a:pos x="381" y="550"/>
                  </a:cxn>
                  <a:cxn ang="0">
                    <a:pos x="296" y="423"/>
                  </a:cxn>
                  <a:cxn ang="0">
                    <a:pos x="339" y="381"/>
                  </a:cxn>
                  <a:cxn ang="0">
                    <a:pos x="381" y="339"/>
                  </a:cxn>
                  <a:cxn ang="0">
                    <a:pos x="339" y="381"/>
                  </a:cxn>
                  <a:cxn ang="0">
                    <a:pos x="296" y="423"/>
                  </a:cxn>
                  <a:cxn ang="0">
                    <a:pos x="212" y="339"/>
                  </a:cxn>
                  <a:cxn ang="0">
                    <a:pos x="127" y="296"/>
                  </a:cxn>
                  <a:cxn ang="0">
                    <a:pos x="85" y="212"/>
                  </a:cxn>
                  <a:cxn ang="0">
                    <a:pos x="42" y="169"/>
                  </a:cxn>
                  <a:cxn ang="0">
                    <a:pos x="85" y="127"/>
                  </a:cxn>
                  <a:cxn ang="0">
                    <a:pos x="42" y="127"/>
                  </a:cxn>
                  <a:cxn ang="0">
                    <a:pos x="0" y="127"/>
                  </a:cxn>
                  <a:cxn ang="0">
                    <a:pos x="127" y="85"/>
                  </a:cxn>
                  <a:cxn ang="0">
                    <a:pos x="254" y="0"/>
                  </a:cxn>
                  <a:cxn ang="0">
                    <a:pos x="296" y="0"/>
                  </a:cxn>
                  <a:cxn ang="0">
                    <a:pos x="296" y="42"/>
                  </a:cxn>
                  <a:cxn ang="0">
                    <a:pos x="381" y="42"/>
                  </a:cxn>
                  <a:cxn ang="0">
                    <a:pos x="466" y="85"/>
                  </a:cxn>
                  <a:cxn ang="0">
                    <a:pos x="508" y="127"/>
                  </a:cxn>
                  <a:cxn ang="0">
                    <a:pos x="593" y="85"/>
                  </a:cxn>
                  <a:cxn ang="0">
                    <a:pos x="720" y="42"/>
                  </a:cxn>
                  <a:cxn ang="0">
                    <a:pos x="804" y="85"/>
                  </a:cxn>
                  <a:cxn ang="0">
                    <a:pos x="847" y="42"/>
                  </a:cxn>
                  <a:cxn ang="0">
                    <a:pos x="931" y="0"/>
                  </a:cxn>
                  <a:cxn ang="0">
                    <a:pos x="1058" y="42"/>
                  </a:cxn>
                  <a:cxn ang="0">
                    <a:pos x="1185" y="0"/>
                  </a:cxn>
                </a:cxnLst>
                <a:rect l="0" t="0" r="r" b="b"/>
                <a:pathLst>
                  <a:path w="1482" h="720">
                    <a:moveTo>
                      <a:pt x="1185" y="0"/>
                    </a:moveTo>
                    <a:lnTo>
                      <a:pt x="1185" y="0"/>
                    </a:lnTo>
                    <a:lnTo>
                      <a:pt x="1228" y="0"/>
                    </a:lnTo>
                    <a:lnTo>
                      <a:pt x="1228" y="0"/>
                    </a:lnTo>
                    <a:lnTo>
                      <a:pt x="1228" y="42"/>
                    </a:lnTo>
                    <a:lnTo>
                      <a:pt x="1270" y="42"/>
                    </a:lnTo>
                    <a:lnTo>
                      <a:pt x="1312" y="42"/>
                    </a:lnTo>
                    <a:lnTo>
                      <a:pt x="1355" y="85"/>
                    </a:lnTo>
                    <a:lnTo>
                      <a:pt x="1355" y="127"/>
                    </a:lnTo>
                    <a:lnTo>
                      <a:pt x="1397" y="212"/>
                    </a:lnTo>
                    <a:lnTo>
                      <a:pt x="1439" y="254"/>
                    </a:lnTo>
                    <a:lnTo>
                      <a:pt x="1439" y="296"/>
                    </a:lnTo>
                    <a:lnTo>
                      <a:pt x="1439" y="296"/>
                    </a:lnTo>
                    <a:lnTo>
                      <a:pt x="1482" y="296"/>
                    </a:lnTo>
                    <a:lnTo>
                      <a:pt x="1482" y="339"/>
                    </a:lnTo>
                    <a:lnTo>
                      <a:pt x="1482" y="381"/>
                    </a:lnTo>
                    <a:lnTo>
                      <a:pt x="1482" y="381"/>
                    </a:lnTo>
                    <a:lnTo>
                      <a:pt x="1482" y="423"/>
                    </a:lnTo>
                    <a:lnTo>
                      <a:pt x="1482" y="423"/>
                    </a:lnTo>
                    <a:lnTo>
                      <a:pt x="1439" y="466"/>
                    </a:lnTo>
                    <a:lnTo>
                      <a:pt x="1355" y="466"/>
                    </a:lnTo>
                    <a:lnTo>
                      <a:pt x="1355" y="466"/>
                    </a:lnTo>
                    <a:lnTo>
                      <a:pt x="1355" y="466"/>
                    </a:lnTo>
                    <a:lnTo>
                      <a:pt x="1312" y="550"/>
                    </a:lnTo>
                    <a:lnTo>
                      <a:pt x="1312" y="550"/>
                    </a:lnTo>
                    <a:lnTo>
                      <a:pt x="1228" y="550"/>
                    </a:lnTo>
                    <a:lnTo>
                      <a:pt x="1185" y="508"/>
                    </a:lnTo>
                    <a:lnTo>
                      <a:pt x="1143" y="466"/>
                    </a:lnTo>
                    <a:lnTo>
                      <a:pt x="1143" y="466"/>
                    </a:lnTo>
                    <a:lnTo>
                      <a:pt x="1058" y="466"/>
                    </a:lnTo>
                    <a:lnTo>
                      <a:pt x="1016" y="466"/>
                    </a:lnTo>
                    <a:lnTo>
                      <a:pt x="1016" y="508"/>
                    </a:lnTo>
                    <a:lnTo>
                      <a:pt x="974" y="508"/>
                    </a:lnTo>
                    <a:lnTo>
                      <a:pt x="974" y="508"/>
                    </a:lnTo>
                    <a:lnTo>
                      <a:pt x="931" y="508"/>
                    </a:lnTo>
                    <a:lnTo>
                      <a:pt x="847" y="508"/>
                    </a:lnTo>
                    <a:lnTo>
                      <a:pt x="804" y="466"/>
                    </a:lnTo>
                    <a:lnTo>
                      <a:pt x="720" y="466"/>
                    </a:lnTo>
                    <a:lnTo>
                      <a:pt x="550" y="508"/>
                    </a:lnTo>
                    <a:lnTo>
                      <a:pt x="508" y="550"/>
                    </a:lnTo>
                    <a:lnTo>
                      <a:pt x="466" y="635"/>
                    </a:lnTo>
                    <a:lnTo>
                      <a:pt x="423" y="635"/>
                    </a:lnTo>
                    <a:lnTo>
                      <a:pt x="381" y="720"/>
                    </a:lnTo>
                    <a:lnTo>
                      <a:pt x="381" y="720"/>
                    </a:lnTo>
                    <a:lnTo>
                      <a:pt x="381" y="677"/>
                    </a:lnTo>
                    <a:lnTo>
                      <a:pt x="339" y="635"/>
                    </a:lnTo>
                    <a:lnTo>
                      <a:pt x="381" y="593"/>
                    </a:lnTo>
                    <a:lnTo>
                      <a:pt x="381" y="550"/>
                    </a:lnTo>
                    <a:lnTo>
                      <a:pt x="381" y="508"/>
                    </a:lnTo>
                    <a:lnTo>
                      <a:pt x="296" y="423"/>
                    </a:lnTo>
                    <a:lnTo>
                      <a:pt x="339" y="423"/>
                    </a:lnTo>
                    <a:lnTo>
                      <a:pt x="339" y="381"/>
                    </a:lnTo>
                    <a:lnTo>
                      <a:pt x="381" y="339"/>
                    </a:lnTo>
                    <a:lnTo>
                      <a:pt x="381" y="339"/>
                    </a:lnTo>
                    <a:lnTo>
                      <a:pt x="339" y="381"/>
                    </a:lnTo>
                    <a:lnTo>
                      <a:pt x="339" y="381"/>
                    </a:lnTo>
                    <a:lnTo>
                      <a:pt x="296" y="423"/>
                    </a:lnTo>
                    <a:lnTo>
                      <a:pt x="296" y="423"/>
                    </a:lnTo>
                    <a:lnTo>
                      <a:pt x="254" y="381"/>
                    </a:lnTo>
                    <a:lnTo>
                      <a:pt x="212" y="339"/>
                    </a:lnTo>
                    <a:lnTo>
                      <a:pt x="169" y="339"/>
                    </a:lnTo>
                    <a:lnTo>
                      <a:pt x="127" y="296"/>
                    </a:lnTo>
                    <a:lnTo>
                      <a:pt x="85" y="296"/>
                    </a:lnTo>
                    <a:lnTo>
                      <a:pt x="85" y="212"/>
                    </a:lnTo>
                    <a:lnTo>
                      <a:pt x="42" y="212"/>
                    </a:lnTo>
                    <a:lnTo>
                      <a:pt x="42" y="169"/>
                    </a:lnTo>
                    <a:lnTo>
                      <a:pt x="42" y="127"/>
                    </a:lnTo>
                    <a:lnTo>
                      <a:pt x="85" y="127"/>
                    </a:lnTo>
                    <a:lnTo>
                      <a:pt x="85" y="127"/>
                    </a:lnTo>
                    <a:lnTo>
                      <a:pt x="42" y="127"/>
                    </a:lnTo>
                    <a:lnTo>
                      <a:pt x="0" y="127"/>
                    </a:lnTo>
                    <a:lnTo>
                      <a:pt x="0" y="127"/>
                    </a:lnTo>
                    <a:lnTo>
                      <a:pt x="0" y="127"/>
                    </a:lnTo>
                    <a:lnTo>
                      <a:pt x="127" y="85"/>
                    </a:lnTo>
                    <a:lnTo>
                      <a:pt x="254" y="42"/>
                    </a:lnTo>
                    <a:lnTo>
                      <a:pt x="254" y="0"/>
                    </a:lnTo>
                    <a:lnTo>
                      <a:pt x="254" y="0"/>
                    </a:lnTo>
                    <a:lnTo>
                      <a:pt x="296" y="0"/>
                    </a:lnTo>
                    <a:lnTo>
                      <a:pt x="296" y="0"/>
                    </a:lnTo>
                    <a:lnTo>
                      <a:pt x="296" y="42"/>
                    </a:lnTo>
                    <a:lnTo>
                      <a:pt x="339" y="42"/>
                    </a:lnTo>
                    <a:lnTo>
                      <a:pt x="381" y="42"/>
                    </a:lnTo>
                    <a:lnTo>
                      <a:pt x="423" y="85"/>
                    </a:lnTo>
                    <a:lnTo>
                      <a:pt x="466" y="85"/>
                    </a:lnTo>
                    <a:lnTo>
                      <a:pt x="508" y="127"/>
                    </a:lnTo>
                    <a:lnTo>
                      <a:pt x="508" y="127"/>
                    </a:lnTo>
                    <a:lnTo>
                      <a:pt x="550" y="127"/>
                    </a:lnTo>
                    <a:lnTo>
                      <a:pt x="593" y="85"/>
                    </a:lnTo>
                    <a:lnTo>
                      <a:pt x="635" y="85"/>
                    </a:lnTo>
                    <a:lnTo>
                      <a:pt x="720" y="42"/>
                    </a:lnTo>
                    <a:lnTo>
                      <a:pt x="720" y="42"/>
                    </a:lnTo>
                    <a:lnTo>
                      <a:pt x="804" y="85"/>
                    </a:lnTo>
                    <a:lnTo>
                      <a:pt x="847" y="42"/>
                    </a:lnTo>
                    <a:lnTo>
                      <a:pt x="847" y="42"/>
                    </a:lnTo>
                    <a:lnTo>
                      <a:pt x="931" y="0"/>
                    </a:lnTo>
                    <a:lnTo>
                      <a:pt x="931" y="0"/>
                    </a:lnTo>
                    <a:lnTo>
                      <a:pt x="1016" y="0"/>
                    </a:lnTo>
                    <a:lnTo>
                      <a:pt x="1058" y="42"/>
                    </a:lnTo>
                    <a:lnTo>
                      <a:pt x="1143" y="0"/>
                    </a:lnTo>
                    <a:lnTo>
                      <a:pt x="1185" y="0"/>
                    </a:lnTo>
                    <a:lnTo>
                      <a:pt x="1185" y="0"/>
                    </a:lnTo>
                    <a:close/>
                  </a:path>
                </a:pathLst>
              </a:custGeom>
              <a:grpFill/>
              <a:ln w="12700" cap="flat" cmpd="sng">
                <a:solidFill>
                  <a:schemeClr val="tx1"/>
                </a:solidFill>
                <a:prstDash val="solid"/>
                <a:bevel/>
                <a:headEnd/>
                <a:tailEnd/>
              </a:ln>
            </p:spPr>
            <p:txBody>
              <a:bodyPr/>
              <a:lstStyle/>
              <a:p>
                <a:endParaRPr lang="nl-NL"/>
              </a:p>
            </p:txBody>
          </p:sp>
          <p:sp>
            <p:nvSpPr>
              <p:cNvPr id="138" name="Freeform 557">
                <a:extLst>
                  <a:ext uri="{FF2B5EF4-FFF2-40B4-BE49-F238E27FC236}">
                    <a16:creationId xmlns:a16="http://schemas.microsoft.com/office/drawing/2014/main" id="{310817F8-09E0-30B4-FC88-1B601EAE188D}"/>
                  </a:ext>
                </a:extLst>
              </p:cNvPr>
              <p:cNvSpPr>
                <a:spLocks/>
              </p:cNvSpPr>
              <p:nvPr/>
            </p:nvSpPr>
            <p:spPr bwMode="auto">
              <a:xfrm>
                <a:off x="1073" y="2794"/>
                <a:ext cx="238" cy="199"/>
              </a:xfrm>
              <a:custGeom>
                <a:avLst/>
                <a:gdLst/>
                <a:ahLst/>
                <a:cxnLst>
                  <a:cxn ang="0">
                    <a:pos x="550" y="84"/>
                  </a:cxn>
                  <a:cxn ang="0">
                    <a:pos x="592" y="84"/>
                  </a:cxn>
                  <a:cxn ang="0">
                    <a:pos x="635" y="42"/>
                  </a:cxn>
                  <a:cxn ang="0">
                    <a:pos x="719" y="42"/>
                  </a:cxn>
                  <a:cxn ang="0">
                    <a:pos x="762" y="84"/>
                  </a:cxn>
                  <a:cxn ang="0">
                    <a:pos x="846" y="0"/>
                  </a:cxn>
                  <a:cxn ang="0">
                    <a:pos x="846" y="42"/>
                  </a:cxn>
                  <a:cxn ang="0">
                    <a:pos x="846" y="42"/>
                  </a:cxn>
                  <a:cxn ang="0">
                    <a:pos x="889" y="84"/>
                  </a:cxn>
                  <a:cxn ang="0">
                    <a:pos x="889" y="84"/>
                  </a:cxn>
                  <a:cxn ang="0">
                    <a:pos x="889" y="211"/>
                  </a:cxn>
                  <a:cxn ang="0">
                    <a:pos x="846" y="211"/>
                  </a:cxn>
                  <a:cxn ang="0">
                    <a:pos x="846" y="338"/>
                  </a:cxn>
                  <a:cxn ang="0">
                    <a:pos x="846" y="338"/>
                  </a:cxn>
                  <a:cxn ang="0">
                    <a:pos x="931" y="338"/>
                  </a:cxn>
                  <a:cxn ang="0">
                    <a:pos x="889" y="338"/>
                  </a:cxn>
                  <a:cxn ang="0">
                    <a:pos x="931" y="381"/>
                  </a:cxn>
                  <a:cxn ang="0">
                    <a:pos x="973" y="381"/>
                  </a:cxn>
                  <a:cxn ang="0">
                    <a:pos x="1016" y="423"/>
                  </a:cxn>
                  <a:cxn ang="0">
                    <a:pos x="1016" y="423"/>
                  </a:cxn>
                  <a:cxn ang="0">
                    <a:pos x="1016" y="465"/>
                  </a:cxn>
                  <a:cxn ang="0">
                    <a:pos x="973" y="550"/>
                  </a:cxn>
                  <a:cxn ang="0">
                    <a:pos x="889" y="762"/>
                  </a:cxn>
                  <a:cxn ang="0">
                    <a:pos x="889" y="762"/>
                  </a:cxn>
                  <a:cxn ang="0">
                    <a:pos x="846" y="846"/>
                  </a:cxn>
                  <a:cxn ang="0">
                    <a:pos x="762" y="804"/>
                  </a:cxn>
                  <a:cxn ang="0">
                    <a:pos x="719" y="804"/>
                  </a:cxn>
                  <a:cxn ang="0">
                    <a:pos x="635" y="719"/>
                  </a:cxn>
                  <a:cxn ang="0">
                    <a:pos x="465" y="677"/>
                  </a:cxn>
                  <a:cxn ang="0">
                    <a:pos x="465" y="677"/>
                  </a:cxn>
                  <a:cxn ang="0">
                    <a:pos x="465" y="635"/>
                  </a:cxn>
                  <a:cxn ang="0">
                    <a:pos x="381" y="635"/>
                  </a:cxn>
                  <a:cxn ang="0">
                    <a:pos x="296" y="592"/>
                  </a:cxn>
                  <a:cxn ang="0">
                    <a:pos x="211" y="592"/>
                  </a:cxn>
                  <a:cxn ang="0">
                    <a:pos x="211" y="550"/>
                  </a:cxn>
                  <a:cxn ang="0">
                    <a:pos x="84" y="508"/>
                  </a:cxn>
                  <a:cxn ang="0">
                    <a:pos x="42" y="465"/>
                  </a:cxn>
                  <a:cxn ang="0">
                    <a:pos x="0" y="381"/>
                  </a:cxn>
                  <a:cxn ang="0">
                    <a:pos x="0" y="381"/>
                  </a:cxn>
                  <a:cxn ang="0">
                    <a:pos x="42" y="381"/>
                  </a:cxn>
                  <a:cxn ang="0">
                    <a:pos x="42" y="381"/>
                  </a:cxn>
                  <a:cxn ang="0">
                    <a:pos x="84" y="338"/>
                  </a:cxn>
                  <a:cxn ang="0">
                    <a:pos x="84" y="338"/>
                  </a:cxn>
                  <a:cxn ang="0">
                    <a:pos x="169" y="211"/>
                  </a:cxn>
                  <a:cxn ang="0">
                    <a:pos x="169" y="169"/>
                  </a:cxn>
                  <a:cxn ang="0">
                    <a:pos x="211" y="169"/>
                  </a:cxn>
                  <a:cxn ang="0">
                    <a:pos x="338" y="169"/>
                  </a:cxn>
                  <a:cxn ang="0">
                    <a:pos x="338" y="211"/>
                  </a:cxn>
                  <a:cxn ang="0">
                    <a:pos x="381" y="169"/>
                  </a:cxn>
                  <a:cxn ang="0">
                    <a:pos x="423" y="127"/>
                  </a:cxn>
                  <a:cxn ang="0">
                    <a:pos x="465" y="127"/>
                  </a:cxn>
                  <a:cxn ang="0">
                    <a:pos x="550" y="84"/>
                  </a:cxn>
                  <a:cxn ang="0">
                    <a:pos x="550" y="84"/>
                  </a:cxn>
                </a:cxnLst>
                <a:rect l="0" t="0" r="r" b="b"/>
                <a:pathLst>
                  <a:path w="1016" h="846">
                    <a:moveTo>
                      <a:pt x="550" y="84"/>
                    </a:moveTo>
                    <a:lnTo>
                      <a:pt x="592" y="84"/>
                    </a:lnTo>
                    <a:lnTo>
                      <a:pt x="635" y="42"/>
                    </a:lnTo>
                    <a:lnTo>
                      <a:pt x="719" y="42"/>
                    </a:lnTo>
                    <a:lnTo>
                      <a:pt x="762" y="84"/>
                    </a:lnTo>
                    <a:lnTo>
                      <a:pt x="846" y="0"/>
                    </a:lnTo>
                    <a:lnTo>
                      <a:pt x="846" y="42"/>
                    </a:lnTo>
                    <a:lnTo>
                      <a:pt x="846" y="42"/>
                    </a:lnTo>
                    <a:lnTo>
                      <a:pt x="889" y="84"/>
                    </a:lnTo>
                    <a:lnTo>
                      <a:pt x="889" y="84"/>
                    </a:lnTo>
                    <a:lnTo>
                      <a:pt x="889" y="211"/>
                    </a:lnTo>
                    <a:lnTo>
                      <a:pt x="846" y="211"/>
                    </a:lnTo>
                    <a:lnTo>
                      <a:pt x="846" y="338"/>
                    </a:lnTo>
                    <a:lnTo>
                      <a:pt x="846" y="338"/>
                    </a:lnTo>
                    <a:lnTo>
                      <a:pt x="931" y="338"/>
                    </a:lnTo>
                    <a:lnTo>
                      <a:pt x="889" y="338"/>
                    </a:lnTo>
                    <a:lnTo>
                      <a:pt x="931" y="381"/>
                    </a:lnTo>
                    <a:lnTo>
                      <a:pt x="973" y="381"/>
                    </a:lnTo>
                    <a:lnTo>
                      <a:pt x="1016" y="423"/>
                    </a:lnTo>
                    <a:lnTo>
                      <a:pt x="1016" y="423"/>
                    </a:lnTo>
                    <a:lnTo>
                      <a:pt x="1016" y="465"/>
                    </a:lnTo>
                    <a:lnTo>
                      <a:pt x="973" y="550"/>
                    </a:lnTo>
                    <a:lnTo>
                      <a:pt x="889" y="762"/>
                    </a:lnTo>
                    <a:lnTo>
                      <a:pt x="889" y="762"/>
                    </a:lnTo>
                    <a:lnTo>
                      <a:pt x="846" y="846"/>
                    </a:lnTo>
                    <a:lnTo>
                      <a:pt x="762" y="804"/>
                    </a:lnTo>
                    <a:lnTo>
                      <a:pt x="719" y="804"/>
                    </a:lnTo>
                    <a:lnTo>
                      <a:pt x="635" y="719"/>
                    </a:lnTo>
                    <a:lnTo>
                      <a:pt x="465" y="677"/>
                    </a:lnTo>
                    <a:lnTo>
                      <a:pt x="465" y="677"/>
                    </a:lnTo>
                    <a:lnTo>
                      <a:pt x="465" y="635"/>
                    </a:lnTo>
                    <a:lnTo>
                      <a:pt x="381" y="635"/>
                    </a:lnTo>
                    <a:lnTo>
                      <a:pt x="296" y="592"/>
                    </a:lnTo>
                    <a:lnTo>
                      <a:pt x="211" y="592"/>
                    </a:lnTo>
                    <a:lnTo>
                      <a:pt x="211" y="550"/>
                    </a:lnTo>
                    <a:lnTo>
                      <a:pt x="84" y="508"/>
                    </a:lnTo>
                    <a:lnTo>
                      <a:pt x="42" y="465"/>
                    </a:lnTo>
                    <a:lnTo>
                      <a:pt x="0" y="381"/>
                    </a:lnTo>
                    <a:lnTo>
                      <a:pt x="0" y="381"/>
                    </a:lnTo>
                    <a:lnTo>
                      <a:pt x="42" y="381"/>
                    </a:lnTo>
                    <a:lnTo>
                      <a:pt x="42" y="381"/>
                    </a:lnTo>
                    <a:lnTo>
                      <a:pt x="84" y="338"/>
                    </a:lnTo>
                    <a:lnTo>
                      <a:pt x="84" y="338"/>
                    </a:lnTo>
                    <a:lnTo>
                      <a:pt x="169" y="211"/>
                    </a:lnTo>
                    <a:lnTo>
                      <a:pt x="169" y="169"/>
                    </a:lnTo>
                    <a:lnTo>
                      <a:pt x="211" y="169"/>
                    </a:lnTo>
                    <a:lnTo>
                      <a:pt x="338" y="169"/>
                    </a:lnTo>
                    <a:lnTo>
                      <a:pt x="338" y="211"/>
                    </a:lnTo>
                    <a:lnTo>
                      <a:pt x="381" y="169"/>
                    </a:lnTo>
                    <a:lnTo>
                      <a:pt x="423" y="127"/>
                    </a:lnTo>
                    <a:lnTo>
                      <a:pt x="465" y="127"/>
                    </a:lnTo>
                    <a:lnTo>
                      <a:pt x="550" y="84"/>
                    </a:lnTo>
                    <a:lnTo>
                      <a:pt x="550" y="84"/>
                    </a:lnTo>
                    <a:close/>
                  </a:path>
                </a:pathLst>
              </a:custGeom>
              <a:grpFill/>
              <a:ln w="12700" cap="flat" cmpd="sng">
                <a:solidFill>
                  <a:schemeClr val="tx1"/>
                </a:solidFill>
                <a:prstDash val="solid"/>
                <a:bevel/>
                <a:headEnd/>
                <a:tailEnd/>
              </a:ln>
            </p:spPr>
            <p:txBody>
              <a:bodyPr/>
              <a:lstStyle/>
              <a:p>
                <a:endParaRPr lang="nl-NL"/>
              </a:p>
            </p:txBody>
          </p:sp>
        </p:grpSp>
        <p:grpSp>
          <p:nvGrpSpPr>
            <p:cNvPr id="128" name="Group 558">
              <a:extLst>
                <a:ext uri="{FF2B5EF4-FFF2-40B4-BE49-F238E27FC236}">
                  <a16:creationId xmlns:a16="http://schemas.microsoft.com/office/drawing/2014/main" id="{5D25E0A2-42D0-B079-E296-9BF413FFB5B5}"/>
                </a:ext>
              </a:extLst>
            </p:cNvPr>
            <p:cNvGrpSpPr>
              <a:grpSpLocks/>
            </p:cNvGrpSpPr>
            <p:nvPr/>
          </p:nvGrpSpPr>
          <p:grpSpPr bwMode="auto">
            <a:xfrm>
              <a:off x="4038692" y="4915328"/>
              <a:ext cx="1541359" cy="1673099"/>
              <a:chOff x="1761" y="1609"/>
              <a:chExt cx="585" cy="635"/>
            </a:xfrm>
            <a:grpFill/>
          </p:grpSpPr>
          <p:sp>
            <p:nvSpPr>
              <p:cNvPr id="130" name="Freeform 559">
                <a:extLst>
                  <a:ext uri="{FF2B5EF4-FFF2-40B4-BE49-F238E27FC236}">
                    <a16:creationId xmlns:a16="http://schemas.microsoft.com/office/drawing/2014/main" id="{095357AB-5610-569F-DFB3-A364D2AC9F23}"/>
                  </a:ext>
                </a:extLst>
              </p:cNvPr>
              <p:cNvSpPr>
                <a:spLocks noEditPoints="1"/>
              </p:cNvSpPr>
              <p:nvPr/>
            </p:nvSpPr>
            <p:spPr bwMode="auto">
              <a:xfrm>
                <a:off x="1761" y="1862"/>
                <a:ext cx="481" cy="382"/>
              </a:xfrm>
              <a:custGeom>
                <a:avLst/>
                <a:gdLst/>
                <a:ahLst/>
                <a:cxnLst>
                  <a:cxn ang="0">
                    <a:pos x="2837" y="42"/>
                  </a:cxn>
                  <a:cxn ang="0">
                    <a:pos x="2498" y="127"/>
                  </a:cxn>
                  <a:cxn ang="0">
                    <a:pos x="2117" y="465"/>
                  </a:cxn>
                  <a:cxn ang="0">
                    <a:pos x="2075" y="508"/>
                  </a:cxn>
                  <a:cxn ang="0">
                    <a:pos x="1863" y="508"/>
                  </a:cxn>
                  <a:cxn ang="0">
                    <a:pos x="1821" y="677"/>
                  </a:cxn>
                  <a:cxn ang="0">
                    <a:pos x="1778" y="719"/>
                  </a:cxn>
                  <a:cxn ang="0">
                    <a:pos x="1778" y="804"/>
                  </a:cxn>
                  <a:cxn ang="0">
                    <a:pos x="1778" y="889"/>
                  </a:cxn>
                  <a:cxn ang="0">
                    <a:pos x="1651" y="931"/>
                  </a:cxn>
                  <a:cxn ang="0">
                    <a:pos x="1567" y="1058"/>
                  </a:cxn>
                  <a:cxn ang="0">
                    <a:pos x="1482" y="1058"/>
                  </a:cxn>
                  <a:cxn ang="0">
                    <a:pos x="762" y="1566"/>
                  </a:cxn>
                  <a:cxn ang="0">
                    <a:pos x="635" y="1693"/>
                  </a:cxn>
                  <a:cxn ang="0">
                    <a:pos x="593" y="1735"/>
                  </a:cxn>
                  <a:cxn ang="0">
                    <a:pos x="525" y="1735"/>
                  </a:cxn>
                  <a:cxn ang="0">
                    <a:pos x="212" y="1947"/>
                  </a:cxn>
                  <a:cxn ang="0">
                    <a:pos x="0" y="2074"/>
                  </a:cxn>
                  <a:cxn ang="0">
                    <a:pos x="85" y="2201"/>
                  </a:cxn>
                  <a:cxn ang="0">
                    <a:pos x="85" y="2413"/>
                  </a:cxn>
                  <a:cxn ang="0">
                    <a:pos x="85" y="2455"/>
                  </a:cxn>
                  <a:cxn ang="0">
                    <a:pos x="85" y="2540"/>
                  </a:cxn>
                  <a:cxn ang="0">
                    <a:pos x="170" y="2540"/>
                  </a:cxn>
                  <a:cxn ang="0">
                    <a:pos x="381" y="2497"/>
                  </a:cxn>
                  <a:cxn ang="0">
                    <a:pos x="466" y="2497"/>
                  </a:cxn>
                  <a:cxn ang="0">
                    <a:pos x="551" y="2540"/>
                  </a:cxn>
                  <a:cxn ang="0">
                    <a:pos x="678" y="2540"/>
                  </a:cxn>
                  <a:cxn ang="0">
                    <a:pos x="889" y="2667"/>
                  </a:cxn>
                  <a:cxn ang="0">
                    <a:pos x="1101" y="2794"/>
                  </a:cxn>
                  <a:cxn ang="0">
                    <a:pos x="1524" y="3217"/>
                  </a:cxn>
                  <a:cxn ang="0">
                    <a:pos x="1651" y="3259"/>
                  </a:cxn>
                  <a:cxn ang="0">
                    <a:pos x="1948" y="3132"/>
                  </a:cxn>
                  <a:cxn ang="0">
                    <a:pos x="2075" y="3132"/>
                  </a:cxn>
                  <a:cxn ang="0">
                    <a:pos x="2244" y="3048"/>
                  </a:cxn>
                  <a:cxn ang="0">
                    <a:pos x="2329" y="2878"/>
                  </a:cxn>
                  <a:cxn ang="0">
                    <a:pos x="2371" y="2709"/>
                  </a:cxn>
                  <a:cxn ang="0">
                    <a:pos x="2413" y="2624"/>
                  </a:cxn>
                  <a:cxn ang="0">
                    <a:pos x="2413" y="2540"/>
                  </a:cxn>
                  <a:cxn ang="0">
                    <a:pos x="2371" y="2497"/>
                  </a:cxn>
                  <a:cxn ang="0">
                    <a:pos x="2329" y="2370"/>
                  </a:cxn>
                  <a:cxn ang="0">
                    <a:pos x="2498" y="2201"/>
                  </a:cxn>
                  <a:cxn ang="0">
                    <a:pos x="2710" y="2201"/>
                  </a:cxn>
                  <a:cxn ang="0">
                    <a:pos x="2794" y="2159"/>
                  </a:cxn>
                  <a:cxn ang="0">
                    <a:pos x="2794" y="2116"/>
                  </a:cxn>
                  <a:cxn ang="0">
                    <a:pos x="2879" y="2032"/>
                  </a:cxn>
                  <a:cxn ang="0">
                    <a:pos x="3345" y="1735"/>
                  </a:cxn>
                  <a:cxn ang="0">
                    <a:pos x="3429" y="1735"/>
                  </a:cxn>
                  <a:cxn ang="0">
                    <a:pos x="3514" y="1778"/>
                  </a:cxn>
                  <a:cxn ang="0">
                    <a:pos x="3726" y="1566"/>
                  </a:cxn>
                  <a:cxn ang="0">
                    <a:pos x="3853" y="1397"/>
                  </a:cxn>
                  <a:cxn ang="0">
                    <a:pos x="3937" y="1270"/>
                  </a:cxn>
                  <a:cxn ang="0">
                    <a:pos x="4107" y="931"/>
                  </a:cxn>
                  <a:cxn ang="0">
                    <a:pos x="4107" y="804"/>
                  </a:cxn>
                  <a:cxn ang="0">
                    <a:pos x="4064" y="508"/>
                  </a:cxn>
                  <a:cxn ang="0">
                    <a:pos x="3853" y="254"/>
                  </a:cxn>
                  <a:cxn ang="0">
                    <a:pos x="3599" y="254"/>
                  </a:cxn>
                  <a:cxn ang="0">
                    <a:pos x="3387" y="211"/>
                  </a:cxn>
                  <a:cxn ang="0">
                    <a:pos x="2964" y="84"/>
                  </a:cxn>
                  <a:cxn ang="0">
                    <a:pos x="2879" y="0"/>
                  </a:cxn>
                  <a:cxn ang="0">
                    <a:pos x="593" y="1693"/>
                  </a:cxn>
                  <a:cxn ang="0">
                    <a:pos x="525" y="1735"/>
                  </a:cxn>
                </a:cxnLst>
                <a:rect l="0" t="0" r="r" b="b"/>
                <a:pathLst>
                  <a:path w="4107" h="3259">
                    <a:moveTo>
                      <a:pt x="2879" y="0"/>
                    </a:moveTo>
                    <a:lnTo>
                      <a:pt x="2837" y="42"/>
                    </a:lnTo>
                    <a:lnTo>
                      <a:pt x="2540" y="127"/>
                    </a:lnTo>
                    <a:lnTo>
                      <a:pt x="2498" y="127"/>
                    </a:lnTo>
                    <a:lnTo>
                      <a:pt x="2456" y="169"/>
                    </a:lnTo>
                    <a:lnTo>
                      <a:pt x="2117" y="465"/>
                    </a:lnTo>
                    <a:lnTo>
                      <a:pt x="2117" y="508"/>
                    </a:lnTo>
                    <a:lnTo>
                      <a:pt x="2075" y="508"/>
                    </a:lnTo>
                    <a:lnTo>
                      <a:pt x="1905" y="508"/>
                    </a:lnTo>
                    <a:lnTo>
                      <a:pt x="1863" y="508"/>
                    </a:lnTo>
                    <a:lnTo>
                      <a:pt x="1863" y="550"/>
                    </a:lnTo>
                    <a:lnTo>
                      <a:pt x="1821" y="677"/>
                    </a:lnTo>
                    <a:lnTo>
                      <a:pt x="1821" y="635"/>
                    </a:lnTo>
                    <a:lnTo>
                      <a:pt x="1778" y="719"/>
                    </a:lnTo>
                    <a:lnTo>
                      <a:pt x="1778" y="762"/>
                    </a:lnTo>
                    <a:lnTo>
                      <a:pt x="1778" y="804"/>
                    </a:lnTo>
                    <a:lnTo>
                      <a:pt x="1778" y="846"/>
                    </a:lnTo>
                    <a:lnTo>
                      <a:pt x="1778" y="889"/>
                    </a:lnTo>
                    <a:lnTo>
                      <a:pt x="1694" y="931"/>
                    </a:lnTo>
                    <a:lnTo>
                      <a:pt x="1651" y="931"/>
                    </a:lnTo>
                    <a:lnTo>
                      <a:pt x="1609" y="973"/>
                    </a:lnTo>
                    <a:lnTo>
                      <a:pt x="1567" y="1058"/>
                    </a:lnTo>
                    <a:lnTo>
                      <a:pt x="1524" y="1058"/>
                    </a:lnTo>
                    <a:lnTo>
                      <a:pt x="1482" y="1058"/>
                    </a:lnTo>
                    <a:lnTo>
                      <a:pt x="1482" y="1100"/>
                    </a:lnTo>
                    <a:lnTo>
                      <a:pt x="762" y="1566"/>
                    </a:lnTo>
                    <a:lnTo>
                      <a:pt x="635" y="1651"/>
                    </a:lnTo>
                    <a:lnTo>
                      <a:pt x="635" y="1693"/>
                    </a:lnTo>
                    <a:lnTo>
                      <a:pt x="593" y="1693"/>
                    </a:lnTo>
                    <a:lnTo>
                      <a:pt x="593" y="1735"/>
                    </a:lnTo>
                    <a:lnTo>
                      <a:pt x="551" y="1735"/>
                    </a:lnTo>
                    <a:lnTo>
                      <a:pt x="525" y="1735"/>
                    </a:lnTo>
                    <a:lnTo>
                      <a:pt x="254" y="1905"/>
                    </a:lnTo>
                    <a:lnTo>
                      <a:pt x="212" y="1947"/>
                    </a:lnTo>
                    <a:lnTo>
                      <a:pt x="43" y="2074"/>
                    </a:lnTo>
                    <a:lnTo>
                      <a:pt x="0" y="2074"/>
                    </a:lnTo>
                    <a:lnTo>
                      <a:pt x="0" y="2116"/>
                    </a:lnTo>
                    <a:lnTo>
                      <a:pt x="85" y="2201"/>
                    </a:lnTo>
                    <a:lnTo>
                      <a:pt x="85" y="2286"/>
                    </a:lnTo>
                    <a:lnTo>
                      <a:pt x="85" y="2413"/>
                    </a:lnTo>
                    <a:lnTo>
                      <a:pt x="43" y="2455"/>
                    </a:lnTo>
                    <a:lnTo>
                      <a:pt x="85" y="2455"/>
                    </a:lnTo>
                    <a:lnTo>
                      <a:pt x="127" y="2540"/>
                    </a:lnTo>
                    <a:lnTo>
                      <a:pt x="85" y="2540"/>
                    </a:lnTo>
                    <a:lnTo>
                      <a:pt x="127" y="2582"/>
                    </a:lnTo>
                    <a:lnTo>
                      <a:pt x="170" y="2540"/>
                    </a:lnTo>
                    <a:lnTo>
                      <a:pt x="212" y="2540"/>
                    </a:lnTo>
                    <a:lnTo>
                      <a:pt x="381" y="2497"/>
                    </a:lnTo>
                    <a:lnTo>
                      <a:pt x="424" y="2497"/>
                    </a:lnTo>
                    <a:lnTo>
                      <a:pt x="466" y="2497"/>
                    </a:lnTo>
                    <a:lnTo>
                      <a:pt x="508" y="2540"/>
                    </a:lnTo>
                    <a:lnTo>
                      <a:pt x="551" y="2540"/>
                    </a:lnTo>
                    <a:lnTo>
                      <a:pt x="593" y="2540"/>
                    </a:lnTo>
                    <a:lnTo>
                      <a:pt x="678" y="2540"/>
                    </a:lnTo>
                    <a:lnTo>
                      <a:pt x="805" y="2582"/>
                    </a:lnTo>
                    <a:lnTo>
                      <a:pt x="889" y="2667"/>
                    </a:lnTo>
                    <a:lnTo>
                      <a:pt x="1016" y="2709"/>
                    </a:lnTo>
                    <a:lnTo>
                      <a:pt x="1101" y="2794"/>
                    </a:lnTo>
                    <a:lnTo>
                      <a:pt x="1482" y="3132"/>
                    </a:lnTo>
                    <a:lnTo>
                      <a:pt x="1524" y="3217"/>
                    </a:lnTo>
                    <a:lnTo>
                      <a:pt x="1567" y="3217"/>
                    </a:lnTo>
                    <a:lnTo>
                      <a:pt x="1651" y="3259"/>
                    </a:lnTo>
                    <a:lnTo>
                      <a:pt x="1736" y="3217"/>
                    </a:lnTo>
                    <a:lnTo>
                      <a:pt x="1948" y="3132"/>
                    </a:lnTo>
                    <a:lnTo>
                      <a:pt x="1990" y="3132"/>
                    </a:lnTo>
                    <a:lnTo>
                      <a:pt x="2075" y="3132"/>
                    </a:lnTo>
                    <a:lnTo>
                      <a:pt x="2117" y="3090"/>
                    </a:lnTo>
                    <a:lnTo>
                      <a:pt x="2244" y="3048"/>
                    </a:lnTo>
                    <a:lnTo>
                      <a:pt x="2286" y="3048"/>
                    </a:lnTo>
                    <a:lnTo>
                      <a:pt x="2329" y="2878"/>
                    </a:lnTo>
                    <a:lnTo>
                      <a:pt x="2371" y="2836"/>
                    </a:lnTo>
                    <a:lnTo>
                      <a:pt x="2371" y="2709"/>
                    </a:lnTo>
                    <a:lnTo>
                      <a:pt x="2413" y="2709"/>
                    </a:lnTo>
                    <a:lnTo>
                      <a:pt x="2413" y="2624"/>
                    </a:lnTo>
                    <a:lnTo>
                      <a:pt x="2413" y="2582"/>
                    </a:lnTo>
                    <a:lnTo>
                      <a:pt x="2413" y="2540"/>
                    </a:lnTo>
                    <a:lnTo>
                      <a:pt x="2413" y="2497"/>
                    </a:lnTo>
                    <a:lnTo>
                      <a:pt x="2371" y="2497"/>
                    </a:lnTo>
                    <a:lnTo>
                      <a:pt x="2371" y="2455"/>
                    </a:lnTo>
                    <a:lnTo>
                      <a:pt x="2329" y="2370"/>
                    </a:lnTo>
                    <a:lnTo>
                      <a:pt x="2371" y="2328"/>
                    </a:lnTo>
                    <a:lnTo>
                      <a:pt x="2498" y="2201"/>
                    </a:lnTo>
                    <a:lnTo>
                      <a:pt x="2583" y="2243"/>
                    </a:lnTo>
                    <a:lnTo>
                      <a:pt x="2710" y="2201"/>
                    </a:lnTo>
                    <a:lnTo>
                      <a:pt x="2752" y="2201"/>
                    </a:lnTo>
                    <a:lnTo>
                      <a:pt x="2794" y="2159"/>
                    </a:lnTo>
                    <a:lnTo>
                      <a:pt x="2752" y="2159"/>
                    </a:lnTo>
                    <a:lnTo>
                      <a:pt x="2794" y="2116"/>
                    </a:lnTo>
                    <a:lnTo>
                      <a:pt x="2837" y="2074"/>
                    </a:lnTo>
                    <a:lnTo>
                      <a:pt x="2879" y="2032"/>
                    </a:lnTo>
                    <a:lnTo>
                      <a:pt x="3006" y="1905"/>
                    </a:lnTo>
                    <a:lnTo>
                      <a:pt x="3345" y="1735"/>
                    </a:lnTo>
                    <a:lnTo>
                      <a:pt x="3387" y="1735"/>
                    </a:lnTo>
                    <a:lnTo>
                      <a:pt x="3429" y="1735"/>
                    </a:lnTo>
                    <a:lnTo>
                      <a:pt x="3472" y="1778"/>
                    </a:lnTo>
                    <a:lnTo>
                      <a:pt x="3514" y="1778"/>
                    </a:lnTo>
                    <a:lnTo>
                      <a:pt x="3683" y="1651"/>
                    </a:lnTo>
                    <a:lnTo>
                      <a:pt x="3726" y="1566"/>
                    </a:lnTo>
                    <a:lnTo>
                      <a:pt x="3810" y="1481"/>
                    </a:lnTo>
                    <a:lnTo>
                      <a:pt x="3853" y="1397"/>
                    </a:lnTo>
                    <a:lnTo>
                      <a:pt x="3895" y="1354"/>
                    </a:lnTo>
                    <a:lnTo>
                      <a:pt x="3937" y="1270"/>
                    </a:lnTo>
                    <a:lnTo>
                      <a:pt x="4064" y="1016"/>
                    </a:lnTo>
                    <a:lnTo>
                      <a:pt x="4107" y="931"/>
                    </a:lnTo>
                    <a:lnTo>
                      <a:pt x="4107" y="889"/>
                    </a:lnTo>
                    <a:lnTo>
                      <a:pt x="4107" y="804"/>
                    </a:lnTo>
                    <a:lnTo>
                      <a:pt x="4107" y="592"/>
                    </a:lnTo>
                    <a:lnTo>
                      <a:pt x="4064" y="508"/>
                    </a:lnTo>
                    <a:lnTo>
                      <a:pt x="3853" y="296"/>
                    </a:lnTo>
                    <a:lnTo>
                      <a:pt x="3853" y="254"/>
                    </a:lnTo>
                    <a:lnTo>
                      <a:pt x="3810" y="254"/>
                    </a:lnTo>
                    <a:lnTo>
                      <a:pt x="3599" y="254"/>
                    </a:lnTo>
                    <a:lnTo>
                      <a:pt x="3556" y="254"/>
                    </a:lnTo>
                    <a:lnTo>
                      <a:pt x="3387" y="211"/>
                    </a:lnTo>
                    <a:lnTo>
                      <a:pt x="3006" y="84"/>
                    </a:lnTo>
                    <a:lnTo>
                      <a:pt x="2964" y="84"/>
                    </a:lnTo>
                    <a:lnTo>
                      <a:pt x="2921" y="0"/>
                    </a:lnTo>
                    <a:lnTo>
                      <a:pt x="2879" y="0"/>
                    </a:lnTo>
                    <a:close/>
                    <a:moveTo>
                      <a:pt x="525" y="1735"/>
                    </a:moveTo>
                    <a:lnTo>
                      <a:pt x="593" y="1693"/>
                    </a:lnTo>
                    <a:lnTo>
                      <a:pt x="508" y="1735"/>
                    </a:lnTo>
                    <a:lnTo>
                      <a:pt x="525" y="1735"/>
                    </a:lnTo>
                    <a:close/>
                  </a:path>
                </a:pathLst>
              </a:custGeom>
              <a:grpFill/>
              <a:ln w="12700" cap="flat" cmpd="sng">
                <a:solidFill>
                  <a:schemeClr val="tx1"/>
                </a:solidFill>
                <a:prstDash val="solid"/>
                <a:bevel/>
                <a:headEnd/>
                <a:tailEnd/>
              </a:ln>
            </p:spPr>
            <p:txBody>
              <a:bodyPr/>
              <a:lstStyle/>
              <a:p>
                <a:endParaRPr lang="nl-NL"/>
              </a:p>
            </p:txBody>
          </p:sp>
          <p:sp>
            <p:nvSpPr>
              <p:cNvPr id="131" name="Freeform 560">
                <a:extLst>
                  <a:ext uri="{FF2B5EF4-FFF2-40B4-BE49-F238E27FC236}">
                    <a16:creationId xmlns:a16="http://schemas.microsoft.com/office/drawing/2014/main" id="{47FF9777-CD3C-62B4-5F0E-0FD8EE61F239}"/>
                  </a:ext>
                </a:extLst>
              </p:cNvPr>
              <p:cNvSpPr>
                <a:spLocks/>
              </p:cNvSpPr>
              <p:nvPr/>
            </p:nvSpPr>
            <p:spPr bwMode="auto">
              <a:xfrm>
                <a:off x="2068" y="1609"/>
                <a:ext cx="278" cy="248"/>
              </a:xfrm>
              <a:custGeom>
                <a:avLst/>
                <a:gdLst/>
                <a:ahLst/>
                <a:cxnLst>
                  <a:cxn ang="0">
                    <a:pos x="762" y="84"/>
                  </a:cxn>
                  <a:cxn ang="0">
                    <a:pos x="677" y="84"/>
                  </a:cxn>
                  <a:cxn ang="0">
                    <a:pos x="423" y="127"/>
                  </a:cxn>
                  <a:cxn ang="0">
                    <a:pos x="381" y="169"/>
                  </a:cxn>
                  <a:cxn ang="0">
                    <a:pos x="42" y="719"/>
                  </a:cxn>
                  <a:cxn ang="0">
                    <a:pos x="0" y="889"/>
                  </a:cxn>
                  <a:cxn ang="0">
                    <a:pos x="0" y="1524"/>
                  </a:cxn>
                  <a:cxn ang="0">
                    <a:pos x="0" y="1651"/>
                  </a:cxn>
                  <a:cxn ang="0">
                    <a:pos x="42" y="1693"/>
                  </a:cxn>
                  <a:cxn ang="0">
                    <a:pos x="127" y="1778"/>
                  </a:cxn>
                  <a:cxn ang="0">
                    <a:pos x="339" y="2074"/>
                  </a:cxn>
                  <a:cxn ang="0">
                    <a:pos x="423" y="2116"/>
                  </a:cxn>
                  <a:cxn ang="0">
                    <a:pos x="889" y="2116"/>
                  </a:cxn>
                  <a:cxn ang="0">
                    <a:pos x="1355" y="2116"/>
                  </a:cxn>
                  <a:cxn ang="0">
                    <a:pos x="1736" y="2032"/>
                  </a:cxn>
                  <a:cxn ang="0">
                    <a:pos x="1820" y="2116"/>
                  </a:cxn>
                  <a:cxn ang="0">
                    <a:pos x="1947" y="2074"/>
                  </a:cxn>
                  <a:cxn ang="0">
                    <a:pos x="2032" y="1989"/>
                  </a:cxn>
                  <a:cxn ang="0">
                    <a:pos x="2201" y="1947"/>
                  </a:cxn>
                  <a:cxn ang="0">
                    <a:pos x="2371" y="1820"/>
                  </a:cxn>
                  <a:cxn ang="0">
                    <a:pos x="2244" y="1735"/>
                  </a:cxn>
                  <a:cxn ang="0">
                    <a:pos x="2159" y="1651"/>
                  </a:cxn>
                  <a:cxn ang="0">
                    <a:pos x="2032" y="1608"/>
                  </a:cxn>
                  <a:cxn ang="0">
                    <a:pos x="1947" y="1608"/>
                  </a:cxn>
                  <a:cxn ang="0">
                    <a:pos x="1905" y="1566"/>
                  </a:cxn>
                  <a:cxn ang="0">
                    <a:pos x="1947" y="1481"/>
                  </a:cxn>
                  <a:cxn ang="0">
                    <a:pos x="2074" y="1397"/>
                  </a:cxn>
                  <a:cxn ang="0">
                    <a:pos x="2074" y="1312"/>
                  </a:cxn>
                  <a:cxn ang="0">
                    <a:pos x="2032" y="1227"/>
                  </a:cxn>
                  <a:cxn ang="0">
                    <a:pos x="1947" y="1185"/>
                  </a:cxn>
                  <a:cxn ang="0">
                    <a:pos x="1863" y="973"/>
                  </a:cxn>
                  <a:cxn ang="0">
                    <a:pos x="1736" y="762"/>
                  </a:cxn>
                  <a:cxn ang="0">
                    <a:pos x="1651" y="719"/>
                  </a:cxn>
                  <a:cxn ang="0">
                    <a:pos x="1482" y="592"/>
                  </a:cxn>
                  <a:cxn ang="0">
                    <a:pos x="1355" y="550"/>
                  </a:cxn>
                  <a:cxn ang="0">
                    <a:pos x="1270" y="508"/>
                  </a:cxn>
                  <a:cxn ang="0">
                    <a:pos x="1185" y="423"/>
                  </a:cxn>
                  <a:cxn ang="0">
                    <a:pos x="1101" y="381"/>
                  </a:cxn>
                  <a:cxn ang="0">
                    <a:pos x="1058" y="254"/>
                  </a:cxn>
                  <a:cxn ang="0">
                    <a:pos x="847" y="42"/>
                  </a:cxn>
                </a:cxnLst>
                <a:rect l="0" t="0" r="r" b="b"/>
                <a:pathLst>
                  <a:path w="2371" h="2116">
                    <a:moveTo>
                      <a:pt x="720" y="0"/>
                    </a:moveTo>
                    <a:lnTo>
                      <a:pt x="762" y="84"/>
                    </a:lnTo>
                    <a:lnTo>
                      <a:pt x="677" y="42"/>
                    </a:lnTo>
                    <a:lnTo>
                      <a:pt x="677" y="84"/>
                    </a:lnTo>
                    <a:lnTo>
                      <a:pt x="635" y="84"/>
                    </a:lnTo>
                    <a:lnTo>
                      <a:pt x="423" y="127"/>
                    </a:lnTo>
                    <a:lnTo>
                      <a:pt x="381" y="127"/>
                    </a:lnTo>
                    <a:lnTo>
                      <a:pt x="381" y="169"/>
                    </a:lnTo>
                    <a:lnTo>
                      <a:pt x="254" y="381"/>
                    </a:lnTo>
                    <a:lnTo>
                      <a:pt x="42" y="719"/>
                    </a:lnTo>
                    <a:lnTo>
                      <a:pt x="42" y="762"/>
                    </a:lnTo>
                    <a:lnTo>
                      <a:pt x="0" y="889"/>
                    </a:lnTo>
                    <a:lnTo>
                      <a:pt x="0" y="1312"/>
                    </a:lnTo>
                    <a:lnTo>
                      <a:pt x="0" y="1524"/>
                    </a:lnTo>
                    <a:lnTo>
                      <a:pt x="0" y="1608"/>
                    </a:lnTo>
                    <a:lnTo>
                      <a:pt x="0" y="1651"/>
                    </a:lnTo>
                    <a:lnTo>
                      <a:pt x="0" y="1693"/>
                    </a:lnTo>
                    <a:lnTo>
                      <a:pt x="42" y="1693"/>
                    </a:lnTo>
                    <a:lnTo>
                      <a:pt x="85" y="1735"/>
                    </a:lnTo>
                    <a:lnTo>
                      <a:pt x="127" y="1778"/>
                    </a:lnTo>
                    <a:lnTo>
                      <a:pt x="212" y="1905"/>
                    </a:lnTo>
                    <a:lnTo>
                      <a:pt x="339" y="2074"/>
                    </a:lnTo>
                    <a:lnTo>
                      <a:pt x="381" y="2116"/>
                    </a:lnTo>
                    <a:lnTo>
                      <a:pt x="423" y="2116"/>
                    </a:lnTo>
                    <a:lnTo>
                      <a:pt x="847" y="2116"/>
                    </a:lnTo>
                    <a:lnTo>
                      <a:pt x="889" y="2116"/>
                    </a:lnTo>
                    <a:lnTo>
                      <a:pt x="1016" y="2116"/>
                    </a:lnTo>
                    <a:lnTo>
                      <a:pt x="1355" y="2116"/>
                    </a:lnTo>
                    <a:lnTo>
                      <a:pt x="1397" y="2116"/>
                    </a:lnTo>
                    <a:lnTo>
                      <a:pt x="1736" y="2032"/>
                    </a:lnTo>
                    <a:lnTo>
                      <a:pt x="1778" y="2074"/>
                    </a:lnTo>
                    <a:lnTo>
                      <a:pt x="1820" y="2116"/>
                    </a:lnTo>
                    <a:lnTo>
                      <a:pt x="1905" y="2074"/>
                    </a:lnTo>
                    <a:lnTo>
                      <a:pt x="1947" y="2074"/>
                    </a:lnTo>
                    <a:lnTo>
                      <a:pt x="2032" y="2032"/>
                    </a:lnTo>
                    <a:lnTo>
                      <a:pt x="2032" y="1989"/>
                    </a:lnTo>
                    <a:lnTo>
                      <a:pt x="2159" y="1947"/>
                    </a:lnTo>
                    <a:lnTo>
                      <a:pt x="2201" y="1947"/>
                    </a:lnTo>
                    <a:lnTo>
                      <a:pt x="2328" y="1862"/>
                    </a:lnTo>
                    <a:lnTo>
                      <a:pt x="2371" y="1820"/>
                    </a:lnTo>
                    <a:lnTo>
                      <a:pt x="2328" y="1735"/>
                    </a:lnTo>
                    <a:lnTo>
                      <a:pt x="2244" y="1735"/>
                    </a:lnTo>
                    <a:lnTo>
                      <a:pt x="2201" y="1693"/>
                    </a:lnTo>
                    <a:lnTo>
                      <a:pt x="2159" y="1651"/>
                    </a:lnTo>
                    <a:lnTo>
                      <a:pt x="2074" y="1608"/>
                    </a:lnTo>
                    <a:lnTo>
                      <a:pt x="2032" y="1608"/>
                    </a:lnTo>
                    <a:lnTo>
                      <a:pt x="1947" y="1566"/>
                    </a:lnTo>
                    <a:lnTo>
                      <a:pt x="1947" y="1608"/>
                    </a:lnTo>
                    <a:lnTo>
                      <a:pt x="1905" y="1608"/>
                    </a:lnTo>
                    <a:lnTo>
                      <a:pt x="1905" y="1566"/>
                    </a:lnTo>
                    <a:lnTo>
                      <a:pt x="1905" y="1524"/>
                    </a:lnTo>
                    <a:lnTo>
                      <a:pt x="1947" y="1481"/>
                    </a:lnTo>
                    <a:lnTo>
                      <a:pt x="1990" y="1439"/>
                    </a:lnTo>
                    <a:lnTo>
                      <a:pt x="2074" y="1397"/>
                    </a:lnTo>
                    <a:lnTo>
                      <a:pt x="2074" y="1354"/>
                    </a:lnTo>
                    <a:lnTo>
                      <a:pt x="2074" y="1312"/>
                    </a:lnTo>
                    <a:lnTo>
                      <a:pt x="2032" y="1270"/>
                    </a:lnTo>
                    <a:lnTo>
                      <a:pt x="2032" y="1227"/>
                    </a:lnTo>
                    <a:lnTo>
                      <a:pt x="1990" y="1185"/>
                    </a:lnTo>
                    <a:lnTo>
                      <a:pt x="1947" y="1185"/>
                    </a:lnTo>
                    <a:lnTo>
                      <a:pt x="1947" y="1143"/>
                    </a:lnTo>
                    <a:lnTo>
                      <a:pt x="1863" y="973"/>
                    </a:lnTo>
                    <a:lnTo>
                      <a:pt x="1820" y="846"/>
                    </a:lnTo>
                    <a:lnTo>
                      <a:pt x="1736" y="762"/>
                    </a:lnTo>
                    <a:lnTo>
                      <a:pt x="1693" y="762"/>
                    </a:lnTo>
                    <a:lnTo>
                      <a:pt x="1651" y="719"/>
                    </a:lnTo>
                    <a:lnTo>
                      <a:pt x="1609" y="635"/>
                    </a:lnTo>
                    <a:lnTo>
                      <a:pt x="1482" y="592"/>
                    </a:lnTo>
                    <a:lnTo>
                      <a:pt x="1439" y="550"/>
                    </a:lnTo>
                    <a:lnTo>
                      <a:pt x="1355" y="550"/>
                    </a:lnTo>
                    <a:lnTo>
                      <a:pt x="1270" y="550"/>
                    </a:lnTo>
                    <a:lnTo>
                      <a:pt x="1270" y="508"/>
                    </a:lnTo>
                    <a:lnTo>
                      <a:pt x="1228" y="465"/>
                    </a:lnTo>
                    <a:lnTo>
                      <a:pt x="1185" y="423"/>
                    </a:lnTo>
                    <a:lnTo>
                      <a:pt x="1143" y="338"/>
                    </a:lnTo>
                    <a:lnTo>
                      <a:pt x="1101" y="381"/>
                    </a:lnTo>
                    <a:lnTo>
                      <a:pt x="1101" y="338"/>
                    </a:lnTo>
                    <a:lnTo>
                      <a:pt x="1058" y="254"/>
                    </a:lnTo>
                    <a:lnTo>
                      <a:pt x="889" y="42"/>
                    </a:lnTo>
                    <a:lnTo>
                      <a:pt x="847" y="42"/>
                    </a:lnTo>
                    <a:lnTo>
                      <a:pt x="720" y="0"/>
                    </a:lnTo>
                    <a:close/>
                  </a:path>
                </a:pathLst>
              </a:custGeom>
              <a:grpFill/>
              <a:ln w="12700" cap="flat" cmpd="sng">
                <a:solidFill>
                  <a:schemeClr val="tx1"/>
                </a:solidFill>
                <a:prstDash val="solid"/>
                <a:bevel/>
                <a:headEnd/>
                <a:tailEnd/>
              </a:ln>
            </p:spPr>
            <p:txBody>
              <a:bodyPr/>
              <a:lstStyle/>
              <a:p>
                <a:endParaRPr lang="nl-NL"/>
              </a:p>
            </p:txBody>
          </p:sp>
        </p:grpSp>
        <p:sp>
          <p:nvSpPr>
            <p:cNvPr id="129" name="Tekstvak 128">
              <a:extLst>
                <a:ext uri="{FF2B5EF4-FFF2-40B4-BE49-F238E27FC236}">
                  <a16:creationId xmlns:a16="http://schemas.microsoft.com/office/drawing/2014/main" id="{81807388-CECB-97AF-5A1E-428D3BAFD9A9}"/>
                </a:ext>
              </a:extLst>
            </p:cNvPr>
            <p:cNvSpPr txBox="1"/>
            <p:nvPr/>
          </p:nvSpPr>
          <p:spPr>
            <a:xfrm>
              <a:off x="3743325" y="5286375"/>
              <a:ext cx="0" cy="0"/>
            </a:xfrm>
            <a:prstGeom prst="rect">
              <a:avLst/>
            </a:prstGeom>
            <a:grp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t">
              <a:noAutofit/>
            </a:bodyPr>
            <a:lstStyle/>
            <a:p>
              <a:pPr marL="0" marR="0" indent="0" algn="l"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grpSp>
      <p:sp>
        <p:nvSpPr>
          <p:cNvPr id="148" name="Afgeronde rechthoek 147">
            <a:extLst>
              <a:ext uri="{FF2B5EF4-FFF2-40B4-BE49-F238E27FC236}">
                <a16:creationId xmlns:a16="http://schemas.microsoft.com/office/drawing/2014/main" id="{C217DCE8-BB6A-03EB-CBC8-53B7BDEF5169}"/>
              </a:ext>
            </a:extLst>
          </p:cNvPr>
          <p:cNvSpPr/>
          <p:nvPr/>
        </p:nvSpPr>
        <p:spPr>
          <a:xfrm>
            <a:off x="3274828" y="3143670"/>
            <a:ext cx="10781413" cy="8155460"/>
          </a:xfrm>
          <a:prstGeom prst="roundRect">
            <a:avLst>
              <a:gd name="adj" fmla="val 8512"/>
            </a:avLst>
          </a:prstGeom>
          <a:noFill/>
          <a:ln w="6350">
            <a:solidFill>
              <a:schemeClr val="tx1"/>
            </a:solid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149" name="Tekstvak 148">
            <a:extLst>
              <a:ext uri="{FF2B5EF4-FFF2-40B4-BE49-F238E27FC236}">
                <a16:creationId xmlns:a16="http://schemas.microsoft.com/office/drawing/2014/main" id="{DB2C09A5-F5C0-29B8-C211-ACC1B8652AEB}"/>
              </a:ext>
            </a:extLst>
          </p:cNvPr>
          <p:cNvSpPr txBox="1"/>
          <p:nvPr/>
        </p:nvSpPr>
        <p:spPr>
          <a:xfrm>
            <a:off x="5889938" y="2936489"/>
            <a:ext cx="5532853" cy="453082"/>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Uitbreiding aanpak Gezinshulp</a:t>
            </a:r>
          </a:p>
        </p:txBody>
      </p:sp>
      <p:sp>
        <p:nvSpPr>
          <p:cNvPr id="150" name="Tekstvak 149">
            <a:extLst>
              <a:ext uri="{FF2B5EF4-FFF2-40B4-BE49-F238E27FC236}">
                <a16:creationId xmlns:a16="http://schemas.microsoft.com/office/drawing/2014/main" id="{2DE0E6BD-0421-5337-9A18-1F136C49FE0E}"/>
              </a:ext>
            </a:extLst>
          </p:cNvPr>
          <p:cNvSpPr txBox="1"/>
          <p:nvPr/>
        </p:nvSpPr>
        <p:spPr>
          <a:xfrm>
            <a:off x="5550782" y="6547131"/>
            <a:ext cx="781343" cy="733483"/>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1. </a:t>
            </a:r>
          </a:p>
        </p:txBody>
      </p:sp>
      <p:sp>
        <p:nvSpPr>
          <p:cNvPr id="151" name="Tekstvak 150">
            <a:extLst>
              <a:ext uri="{FF2B5EF4-FFF2-40B4-BE49-F238E27FC236}">
                <a16:creationId xmlns:a16="http://schemas.microsoft.com/office/drawing/2014/main" id="{7433218F-8CA7-AFD9-0BCE-0480343C08EF}"/>
              </a:ext>
            </a:extLst>
          </p:cNvPr>
          <p:cNvSpPr txBox="1"/>
          <p:nvPr/>
        </p:nvSpPr>
        <p:spPr>
          <a:xfrm>
            <a:off x="9426383" y="6614806"/>
            <a:ext cx="781343" cy="733483"/>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2</a:t>
            </a: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 </a:t>
            </a:r>
          </a:p>
        </p:txBody>
      </p:sp>
      <p:sp>
        <p:nvSpPr>
          <p:cNvPr id="152" name="Tekstvak 151">
            <a:extLst>
              <a:ext uri="{FF2B5EF4-FFF2-40B4-BE49-F238E27FC236}">
                <a16:creationId xmlns:a16="http://schemas.microsoft.com/office/drawing/2014/main" id="{5094EE8C-CCD0-E8AE-BC1D-BD39525965BF}"/>
              </a:ext>
            </a:extLst>
          </p:cNvPr>
          <p:cNvSpPr txBox="1"/>
          <p:nvPr/>
        </p:nvSpPr>
        <p:spPr>
          <a:xfrm>
            <a:off x="5550782" y="10471822"/>
            <a:ext cx="781343" cy="733483"/>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3. </a:t>
            </a:r>
          </a:p>
        </p:txBody>
      </p:sp>
      <p:sp>
        <p:nvSpPr>
          <p:cNvPr id="153" name="Tekstvak 152">
            <a:extLst>
              <a:ext uri="{FF2B5EF4-FFF2-40B4-BE49-F238E27FC236}">
                <a16:creationId xmlns:a16="http://schemas.microsoft.com/office/drawing/2014/main" id="{DA76C4FB-045C-644A-D7BF-82518C2F2AD0}"/>
              </a:ext>
            </a:extLst>
          </p:cNvPr>
          <p:cNvSpPr txBox="1"/>
          <p:nvPr/>
        </p:nvSpPr>
        <p:spPr>
          <a:xfrm>
            <a:off x="9426383" y="10471822"/>
            <a:ext cx="781343" cy="733483"/>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4. </a:t>
            </a:r>
          </a:p>
        </p:txBody>
      </p:sp>
      <p:pic>
        <p:nvPicPr>
          <p:cNvPr id="154" name="Graphic 153" descr="Vraagteken met effen opvulling">
            <a:extLst>
              <a:ext uri="{FF2B5EF4-FFF2-40B4-BE49-F238E27FC236}">
                <a16:creationId xmlns:a16="http://schemas.microsoft.com/office/drawing/2014/main" id="{0EA3FD20-D487-68D4-1BED-6EE5167A01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26235" y="7430039"/>
            <a:ext cx="407356" cy="407356"/>
          </a:xfrm>
          <a:prstGeom prst="rect">
            <a:avLst/>
          </a:prstGeom>
        </p:spPr>
      </p:pic>
      <p:pic>
        <p:nvPicPr>
          <p:cNvPr id="155" name="Graphic 154" descr="Denkwolkje silhouet">
            <a:extLst>
              <a:ext uri="{FF2B5EF4-FFF2-40B4-BE49-F238E27FC236}">
                <a16:creationId xmlns:a16="http://schemas.microsoft.com/office/drawing/2014/main" id="{490A95C8-18E5-EEEC-76A0-22DD4CBEC7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8765" y="7061583"/>
            <a:ext cx="1446244" cy="1446244"/>
          </a:xfrm>
          <a:prstGeom prst="rect">
            <a:avLst/>
          </a:prstGeom>
        </p:spPr>
      </p:pic>
    </p:spTree>
    <p:extLst>
      <p:ext uri="{BB962C8B-B14F-4D97-AF65-F5344CB8AC3E}">
        <p14:creationId xmlns:p14="http://schemas.microsoft.com/office/powerpoint/2010/main" val="384336825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2E651B6A-4EC4-B63D-EAA0-20B11507E920}"/>
              </a:ext>
            </a:extLst>
          </p:cNvPr>
          <p:cNvSpPr>
            <a:spLocks noGrp="1"/>
          </p:cNvSpPr>
          <p:nvPr>
            <p:ph type="body" sz="quarter" idx="11"/>
          </p:nvPr>
        </p:nvSpPr>
        <p:spPr/>
        <p:txBody>
          <a:bodyPr/>
          <a:lstStyle/>
          <a:p>
            <a:r>
              <a:rPr lang="nl-NL" dirty="0"/>
              <a:t>inhoud</a:t>
            </a:r>
          </a:p>
        </p:txBody>
      </p:sp>
      <p:sp>
        <p:nvSpPr>
          <p:cNvPr id="3" name="Tijdelijke aanduiding voor tekst 2">
            <a:extLst>
              <a:ext uri="{FF2B5EF4-FFF2-40B4-BE49-F238E27FC236}">
                <a16:creationId xmlns:a16="http://schemas.microsoft.com/office/drawing/2014/main" id="{27E62FAF-642D-DCBB-3A87-DB87B306CE71}"/>
              </a:ext>
            </a:extLst>
          </p:cNvPr>
          <p:cNvSpPr>
            <a:spLocks noGrp="1"/>
          </p:cNvSpPr>
          <p:nvPr>
            <p:ph type="body" sz="quarter" idx="15"/>
          </p:nvPr>
        </p:nvSpPr>
        <p:spPr/>
        <p:txBody>
          <a:bodyPr/>
          <a:lstStyle/>
          <a:p>
            <a:r>
              <a:rPr lang="nl-NL" dirty="0"/>
              <a:t>Aanleiding</a:t>
            </a:r>
          </a:p>
          <a:p>
            <a:endParaRPr lang="nl-NL" dirty="0"/>
          </a:p>
          <a:p>
            <a:r>
              <a:rPr lang="nl-NL" dirty="0"/>
              <a:t>Integrale zorg</a:t>
            </a:r>
          </a:p>
          <a:p>
            <a:endParaRPr lang="nl-NL" dirty="0"/>
          </a:p>
          <a:p>
            <a:r>
              <a:rPr lang="nl-NL" dirty="0"/>
              <a:t>Samenwerking</a:t>
            </a:r>
          </a:p>
          <a:p>
            <a:endParaRPr lang="nl-NL" dirty="0"/>
          </a:p>
          <a:p>
            <a:r>
              <a:rPr lang="nl-NL" dirty="0"/>
              <a:t>Wat levert het op</a:t>
            </a:r>
          </a:p>
          <a:p>
            <a:endParaRPr lang="nl-NL" dirty="0"/>
          </a:p>
          <a:p>
            <a:r>
              <a:rPr lang="nl-NL" dirty="0"/>
              <a:t>Werkwijze</a:t>
            </a:r>
          </a:p>
          <a:p>
            <a:endParaRPr lang="nl-NL" dirty="0"/>
          </a:p>
          <a:p>
            <a:r>
              <a:rPr lang="nl-NL" dirty="0"/>
              <a:t>Randvoorwaarden</a:t>
            </a:r>
          </a:p>
          <a:p>
            <a:endParaRPr lang="nl-NL" dirty="0"/>
          </a:p>
          <a:p>
            <a:r>
              <a:rPr lang="nl-NL" dirty="0"/>
              <a:t>Aandachtspunten</a:t>
            </a:r>
          </a:p>
        </p:txBody>
      </p:sp>
    </p:spTree>
    <p:extLst>
      <p:ext uri="{BB962C8B-B14F-4D97-AF65-F5344CB8AC3E}">
        <p14:creationId xmlns:p14="http://schemas.microsoft.com/office/powerpoint/2010/main" val="36714424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jl omlaag 14">
            <a:extLst>
              <a:ext uri="{FF2B5EF4-FFF2-40B4-BE49-F238E27FC236}">
                <a16:creationId xmlns:a16="http://schemas.microsoft.com/office/drawing/2014/main" id="{7955B277-7452-7079-51CC-5AACE272221E}"/>
              </a:ext>
            </a:extLst>
          </p:cNvPr>
          <p:cNvSpPr/>
          <p:nvPr/>
        </p:nvSpPr>
        <p:spPr>
          <a:xfrm>
            <a:off x="4575149" y="3170678"/>
            <a:ext cx="2437120" cy="8001573"/>
          </a:xfrm>
          <a:prstGeom prst="downArrow">
            <a:avLst/>
          </a:prstGeom>
          <a:solidFill>
            <a:schemeClr val="bg1">
              <a:lumMod val="95000"/>
            </a:schemeClr>
          </a:solidFill>
          <a:ln w="6350">
            <a:no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16" name="Titel 1">
            <a:extLst>
              <a:ext uri="{FF2B5EF4-FFF2-40B4-BE49-F238E27FC236}">
                <a16:creationId xmlns:a16="http://schemas.microsoft.com/office/drawing/2014/main" id="{043F47A3-31B9-E91E-D97D-4A6C2085C457}"/>
              </a:ext>
            </a:extLst>
          </p:cNvPr>
          <p:cNvSpPr>
            <a:spLocks noGrp="1"/>
          </p:cNvSpPr>
          <p:nvPr>
            <p:ph type="title"/>
          </p:nvPr>
        </p:nvSpPr>
        <p:spPr>
          <a:xfrm rot="10800000" flipV="1">
            <a:off x="919321" y="811022"/>
            <a:ext cx="15495274" cy="871158"/>
          </a:xfrm>
        </p:spPr>
        <p:txBody>
          <a:bodyPr/>
          <a:lstStyle/>
          <a:p>
            <a:r>
              <a:rPr lang="nl-NL" b="1" dirty="0"/>
              <a:t>AANLEIDING</a:t>
            </a:r>
            <a:r>
              <a:rPr lang="nl-NL" dirty="0"/>
              <a:t> | Gezinnen met complexe problematiek over meerdere levensdomeinen worden in het huidige zorgstelsel te vaak onvoldoende geholpen</a:t>
            </a:r>
          </a:p>
        </p:txBody>
      </p:sp>
      <p:sp>
        <p:nvSpPr>
          <p:cNvPr id="17" name="Tijdelijke aanduiding voor tekst 2">
            <a:extLst>
              <a:ext uri="{FF2B5EF4-FFF2-40B4-BE49-F238E27FC236}">
                <a16:creationId xmlns:a16="http://schemas.microsoft.com/office/drawing/2014/main" id="{5E4F35D4-9344-4F20-847B-34875EA1CE3E}"/>
              </a:ext>
            </a:extLst>
          </p:cNvPr>
          <p:cNvSpPr>
            <a:spLocks noGrp="1"/>
          </p:cNvSpPr>
          <p:nvPr>
            <p:ph type="body" sz="quarter" idx="15"/>
          </p:nvPr>
        </p:nvSpPr>
        <p:spPr>
          <a:xfrm>
            <a:off x="900308" y="2662644"/>
            <a:ext cx="9699684" cy="7794096"/>
          </a:xfrm>
        </p:spPr>
        <p:txBody>
          <a:bodyPr/>
          <a:lstStyle/>
          <a:p>
            <a:r>
              <a:rPr lang="nl-NL" b="1" dirty="0"/>
              <a:t>De nood voor integrale </a:t>
            </a:r>
            <a:r>
              <a:rPr lang="nl-NL" b="1" i="1" dirty="0"/>
              <a:t>gezinszorg</a:t>
            </a:r>
            <a:r>
              <a:rPr lang="nl-NL" b="1" dirty="0"/>
              <a:t> in plaats van jeugdzorg is hoog:</a:t>
            </a:r>
          </a:p>
          <a:p>
            <a:endParaRPr lang="nl-NL" b="1" dirty="0"/>
          </a:p>
          <a:p>
            <a:pPr marL="342900" indent="-342900">
              <a:buFont typeface="Arial" panose="020B0604020202020204" pitchFamily="34" charset="0"/>
              <a:buChar char="•"/>
            </a:pPr>
            <a:r>
              <a:rPr lang="nl-NL" dirty="0"/>
              <a:t>1 op de 4 kinderen onder de 18 jaar heeft een ouder met psychische problemen en/of een verslaving</a:t>
            </a:r>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nl-NL" dirty="0"/>
              <a:t>Wanneer één van de ouders een stemmings- of angststoornis heeft, de kans 65 procent is dat een kind daar ook last van krijgt</a:t>
            </a:r>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r>
              <a:rPr lang="nl-NL" dirty="0"/>
              <a:t>In 72% van de </a:t>
            </a:r>
            <a:r>
              <a:rPr lang="nl-NL" dirty="0" err="1"/>
              <a:t>hoogspecialistische</a:t>
            </a:r>
            <a:r>
              <a:rPr lang="nl-NL" dirty="0"/>
              <a:t> jeugdzorg casussen speelt er problematiek bij de ouders waar zij in een derde van de gevallen niet mee worden geholpen en en die van invloed is op de problematiek van het kind</a:t>
            </a:r>
          </a:p>
          <a:p>
            <a:pPr marL="342900" indent="-342900">
              <a:buFont typeface="Arial" panose="020B0604020202020204" pitchFamily="34" charset="0"/>
              <a:buChar char="•"/>
            </a:pPr>
            <a:endParaRPr lang="nl-NL" dirty="0"/>
          </a:p>
          <a:p>
            <a:pPr marL="342900" marR="0" indent="-342900" defTabSz="2438338" rtl="0" fontAlgn="auto" latinLnBrk="0" hangingPunct="0">
              <a:lnSpc>
                <a:spcPct val="114000"/>
              </a:lnSpc>
              <a:spcBef>
                <a:spcPts val="0"/>
              </a:spcBef>
              <a:buClrTx/>
              <a:buSzTx/>
              <a:buFont typeface="Arial" panose="020B0604020202020204" pitchFamily="34" charset="0"/>
              <a:buChar char="•"/>
              <a:tabLst/>
            </a:pPr>
            <a:r>
              <a:rPr lang="nl-NL" dirty="0"/>
              <a:t>De p</a:t>
            </a:r>
            <a:r>
              <a:rPr lang="nl-NL" sz="2200" dirty="0">
                <a:latin typeface="Poppins" pitchFamily="2" charset="77"/>
                <a:cs typeface="Poppins" pitchFamily="2" charset="77"/>
              </a:rPr>
              <a:t>roblematiek beslaat meerdere levensdomeinen (sociaal, economisch en psychisch) en gezinsleden (ouder en kind). </a:t>
            </a: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D</a:t>
            </a:r>
            <a:r>
              <a:rPr lang="nl-NL" sz="2200" dirty="0">
                <a:latin typeface="Poppins" pitchFamily="2" charset="77"/>
                <a:cs typeface="Poppins" pitchFamily="2" charset="77"/>
              </a:rPr>
              <a:t>e verschillende problemen zijn met elkaar verweven, versterken elkaar en houden elkaar in stand.</a:t>
            </a: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endParaRPr kumimoji="0" lang="nl-NL" b="0" i="0" u="none" strike="noStrike" cap="none" spc="0" normalizeH="0" baseline="0" dirty="0">
              <a:ln>
                <a:noFill/>
              </a:ln>
              <a:solidFill>
                <a:srgbClr val="000000"/>
              </a:solidFill>
              <a:effectLst/>
              <a:uFillTx/>
              <a:sym typeface="Helvetica Neue"/>
            </a:endParaRP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r>
              <a:rPr lang="nl-NL" sz="2200" dirty="0">
                <a:latin typeface="Poppins" pitchFamily="2" charset="77"/>
                <a:cs typeface="Poppins" pitchFamily="2" charset="77"/>
              </a:rPr>
              <a:t>Schotten in wetgeving en financiering, privacy, verschillende systemen, gebrek aan centrale regie en overvolle agenda’s maken samenwerking om deze gezinnen onmogelijk</a:t>
            </a:r>
            <a:endParaRPr lang="nl-NL" dirty="0"/>
          </a:p>
        </p:txBody>
      </p:sp>
      <p:grpSp>
        <p:nvGrpSpPr>
          <p:cNvPr id="18" name="Groep 17">
            <a:extLst>
              <a:ext uri="{FF2B5EF4-FFF2-40B4-BE49-F238E27FC236}">
                <a16:creationId xmlns:a16="http://schemas.microsoft.com/office/drawing/2014/main" id="{38BEE826-981A-AFC7-6E16-60D3572A8D90}"/>
              </a:ext>
            </a:extLst>
          </p:cNvPr>
          <p:cNvGrpSpPr>
            <a:grpSpLocks noChangeAspect="1"/>
          </p:cNvGrpSpPr>
          <p:nvPr/>
        </p:nvGrpSpPr>
        <p:grpSpPr>
          <a:xfrm>
            <a:off x="10513075" y="3170678"/>
            <a:ext cx="6463602" cy="5823342"/>
            <a:chOff x="2207942" y="1137425"/>
            <a:chExt cx="5410511" cy="4834724"/>
          </a:xfrm>
        </p:grpSpPr>
        <p:sp>
          <p:nvSpPr>
            <p:cNvPr id="19" name="Vrije vorm 18">
              <a:extLst>
                <a:ext uri="{FF2B5EF4-FFF2-40B4-BE49-F238E27FC236}">
                  <a16:creationId xmlns:a16="http://schemas.microsoft.com/office/drawing/2014/main" id="{BEFDE926-C269-2BBA-EEAE-725E7CF0AC2E}"/>
                </a:ext>
              </a:extLst>
            </p:cNvPr>
            <p:cNvSpPr/>
            <p:nvPr/>
          </p:nvSpPr>
          <p:spPr>
            <a:xfrm>
              <a:off x="3231995" y="3951093"/>
              <a:ext cx="3345366" cy="2021056"/>
            </a:xfrm>
            <a:custGeom>
              <a:avLst/>
              <a:gdLst>
                <a:gd name="connsiteX0" fmla="*/ 1672683 w 3345366"/>
                <a:gd name="connsiteY0" fmla="*/ 0 h 2021056"/>
                <a:gd name="connsiteX1" fmla="*/ 1761523 w 3345366"/>
                <a:gd name="connsiteY1" fmla="*/ 62447 h 2021056"/>
                <a:gd name="connsiteX2" fmla="*/ 2696736 w 3345366"/>
                <a:gd name="connsiteY2" fmla="*/ 330975 h 2021056"/>
                <a:gd name="connsiteX3" fmla="*/ 3194141 w 3345366"/>
                <a:gd name="connsiteY3" fmla="*/ 260286 h 2021056"/>
                <a:gd name="connsiteX4" fmla="*/ 3324929 w 3345366"/>
                <a:gd name="connsiteY4" fmla="*/ 215290 h 2021056"/>
                <a:gd name="connsiteX5" fmla="*/ 3336730 w 3345366"/>
                <a:gd name="connsiteY5" fmla="*/ 287973 h 2021056"/>
                <a:gd name="connsiteX6" fmla="*/ 3345366 w 3345366"/>
                <a:gd name="connsiteY6" fmla="*/ 448734 h 2021056"/>
                <a:gd name="connsiteX7" fmla="*/ 1672683 w 3345366"/>
                <a:gd name="connsiteY7" fmla="*/ 2021056 h 2021056"/>
                <a:gd name="connsiteX8" fmla="*/ 0 w 3345366"/>
                <a:gd name="connsiteY8" fmla="*/ 448734 h 2021056"/>
                <a:gd name="connsiteX9" fmla="*/ 8636 w 3345366"/>
                <a:gd name="connsiteY9" fmla="*/ 287973 h 2021056"/>
                <a:gd name="connsiteX10" fmla="*/ 20437 w 3345366"/>
                <a:gd name="connsiteY10" fmla="*/ 215290 h 2021056"/>
                <a:gd name="connsiteX11" fmla="*/ 151224 w 3345366"/>
                <a:gd name="connsiteY11" fmla="*/ 260286 h 2021056"/>
                <a:gd name="connsiteX12" fmla="*/ 648629 w 3345366"/>
                <a:gd name="connsiteY12" fmla="*/ 330975 h 2021056"/>
                <a:gd name="connsiteX13" fmla="*/ 1583842 w 3345366"/>
                <a:gd name="connsiteY13" fmla="*/ 62447 h 2021056"/>
                <a:gd name="connsiteX14" fmla="*/ 1672683 w 3345366"/>
                <a:gd name="connsiteY14" fmla="*/ 0 h 202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45366" h="2021056">
                  <a:moveTo>
                    <a:pt x="1672683" y="0"/>
                  </a:moveTo>
                  <a:lnTo>
                    <a:pt x="1761523" y="62447"/>
                  </a:lnTo>
                  <a:cubicBezTo>
                    <a:pt x="2028485" y="231982"/>
                    <a:pt x="2350312" y="330975"/>
                    <a:pt x="2696736" y="330975"/>
                  </a:cubicBezTo>
                  <a:cubicBezTo>
                    <a:pt x="2869948" y="330975"/>
                    <a:pt x="3037011" y="306227"/>
                    <a:pt x="3194141" y="260286"/>
                  </a:cubicBezTo>
                  <a:lnTo>
                    <a:pt x="3324929" y="215290"/>
                  </a:lnTo>
                  <a:lnTo>
                    <a:pt x="3336730" y="287973"/>
                  </a:lnTo>
                  <a:cubicBezTo>
                    <a:pt x="3342441" y="340830"/>
                    <a:pt x="3345366" y="394461"/>
                    <a:pt x="3345366" y="448734"/>
                  </a:cubicBezTo>
                  <a:cubicBezTo>
                    <a:pt x="3345366" y="1317103"/>
                    <a:pt x="2596480" y="2021056"/>
                    <a:pt x="1672683" y="2021056"/>
                  </a:cubicBezTo>
                  <a:cubicBezTo>
                    <a:pt x="748886" y="2021056"/>
                    <a:pt x="0" y="1317103"/>
                    <a:pt x="0" y="448734"/>
                  </a:cubicBezTo>
                  <a:cubicBezTo>
                    <a:pt x="0" y="394461"/>
                    <a:pt x="2925" y="340830"/>
                    <a:pt x="8636" y="287973"/>
                  </a:cubicBezTo>
                  <a:lnTo>
                    <a:pt x="20437" y="215290"/>
                  </a:lnTo>
                  <a:lnTo>
                    <a:pt x="151224" y="260286"/>
                  </a:lnTo>
                  <a:cubicBezTo>
                    <a:pt x="308354" y="306227"/>
                    <a:pt x="475417" y="330975"/>
                    <a:pt x="648629" y="330975"/>
                  </a:cubicBezTo>
                  <a:cubicBezTo>
                    <a:pt x="995053" y="330975"/>
                    <a:pt x="1316880" y="231982"/>
                    <a:pt x="1583842" y="62447"/>
                  </a:cubicBezTo>
                  <a:lnTo>
                    <a:pt x="1672683"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0" name="Vrije vorm 19">
              <a:extLst>
                <a:ext uri="{FF2B5EF4-FFF2-40B4-BE49-F238E27FC236}">
                  <a16:creationId xmlns:a16="http://schemas.microsoft.com/office/drawing/2014/main" id="{94F89270-01DD-C8EC-733B-1F95F71FE1B1}"/>
                </a:ext>
              </a:extLst>
            </p:cNvPr>
            <p:cNvSpPr/>
            <p:nvPr/>
          </p:nvSpPr>
          <p:spPr>
            <a:xfrm>
              <a:off x="4904678" y="1137425"/>
              <a:ext cx="2696736" cy="3028959"/>
            </a:xfrm>
            <a:custGeom>
              <a:avLst/>
              <a:gdLst>
                <a:gd name="connsiteX0" fmla="*/ 1024053 w 2696736"/>
                <a:gd name="connsiteY0" fmla="*/ 0 h 3028959"/>
                <a:gd name="connsiteX1" fmla="*/ 2696736 w 2696736"/>
                <a:gd name="connsiteY1" fmla="*/ 1572322 h 3028959"/>
                <a:gd name="connsiteX2" fmla="*/ 1675137 w 2696736"/>
                <a:gd name="connsiteY2" fmla="*/ 3021083 h 3028959"/>
                <a:gd name="connsiteX3" fmla="*/ 1652246 w 2696736"/>
                <a:gd name="connsiteY3" fmla="*/ 3028959 h 3028959"/>
                <a:gd name="connsiteX4" fmla="*/ 1638700 w 2696736"/>
                <a:gd name="connsiteY4" fmla="*/ 2945525 h 3028959"/>
                <a:gd name="connsiteX5" fmla="*/ 651084 w 2696736"/>
                <a:gd name="connsiteY5" fmla="*/ 1813642 h 3028959"/>
                <a:gd name="connsiteX6" fmla="*/ 628192 w 2696736"/>
                <a:gd name="connsiteY6" fmla="*/ 1805766 h 3028959"/>
                <a:gd name="connsiteX7" fmla="*/ 639993 w 2696736"/>
                <a:gd name="connsiteY7" fmla="*/ 1733083 h 3028959"/>
                <a:gd name="connsiteX8" fmla="*/ 648629 w 2696736"/>
                <a:gd name="connsiteY8" fmla="*/ 1572322 h 3028959"/>
                <a:gd name="connsiteX9" fmla="*/ 39928 w 2696736"/>
                <a:gd name="connsiteY9" fmla="*/ 359042 h 3028959"/>
                <a:gd name="connsiteX10" fmla="*/ 0 w 2696736"/>
                <a:gd name="connsiteY10" fmla="*/ 330975 h 3028959"/>
                <a:gd name="connsiteX11" fmla="*/ 88840 w 2696736"/>
                <a:gd name="connsiteY11" fmla="*/ 268528 h 3028959"/>
                <a:gd name="connsiteX12" fmla="*/ 1024053 w 2696736"/>
                <a:gd name="connsiteY12" fmla="*/ 0 h 302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736" h="3028959">
                  <a:moveTo>
                    <a:pt x="1024053" y="0"/>
                  </a:moveTo>
                  <a:cubicBezTo>
                    <a:pt x="1947850" y="0"/>
                    <a:pt x="2696736" y="703953"/>
                    <a:pt x="2696736" y="1572322"/>
                  </a:cubicBezTo>
                  <a:cubicBezTo>
                    <a:pt x="2696736" y="2223599"/>
                    <a:pt x="2275488" y="2782392"/>
                    <a:pt x="1675137" y="3021083"/>
                  </a:cubicBezTo>
                  <a:lnTo>
                    <a:pt x="1652246" y="3028959"/>
                  </a:lnTo>
                  <a:lnTo>
                    <a:pt x="1638700" y="2945525"/>
                  </a:lnTo>
                  <a:cubicBezTo>
                    <a:pt x="1527292" y="2433754"/>
                    <a:pt x="1151376" y="2012552"/>
                    <a:pt x="651084" y="1813642"/>
                  </a:cubicBezTo>
                  <a:lnTo>
                    <a:pt x="628192" y="1805766"/>
                  </a:lnTo>
                  <a:lnTo>
                    <a:pt x="639993" y="1733083"/>
                  </a:lnTo>
                  <a:cubicBezTo>
                    <a:pt x="645704" y="1680226"/>
                    <a:pt x="648629" y="1626595"/>
                    <a:pt x="648629" y="1572322"/>
                  </a:cubicBezTo>
                  <a:cubicBezTo>
                    <a:pt x="648629" y="1083864"/>
                    <a:pt x="411677" y="647429"/>
                    <a:pt x="39928" y="359042"/>
                  </a:cubicBezTo>
                  <a:lnTo>
                    <a:pt x="0" y="330975"/>
                  </a:lnTo>
                  <a:lnTo>
                    <a:pt x="88840" y="268528"/>
                  </a:lnTo>
                  <a:cubicBezTo>
                    <a:pt x="355802" y="98993"/>
                    <a:pt x="677629" y="0"/>
                    <a:pt x="1024053" y="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1" name="Vrije vorm 20">
              <a:extLst>
                <a:ext uri="{FF2B5EF4-FFF2-40B4-BE49-F238E27FC236}">
                  <a16:creationId xmlns:a16="http://schemas.microsoft.com/office/drawing/2014/main" id="{78C76C22-276B-C1E6-CA8A-A759E3CB02FE}"/>
                </a:ext>
              </a:extLst>
            </p:cNvPr>
            <p:cNvSpPr/>
            <p:nvPr/>
          </p:nvSpPr>
          <p:spPr>
            <a:xfrm>
              <a:off x="4256049" y="1468399"/>
              <a:ext cx="1297259" cy="1474792"/>
            </a:xfrm>
            <a:custGeom>
              <a:avLst/>
              <a:gdLst>
                <a:gd name="connsiteX0" fmla="*/ 648630 w 1297259"/>
                <a:gd name="connsiteY0" fmla="*/ 0 h 1474792"/>
                <a:gd name="connsiteX1" fmla="*/ 688558 w 1297259"/>
                <a:gd name="connsiteY1" fmla="*/ 28067 h 1474792"/>
                <a:gd name="connsiteX2" fmla="*/ 1297259 w 1297259"/>
                <a:gd name="connsiteY2" fmla="*/ 1241347 h 1474792"/>
                <a:gd name="connsiteX3" fmla="*/ 1288623 w 1297259"/>
                <a:gd name="connsiteY3" fmla="*/ 1402108 h 1474792"/>
                <a:gd name="connsiteX4" fmla="*/ 1276822 w 1297259"/>
                <a:gd name="connsiteY4" fmla="*/ 1474791 h 1474792"/>
                <a:gd name="connsiteX5" fmla="*/ 1146035 w 1297259"/>
                <a:gd name="connsiteY5" fmla="*/ 1429795 h 1474792"/>
                <a:gd name="connsiteX6" fmla="*/ 648630 w 1297259"/>
                <a:gd name="connsiteY6" fmla="*/ 1359106 h 1474792"/>
                <a:gd name="connsiteX7" fmla="*/ 151225 w 1297259"/>
                <a:gd name="connsiteY7" fmla="*/ 1429795 h 1474792"/>
                <a:gd name="connsiteX8" fmla="*/ 20437 w 1297259"/>
                <a:gd name="connsiteY8" fmla="*/ 1474792 h 1474792"/>
                <a:gd name="connsiteX9" fmla="*/ 8636 w 1297259"/>
                <a:gd name="connsiteY9" fmla="*/ 1402108 h 1474792"/>
                <a:gd name="connsiteX10" fmla="*/ 0 w 1297259"/>
                <a:gd name="connsiteY10" fmla="*/ 1241347 h 1474792"/>
                <a:gd name="connsiteX11" fmla="*/ 608701 w 1297259"/>
                <a:gd name="connsiteY11" fmla="*/ 28067 h 1474792"/>
                <a:gd name="connsiteX12" fmla="*/ 648630 w 1297259"/>
                <a:gd name="connsiteY12" fmla="*/ 0 h 147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7259" h="1474792">
                  <a:moveTo>
                    <a:pt x="648630" y="0"/>
                  </a:moveTo>
                  <a:lnTo>
                    <a:pt x="688558" y="28067"/>
                  </a:lnTo>
                  <a:cubicBezTo>
                    <a:pt x="1060307" y="316454"/>
                    <a:pt x="1297259" y="752889"/>
                    <a:pt x="1297259" y="1241347"/>
                  </a:cubicBezTo>
                  <a:cubicBezTo>
                    <a:pt x="1297259" y="1295620"/>
                    <a:pt x="1294334" y="1349251"/>
                    <a:pt x="1288623" y="1402108"/>
                  </a:cubicBezTo>
                  <a:lnTo>
                    <a:pt x="1276822" y="1474791"/>
                  </a:lnTo>
                  <a:lnTo>
                    <a:pt x="1146035" y="1429795"/>
                  </a:lnTo>
                  <a:cubicBezTo>
                    <a:pt x="988905" y="1383854"/>
                    <a:pt x="821842" y="1359106"/>
                    <a:pt x="648630" y="1359106"/>
                  </a:cubicBezTo>
                  <a:cubicBezTo>
                    <a:pt x="475418" y="1359106"/>
                    <a:pt x="308356" y="1383854"/>
                    <a:pt x="151225" y="1429795"/>
                  </a:cubicBezTo>
                  <a:lnTo>
                    <a:pt x="20437" y="1474792"/>
                  </a:lnTo>
                  <a:lnTo>
                    <a:pt x="8636" y="1402108"/>
                  </a:lnTo>
                  <a:cubicBezTo>
                    <a:pt x="2926" y="1349251"/>
                    <a:pt x="0" y="1295620"/>
                    <a:pt x="0" y="1241347"/>
                  </a:cubicBezTo>
                  <a:cubicBezTo>
                    <a:pt x="0" y="752889"/>
                    <a:pt x="236952" y="316454"/>
                    <a:pt x="608701" y="28067"/>
                  </a:cubicBezTo>
                  <a:lnTo>
                    <a:pt x="648630"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2" name="Vrije vorm 21">
              <a:extLst>
                <a:ext uri="{FF2B5EF4-FFF2-40B4-BE49-F238E27FC236}">
                  <a16:creationId xmlns:a16="http://schemas.microsoft.com/office/drawing/2014/main" id="{9ADEAADA-D70F-152E-8DF2-A5DA75607C64}"/>
                </a:ext>
              </a:extLst>
            </p:cNvPr>
            <p:cNvSpPr/>
            <p:nvPr/>
          </p:nvSpPr>
          <p:spPr>
            <a:xfrm>
              <a:off x="4904678" y="2943190"/>
              <a:ext cx="1652246" cy="1338878"/>
            </a:xfrm>
            <a:custGeom>
              <a:avLst/>
              <a:gdLst>
                <a:gd name="connsiteX0" fmla="*/ 628192 w 1652246"/>
                <a:gd name="connsiteY0" fmla="*/ 0 h 1338878"/>
                <a:gd name="connsiteX1" fmla="*/ 651084 w 1652246"/>
                <a:gd name="connsiteY1" fmla="*/ 7876 h 1338878"/>
                <a:gd name="connsiteX2" fmla="*/ 1638700 w 1652246"/>
                <a:gd name="connsiteY2" fmla="*/ 1139759 h 1338878"/>
                <a:gd name="connsiteX3" fmla="*/ 1652246 w 1652246"/>
                <a:gd name="connsiteY3" fmla="*/ 1223193 h 1338878"/>
                <a:gd name="connsiteX4" fmla="*/ 1521458 w 1652246"/>
                <a:gd name="connsiteY4" fmla="*/ 1268189 h 1338878"/>
                <a:gd name="connsiteX5" fmla="*/ 1024053 w 1652246"/>
                <a:gd name="connsiteY5" fmla="*/ 1338878 h 1338878"/>
                <a:gd name="connsiteX6" fmla="*/ 88840 w 1652246"/>
                <a:gd name="connsiteY6" fmla="*/ 1070350 h 1338878"/>
                <a:gd name="connsiteX7" fmla="*/ 0 w 1652246"/>
                <a:gd name="connsiteY7" fmla="*/ 1007903 h 1338878"/>
                <a:gd name="connsiteX8" fmla="*/ 39928 w 1652246"/>
                <a:gd name="connsiteY8" fmla="*/ 979836 h 1338878"/>
                <a:gd name="connsiteX9" fmla="*/ 614646 w 1652246"/>
                <a:gd name="connsiteY9" fmla="*/ 83434 h 1338878"/>
                <a:gd name="connsiteX10" fmla="*/ 628192 w 1652246"/>
                <a:gd name="connsiteY10" fmla="*/ 0 h 133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2246" h="1338878">
                  <a:moveTo>
                    <a:pt x="628192" y="0"/>
                  </a:moveTo>
                  <a:lnTo>
                    <a:pt x="651084" y="7876"/>
                  </a:lnTo>
                  <a:cubicBezTo>
                    <a:pt x="1151376" y="206786"/>
                    <a:pt x="1527292" y="627988"/>
                    <a:pt x="1638700" y="1139759"/>
                  </a:cubicBezTo>
                  <a:lnTo>
                    <a:pt x="1652246" y="1223193"/>
                  </a:lnTo>
                  <a:lnTo>
                    <a:pt x="1521458" y="1268189"/>
                  </a:lnTo>
                  <a:cubicBezTo>
                    <a:pt x="1364328" y="1314130"/>
                    <a:pt x="1197265" y="1338878"/>
                    <a:pt x="1024053" y="1338878"/>
                  </a:cubicBezTo>
                  <a:cubicBezTo>
                    <a:pt x="677629" y="1338878"/>
                    <a:pt x="355802" y="1239885"/>
                    <a:pt x="88840" y="1070350"/>
                  </a:cubicBezTo>
                  <a:lnTo>
                    <a:pt x="0" y="1007903"/>
                  </a:lnTo>
                  <a:lnTo>
                    <a:pt x="39928" y="979836"/>
                  </a:lnTo>
                  <a:cubicBezTo>
                    <a:pt x="329066" y="755535"/>
                    <a:pt x="536661" y="441674"/>
                    <a:pt x="614646" y="83434"/>
                  </a:cubicBezTo>
                  <a:lnTo>
                    <a:pt x="628192"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3" name="Vrije vorm 22">
              <a:extLst>
                <a:ext uri="{FF2B5EF4-FFF2-40B4-BE49-F238E27FC236}">
                  <a16:creationId xmlns:a16="http://schemas.microsoft.com/office/drawing/2014/main" id="{ED5E00A3-33FC-871C-3C74-B281F7FFE9D7}"/>
                </a:ext>
              </a:extLst>
            </p:cNvPr>
            <p:cNvSpPr/>
            <p:nvPr/>
          </p:nvSpPr>
          <p:spPr>
            <a:xfrm>
              <a:off x="3252432" y="2943192"/>
              <a:ext cx="1652246" cy="1338877"/>
            </a:xfrm>
            <a:custGeom>
              <a:avLst/>
              <a:gdLst>
                <a:gd name="connsiteX0" fmla="*/ 1024053 w 1652246"/>
                <a:gd name="connsiteY0" fmla="*/ 0 h 1338877"/>
                <a:gd name="connsiteX1" fmla="*/ 1037599 w 1652246"/>
                <a:gd name="connsiteY1" fmla="*/ 83433 h 1338877"/>
                <a:gd name="connsiteX2" fmla="*/ 1612317 w 1652246"/>
                <a:gd name="connsiteY2" fmla="*/ 979835 h 1338877"/>
                <a:gd name="connsiteX3" fmla="*/ 1652246 w 1652246"/>
                <a:gd name="connsiteY3" fmla="*/ 1007902 h 1338877"/>
                <a:gd name="connsiteX4" fmla="*/ 1563405 w 1652246"/>
                <a:gd name="connsiteY4" fmla="*/ 1070349 h 1338877"/>
                <a:gd name="connsiteX5" fmla="*/ 628192 w 1652246"/>
                <a:gd name="connsiteY5" fmla="*/ 1338877 h 1338877"/>
                <a:gd name="connsiteX6" fmla="*/ 130787 w 1652246"/>
                <a:gd name="connsiteY6" fmla="*/ 1268188 h 1338877"/>
                <a:gd name="connsiteX7" fmla="*/ 0 w 1652246"/>
                <a:gd name="connsiteY7" fmla="*/ 1223192 h 1338877"/>
                <a:gd name="connsiteX8" fmla="*/ 13546 w 1652246"/>
                <a:gd name="connsiteY8" fmla="*/ 1139758 h 1338877"/>
                <a:gd name="connsiteX9" fmla="*/ 1001162 w 1652246"/>
                <a:gd name="connsiteY9" fmla="*/ 7875 h 1338877"/>
                <a:gd name="connsiteX10" fmla="*/ 1024053 w 1652246"/>
                <a:gd name="connsiteY10" fmla="*/ 0 h 133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2246" h="1338877">
                  <a:moveTo>
                    <a:pt x="1024053" y="0"/>
                  </a:moveTo>
                  <a:lnTo>
                    <a:pt x="1037599" y="83433"/>
                  </a:lnTo>
                  <a:cubicBezTo>
                    <a:pt x="1115585" y="441673"/>
                    <a:pt x="1323179" y="755534"/>
                    <a:pt x="1612317" y="979835"/>
                  </a:cubicBezTo>
                  <a:lnTo>
                    <a:pt x="1652246" y="1007902"/>
                  </a:lnTo>
                  <a:lnTo>
                    <a:pt x="1563405" y="1070349"/>
                  </a:lnTo>
                  <a:cubicBezTo>
                    <a:pt x="1296443" y="1239884"/>
                    <a:pt x="974616" y="1338877"/>
                    <a:pt x="628192" y="1338877"/>
                  </a:cubicBezTo>
                  <a:cubicBezTo>
                    <a:pt x="454980" y="1338877"/>
                    <a:pt x="287917" y="1314129"/>
                    <a:pt x="130787" y="1268188"/>
                  </a:cubicBezTo>
                  <a:lnTo>
                    <a:pt x="0" y="1223192"/>
                  </a:lnTo>
                  <a:lnTo>
                    <a:pt x="13546" y="1139758"/>
                  </a:lnTo>
                  <a:cubicBezTo>
                    <a:pt x="124954" y="627987"/>
                    <a:pt x="500870" y="206785"/>
                    <a:pt x="1001162" y="7875"/>
                  </a:cubicBezTo>
                  <a:lnTo>
                    <a:pt x="1024053" y="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4" name="Vrije vorm 23">
              <a:extLst>
                <a:ext uri="{FF2B5EF4-FFF2-40B4-BE49-F238E27FC236}">
                  <a16:creationId xmlns:a16="http://schemas.microsoft.com/office/drawing/2014/main" id="{3BD849AE-867E-FA50-3610-0073DA0FE488}"/>
                </a:ext>
              </a:extLst>
            </p:cNvPr>
            <p:cNvSpPr/>
            <p:nvPr/>
          </p:nvSpPr>
          <p:spPr>
            <a:xfrm>
              <a:off x="2207942" y="1137425"/>
              <a:ext cx="2696737" cy="3028959"/>
            </a:xfrm>
            <a:custGeom>
              <a:avLst/>
              <a:gdLst>
                <a:gd name="connsiteX0" fmla="*/ 1672683 w 2696737"/>
                <a:gd name="connsiteY0" fmla="*/ 0 h 3028959"/>
                <a:gd name="connsiteX1" fmla="*/ 2607896 w 2696737"/>
                <a:gd name="connsiteY1" fmla="*/ 268528 h 3028959"/>
                <a:gd name="connsiteX2" fmla="*/ 2696737 w 2696737"/>
                <a:gd name="connsiteY2" fmla="*/ 330975 h 3028959"/>
                <a:gd name="connsiteX3" fmla="*/ 2656808 w 2696737"/>
                <a:gd name="connsiteY3" fmla="*/ 359042 h 3028959"/>
                <a:gd name="connsiteX4" fmla="*/ 2048107 w 2696737"/>
                <a:gd name="connsiteY4" fmla="*/ 1572322 h 3028959"/>
                <a:gd name="connsiteX5" fmla="*/ 2056743 w 2696737"/>
                <a:gd name="connsiteY5" fmla="*/ 1733083 h 3028959"/>
                <a:gd name="connsiteX6" fmla="*/ 2068544 w 2696737"/>
                <a:gd name="connsiteY6" fmla="*/ 1805767 h 3028959"/>
                <a:gd name="connsiteX7" fmla="*/ 2045653 w 2696737"/>
                <a:gd name="connsiteY7" fmla="*/ 1813642 h 3028959"/>
                <a:gd name="connsiteX8" fmla="*/ 1058037 w 2696737"/>
                <a:gd name="connsiteY8" fmla="*/ 2945525 h 3028959"/>
                <a:gd name="connsiteX9" fmla="*/ 1044491 w 2696737"/>
                <a:gd name="connsiteY9" fmla="*/ 3028959 h 3028959"/>
                <a:gd name="connsiteX10" fmla="*/ 1021599 w 2696737"/>
                <a:gd name="connsiteY10" fmla="*/ 3021083 h 3028959"/>
                <a:gd name="connsiteX11" fmla="*/ 0 w 2696737"/>
                <a:gd name="connsiteY11" fmla="*/ 1572322 h 3028959"/>
                <a:gd name="connsiteX12" fmla="*/ 1672683 w 2696737"/>
                <a:gd name="connsiteY12" fmla="*/ 0 h 302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6737" h="3028959">
                  <a:moveTo>
                    <a:pt x="1672683" y="0"/>
                  </a:moveTo>
                  <a:cubicBezTo>
                    <a:pt x="2019107" y="0"/>
                    <a:pt x="2340934" y="98993"/>
                    <a:pt x="2607896" y="268528"/>
                  </a:cubicBezTo>
                  <a:lnTo>
                    <a:pt x="2696737" y="330975"/>
                  </a:lnTo>
                  <a:lnTo>
                    <a:pt x="2656808" y="359042"/>
                  </a:lnTo>
                  <a:cubicBezTo>
                    <a:pt x="2285059" y="647429"/>
                    <a:pt x="2048107" y="1083864"/>
                    <a:pt x="2048107" y="1572322"/>
                  </a:cubicBezTo>
                  <a:cubicBezTo>
                    <a:pt x="2048107" y="1626595"/>
                    <a:pt x="2051033" y="1680226"/>
                    <a:pt x="2056743" y="1733083"/>
                  </a:cubicBezTo>
                  <a:lnTo>
                    <a:pt x="2068544" y="1805767"/>
                  </a:lnTo>
                  <a:lnTo>
                    <a:pt x="2045653" y="1813642"/>
                  </a:lnTo>
                  <a:cubicBezTo>
                    <a:pt x="1545361" y="2012552"/>
                    <a:pt x="1169445" y="2433754"/>
                    <a:pt x="1058037" y="2945525"/>
                  </a:cubicBezTo>
                  <a:lnTo>
                    <a:pt x="1044491" y="3028959"/>
                  </a:lnTo>
                  <a:lnTo>
                    <a:pt x="1021599" y="3021083"/>
                  </a:lnTo>
                  <a:cubicBezTo>
                    <a:pt x="421248" y="2782392"/>
                    <a:pt x="0" y="2223599"/>
                    <a:pt x="0" y="1572322"/>
                  </a:cubicBezTo>
                  <a:cubicBezTo>
                    <a:pt x="0" y="703953"/>
                    <a:pt x="748886" y="0"/>
                    <a:pt x="1672683" y="0"/>
                  </a:cubicBez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5" name="Vrije vorm 24">
              <a:extLst>
                <a:ext uri="{FF2B5EF4-FFF2-40B4-BE49-F238E27FC236}">
                  <a16:creationId xmlns:a16="http://schemas.microsoft.com/office/drawing/2014/main" id="{32E65637-861B-2AC0-E437-56DAD513B665}"/>
                </a:ext>
              </a:extLst>
            </p:cNvPr>
            <p:cNvSpPr/>
            <p:nvPr/>
          </p:nvSpPr>
          <p:spPr>
            <a:xfrm>
              <a:off x="4276486" y="2827505"/>
              <a:ext cx="1256385" cy="1123588"/>
            </a:xfrm>
            <a:custGeom>
              <a:avLst/>
              <a:gdLst>
                <a:gd name="connsiteX0" fmla="*/ 628193 w 1256385"/>
                <a:gd name="connsiteY0" fmla="*/ 0 h 1123588"/>
                <a:gd name="connsiteX1" fmla="*/ 1125598 w 1256385"/>
                <a:gd name="connsiteY1" fmla="*/ 70689 h 1123588"/>
                <a:gd name="connsiteX2" fmla="*/ 1256385 w 1256385"/>
                <a:gd name="connsiteY2" fmla="*/ 115685 h 1123588"/>
                <a:gd name="connsiteX3" fmla="*/ 1242839 w 1256385"/>
                <a:gd name="connsiteY3" fmla="*/ 199119 h 1123588"/>
                <a:gd name="connsiteX4" fmla="*/ 668121 w 1256385"/>
                <a:gd name="connsiteY4" fmla="*/ 1095521 h 1123588"/>
                <a:gd name="connsiteX5" fmla="*/ 628193 w 1256385"/>
                <a:gd name="connsiteY5" fmla="*/ 1123588 h 1123588"/>
                <a:gd name="connsiteX6" fmla="*/ 588264 w 1256385"/>
                <a:gd name="connsiteY6" fmla="*/ 1095521 h 1123588"/>
                <a:gd name="connsiteX7" fmla="*/ 13546 w 1256385"/>
                <a:gd name="connsiteY7" fmla="*/ 199119 h 1123588"/>
                <a:gd name="connsiteX8" fmla="*/ 0 w 1256385"/>
                <a:gd name="connsiteY8" fmla="*/ 115686 h 1123588"/>
                <a:gd name="connsiteX9" fmla="*/ 130788 w 1256385"/>
                <a:gd name="connsiteY9" fmla="*/ 70689 h 1123588"/>
                <a:gd name="connsiteX10" fmla="*/ 628193 w 1256385"/>
                <a:gd name="connsiteY10" fmla="*/ 0 h 112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6385" h="1123588">
                  <a:moveTo>
                    <a:pt x="628193" y="0"/>
                  </a:moveTo>
                  <a:cubicBezTo>
                    <a:pt x="801405" y="0"/>
                    <a:pt x="968468" y="24748"/>
                    <a:pt x="1125598" y="70689"/>
                  </a:cubicBezTo>
                  <a:lnTo>
                    <a:pt x="1256385" y="115685"/>
                  </a:lnTo>
                  <a:lnTo>
                    <a:pt x="1242839" y="199119"/>
                  </a:lnTo>
                  <a:cubicBezTo>
                    <a:pt x="1164854" y="557359"/>
                    <a:pt x="957259" y="871220"/>
                    <a:pt x="668121" y="1095521"/>
                  </a:cubicBezTo>
                  <a:lnTo>
                    <a:pt x="628193" y="1123588"/>
                  </a:lnTo>
                  <a:lnTo>
                    <a:pt x="588264" y="1095521"/>
                  </a:lnTo>
                  <a:cubicBezTo>
                    <a:pt x="299126" y="871220"/>
                    <a:pt x="91532" y="557359"/>
                    <a:pt x="13546" y="199119"/>
                  </a:cubicBezTo>
                  <a:lnTo>
                    <a:pt x="0" y="115686"/>
                  </a:lnTo>
                  <a:lnTo>
                    <a:pt x="130788" y="70689"/>
                  </a:lnTo>
                  <a:cubicBezTo>
                    <a:pt x="287919" y="24748"/>
                    <a:pt x="454981" y="0"/>
                    <a:pt x="628193" y="0"/>
                  </a:cubicBezTo>
                  <a:close/>
                </a:path>
              </a:pathLst>
            </a:cu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dirty="0"/>
            </a:p>
          </p:txBody>
        </p:sp>
        <p:sp>
          <p:nvSpPr>
            <p:cNvPr id="26" name="Tekstvak 25">
              <a:extLst>
                <a:ext uri="{FF2B5EF4-FFF2-40B4-BE49-F238E27FC236}">
                  <a16:creationId xmlns:a16="http://schemas.microsoft.com/office/drawing/2014/main" id="{68C20B10-AF89-5C4D-3578-53490C2481B1}"/>
                </a:ext>
              </a:extLst>
            </p:cNvPr>
            <p:cNvSpPr txBox="1"/>
            <p:nvPr/>
          </p:nvSpPr>
          <p:spPr>
            <a:xfrm>
              <a:off x="2280699" y="1976151"/>
              <a:ext cx="2090670" cy="1246615"/>
            </a:xfrm>
            <a:prstGeom prst="rect">
              <a:avLst/>
            </a:prstGeom>
            <a:noFill/>
            <a:ln>
              <a:noFill/>
            </a:ln>
          </p:spPr>
          <p:txBody>
            <a:bodyPr wrap="square" rtlCol="0">
              <a:spAutoFit/>
            </a:bodyPr>
            <a:lstStyle/>
            <a:p>
              <a:pPr algn="ctr"/>
              <a:r>
                <a:rPr lang="nl-NL" sz="2200" dirty="0">
                  <a:latin typeface="Poppins" pitchFamily="2" charset="77"/>
                  <a:cs typeface="Poppins" pitchFamily="2" charset="77"/>
                </a:rPr>
                <a:t>Sociaal-economische problemen in huishouden</a:t>
              </a:r>
            </a:p>
          </p:txBody>
        </p:sp>
        <p:sp>
          <p:nvSpPr>
            <p:cNvPr id="27" name="Tekstvak 26">
              <a:extLst>
                <a:ext uri="{FF2B5EF4-FFF2-40B4-BE49-F238E27FC236}">
                  <a16:creationId xmlns:a16="http://schemas.microsoft.com/office/drawing/2014/main" id="{CB9C8385-FBDC-711C-AED6-ABEB4564CBEF}"/>
                </a:ext>
              </a:extLst>
            </p:cNvPr>
            <p:cNvSpPr txBox="1"/>
            <p:nvPr/>
          </p:nvSpPr>
          <p:spPr>
            <a:xfrm>
              <a:off x="5468432" y="2206314"/>
              <a:ext cx="2150021" cy="1095567"/>
            </a:xfrm>
            <a:prstGeom prst="rect">
              <a:avLst/>
            </a:prstGeom>
            <a:noFill/>
            <a:ln>
              <a:noFill/>
            </a:ln>
          </p:spPr>
          <p:txBody>
            <a:bodyPr wrap="square" rtlCol="0">
              <a:spAutoFit/>
            </a:bodyPr>
            <a:lstStyle/>
            <a:p>
              <a:pPr algn="ctr"/>
              <a:r>
                <a:rPr lang="nl-NL" sz="2200" dirty="0">
                  <a:latin typeface="Poppins" pitchFamily="2" charset="77"/>
                  <a:cs typeface="Poppins" pitchFamily="2" charset="77"/>
                </a:rPr>
                <a:t>Psychosociale en psychische problemen bij kinderen</a:t>
              </a:r>
            </a:p>
          </p:txBody>
        </p:sp>
        <p:sp>
          <p:nvSpPr>
            <p:cNvPr id="28" name="Tekstvak 27">
              <a:extLst>
                <a:ext uri="{FF2B5EF4-FFF2-40B4-BE49-F238E27FC236}">
                  <a16:creationId xmlns:a16="http://schemas.microsoft.com/office/drawing/2014/main" id="{A24E10CA-17D0-380A-172C-4F321C78C409}"/>
                </a:ext>
              </a:extLst>
            </p:cNvPr>
            <p:cNvSpPr txBox="1"/>
            <p:nvPr/>
          </p:nvSpPr>
          <p:spPr>
            <a:xfrm>
              <a:off x="3862519" y="4514626"/>
              <a:ext cx="2084317" cy="1095567"/>
            </a:xfrm>
            <a:prstGeom prst="rect">
              <a:avLst/>
            </a:prstGeom>
            <a:noFill/>
            <a:ln>
              <a:noFill/>
            </a:ln>
          </p:spPr>
          <p:txBody>
            <a:bodyPr wrap="square" rtlCol="0">
              <a:spAutoFit/>
            </a:bodyPr>
            <a:lstStyle/>
            <a:p>
              <a:pPr algn="ctr"/>
              <a:r>
                <a:rPr lang="nl-NL" sz="2200" dirty="0">
                  <a:latin typeface="Poppins" pitchFamily="2" charset="77"/>
                  <a:cs typeface="Poppins" pitchFamily="2" charset="77"/>
                </a:rPr>
                <a:t>Psychosociale en psychische  problemen bij ouders</a:t>
              </a:r>
            </a:p>
          </p:txBody>
        </p:sp>
      </p:grpSp>
      <p:cxnSp>
        <p:nvCxnSpPr>
          <p:cNvPr id="29" name="Rechte verbindingslijn 28">
            <a:extLst>
              <a:ext uri="{FF2B5EF4-FFF2-40B4-BE49-F238E27FC236}">
                <a16:creationId xmlns:a16="http://schemas.microsoft.com/office/drawing/2014/main" id="{0B880D50-A99F-EB4E-8C10-6DAE1244FD88}"/>
              </a:ext>
            </a:extLst>
          </p:cNvPr>
          <p:cNvCxnSpPr>
            <a:cxnSpLocks/>
          </p:cNvCxnSpPr>
          <p:nvPr/>
        </p:nvCxnSpPr>
        <p:spPr>
          <a:xfrm>
            <a:off x="13929741" y="6069265"/>
            <a:ext cx="1183742" cy="4131450"/>
          </a:xfrm>
          <a:prstGeom prst="line">
            <a:avLst/>
          </a:prstGeom>
          <a:noFill/>
          <a:ln w="12700" cap="flat">
            <a:solidFill>
              <a:schemeClr val="tx1"/>
            </a:solidFill>
            <a:prstDash val="dash"/>
            <a:miter lim="400000"/>
          </a:ln>
          <a:effectLst/>
          <a:sp3d/>
        </p:spPr>
        <p:style>
          <a:lnRef idx="0">
            <a:scrgbClr r="0" g="0" b="0"/>
          </a:lnRef>
          <a:fillRef idx="0">
            <a:scrgbClr r="0" g="0" b="0"/>
          </a:fillRef>
          <a:effectRef idx="0">
            <a:scrgbClr r="0" g="0" b="0"/>
          </a:effectRef>
          <a:fontRef idx="none"/>
        </p:style>
      </p:cxnSp>
      <p:sp>
        <p:nvSpPr>
          <p:cNvPr id="30" name="Tekstvak 29">
            <a:extLst>
              <a:ext uri="{FF2B5EF4-FFF2-40B4-BE49-F238E27FC236}">
                <a16:creationId xmlns:a16="http://schemas.microsoft.com/office/drawing/2014/main" id="{C798EB93-6D8F-2D7C-83CC-DB44743022D3}"/>
              </a:ext>
            </a:extLst>
          </p:cNvPr>
          <p:cNvSpPr txBox="1"/>
          <p:nvPr/>
        </p:nvSpPr>
        <p:spPr>
          <a:xfrm>
            <a:off x="1664420" y="10964774"/>
            <a:ext cx="8258577" cy="177157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Integrale zorg en ondersteunin</a:t>
            </a:r>
            <a:r>
              <a:rPr lang="nl-NL" sz="2200" b="1" dirty="0">
                <a:latin typeface="Poppins" pitchFamily="2" charset="77"/>
                <a:cs typeface="Poppins" pitchFamily="2" charset="77"/>
              </a:rPr>
              <a:t>g op alle leefdomeinen, om </a:t>
            </a: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de intergenerationele overdracht van problematiek te doorbreken </a:t>
            </a:r>
          </a:p>
        </p:txBody>
      </p:sp>
      <p:sp>
        <p:nvSpPr>
          <p:cNvPr id="31" name="Afgeronde rechthoek 30">
            <a:extLst>
              <a:ext uri="{FF2B5EF4-FFF2-40B4-BE49-F238E27FC236}">
                <a16:creationId xmlns:a16="http://schemas.microsoft.com/office/drawing/2014/main" id="{270E4274-0B65-C787-DE44-160E0FD6F44C}"/>
              </a:ext>
            </a:extLst>
          </p:cNvPr>
          <p:cNvSpPr/>
          <p:nvPr/>
        </p:nvSpPr>
        <p:spPr>
          <a:xfrm>
            <a:off x="12858276" y="9528542"/>
            <a:ext cx="3750378" cy="2139370"/>
          </a:xfrm>
          <a:prstGeom prst="roundRect">
            <a:avLst/>
          </a:prstGeom>
          <a:solidFill>
            <a:schemeClr val="bg1"/>
          </a:solidFill>
          <a:ln w="6350">
            <a:solidFill>
              <a:schemeClr val="tx1"/>
            </a:solidFill>
            <a:miter lim="400000"/>
          </a:ln>
          <a:effectLst>
            <a:outerShdw blurRad="50800" dist="38100" dir="2700000" algn="tl" rotWithShape="0">
              <a:prstClr val="black">
                <a:alpha val="40000"/>
              </a:prstClr>
            </a:outerShdw>
          </a:effectLst>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In Nederland zijn er circa 36.500 gezinnen die hieraan voldoen. In Smallingerland zijn dit er 150 - 200.</a:t>
            </a:r>
          </a:p>
        </p:txBody>
      </p:sp>
    </p:spTree>
    <p:extLst>
      <p:ext uri="{BB962C8B-B14F-4D97-AF65-F5344CB8AC3E}">
        <p14:creationId xmlns:p14="http://schemas.microsoft.com/office/powerpoint/2010/main" val="236513612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B32716B-E52A-6C01-E4D2-FC62ED3E3BA9}"/>
              </a:ext>
            </a:extLst>
          </p:cNvPr>
          <p:cNvSpPr>
            <a:spLocks noGrp="1"/>
          </p:cNvSpPr>
          <p:nvPr>
            <p:ph type="title"/>
          </p:nvPr>
        </p:nvSpPr>
        <p:spPr/>
        <p:txBody>
          <a:bodyPr/>
          <a:lstStyle/>
          <a:p>
            <a:r>
              <a:rPr lang="nl-NL" b="1" dirty="0"/>
              <a:t>INTEGRALE ZORG </a:t>
            </a:r>
            <a:r>
              <a:rPr lang="nl-NL" dirty="0"/>
              <a:t>| Voor deze gezinnen is het nodig dat zij geïntegreerd zorg vanuit het sociaal domein, de jeugdzorg en de volwassenzorg ontvangen</a:t>
            </a:r>
          </a:p>
        </p:txBody>
      </p:sp>
      <p:sp>
        <p:nvSpPr>
          <p:cNvPr id="4" name="Text Placeholder 1">
            <a:extLst>
              <a:ext uri="{FF2B5EF4-FFF2-40B4-BE49-F238E27FC236}">
                <a16:creationId xmlns:a16="http://schemas.microsoft.com/office/drawing/2014/main" id="{FDF56AC2-F505-7DFE-D7FD-DDA67E889A12}"/>
              </a:ext>
            </a:extLst>
          </p:cNvPr>
          <p:cNvSpPr txBox="1">
            <a:spLocks/>
          </p:cNvSpPr>
          <p:nvPr/>
        </p:nvSpPr>
        <p:spPr>
          <a:xfrm>
            <a:off x="919321" y="8205275"/>
            <a:ext cx="15387479" cy="3961030"/>
          </a:xfrm>
          <a:prstGeom prst="rect">
            <a:avLst/>
          </a:prstGeom>
        </p:spPr>
        <p:txBody>
          <a:bodyPr vert="horz" wrap="square" lIns="91440" tIns="45720" rIns="91440" bIns="45720" rtlCol="0">
            <a:noAutofit/>
          </a:bodyPr>
          <a:lstStyle>
            <a:lvl1pPr marL="0" marR="0" indent="0" algn="l" defTabSz="2438338" rtl="0" latinLnBrk="0">
              <a:lnSpc>
                <a:spcPct val="114000"/>
              </a:lnSpc>
              <a:spcBef>
                <a:spcPts val="0"/>
              </a:spcBef>
              <a:spcAft>
                <a:spcPts val="0"/>
              </a:spcAft>
              <a:buClrTx/>
              <a:buSzPct val="100000"/>
              <a:buFont typeface="+mj-lt"/>
              <a:buNone/>
              <a:tabLst/>
              <a:defRPr sz="2200" b="0" i="0" u="none" strike="noStrike" cap="none" spc="0" baseline="0">
                <a:solidFill>
                  <a:srgbClr val="000000"/>
                </a:solidFill>
                <a:uFillTx/>
                <a:latin typeface="Poppins" pitchFamily="2" charset="77"/>
                <a:ea typeface="+mn-ea"/>
                <a:cs typeface="Poppins" pitchFamily="2" charset="77"/>
                <a:sym typeface="Helvetica Neue"/>
              </a:defRPr>
            </a:lvl1pPr>
            <a:lvl2pPr marL="609600" marR="0" indent="0" algn="l" defTabSz="2438338" rtl="0" latinLnBrk="0">
              <a:lnSpc>
                <a:spcPct val="114000"/>
              </a:lnSpc>
              <a:spcBef>
                <a:spcPts val="0"/>
              </a:spcBef>
              <a:spcAft>
                <a:spcPts val="0"/>
              </a:spcAft>
              <a:buClrTx/>
              <a:buSzPct val="123000"/>
              <a:buFontTx/>
              <a:buNone/>
              <a:tabLst/>
              <a:defRPr sz="2200" b="0" i="0" u="none" strike="noStrike" cap="none" spc="0" baseline="0">
                <a:solidFill>
                  <a:srgbClr val="000000"/>
                </a:solidFill>
                <a:uFillTx/>
                <a:latin typeface="Poppins" pitchFamily="2" charset="77"/>
                <a:ea typeface="+mn-ea"/>
                <a:cs typeface="Poppins" pitchFamily="2" charset="77"/>
                <a:sym typeface="Helvetica Neue"/>
              </a:defRPr>
            </a:lvl2pPr>
            <a:lvl3pPr marL="1828800" marR="0" indent="-609600" algn="l" defTabSz="2438338" rtl="0" latinLnBrk="0">
              <a:lnSpc>
                <a:spcPct val="114000"/>
              </a:lnSpc>
              <a:spcBef>
                <a:spcPts val="0"/>
              </a:spcBef>
              <a:spcAft>
                <a:spcPts val="0"/>
              </a:spcAft>
              <a:buClrTx/>
              <a:buSzPct val="123000"/>
              <a:buFontTx/>
              <a:buChar char="•"/>
              <a:tabLst/>
              <a:defRPr sz="2000" b="0" i="0" u="none" strike="noStrike" cap="none" spc="0" baseline="0">
                <a:solidFill>
                  <a:srgbClr val="000000"/>
                </a:solidFill>
                <a:uFillTx/>
                <a:latin typeface="Poppins" pitchFamily="2" charset="77"/>
                <a:ea typeface="+mn-ea"/>
                <a:cs typeface="Poppins" pitchFamily="2" charset="77"/>
                <a:sym typeface="Helvetica Neue"/>
              </a:defRPr>
            </a:lvl3pPr>
            <a:lvl4pPr marL="2438400" marR="0" indent="-609600" algn="l" defTabSz="2438338" rtl="0" latinLnBrk="0">
              <a:lnSpc>
                <a:spcPct val="114000"/>
              </a:lnSpc>
              <a:spcBef>
                <a:spcPts val="0"/>
              </a:spcBef>
              <a:spcAft>
                <a:spcPts val="0"/>
              </a:spcAft>
              <a:buClrTx/>
              <a:buSzPct val="123000"/>
              <a:buFontTx/>
              <a:buChar char="•"/>
              <a:tabLst/>
              <a:defRPr sz="2000" b="0" i="0" u="none" strike="noStrike" cap="none" spc="0" baseline="0">
                <a:solidFill>
                  <a:srgbClr val="000000"/>
                </a:solidFill>
                <a:uFillTx/>
                <a:latin typeface="Poppins" pitchFamily="2" charset="77"/>
                <a:ea typeface="+mn-ea"/>
                <a:cs typeface="Poppins" pitchFamily="2" charset="77"/>
                <a:sym typeface="Helvetica Neue"/>
              </a:defRPr>
            </a:lvl4pPr>
            <a:lvl5pPr marL="3048000" marR="0" indent="-609600" algn="l" defTabSz="2438338" rtl="0" latinLnBrk="0">
              <a:lnSpc>
                <a:spcPct val="114000"/>
              </a:lnSpc>
              <a:spcBef>
                <a:spcPts val="0"/>
              </a:spcBef>
              <a:spcAft>
                <a:spcPts val="0"/>
              </a:spcAft>
              <a:buClrTx/>
              <a:buSzPct val="123000"/>
              <a:buFontTx/>
              <a:buChar char="•"/>
              <a:tabLst/>
              <a:defRPr sz="2000" b="0" i="0" u="none" strike="noStrike" cap="none" spc="0" baseline="0">
                <a:solidFill>
                  <a:srgbClr val="000000"/>
                </a:solidFill>
                <a:uFillTx/>
                <a:latin typeface="Poppins" pitchFamily="2" charset="77"/>
                <a:ea typeface="+mn-ea"/>
                <a:cs typeface="Poppins" pitchFamily="2" charset="77"/>
                <a:sym typeface="Helvetica Neue"/>
              </a:defRPr>
            </a:lvl5pPr>
            <a:lvl6pPr marL="3657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a:lstStyle>
          <a:p>
            <a:pPr hangingPunct="1"/>
            <a:r>
              <a:rPr lang="nl-NL"/>
              <a:t>De stip op de horizon is integrale gezinszorg: gemeenten, jeugdhulpaanbieders en zorgaanbieders actief voor volwassenen (GGZ en verslavingszorg) werken hierin samen om de problemen van ouders en hun kinderen op te lossen. Niet alleen de zorg maar expliciet ook het gemeentelijk domein (Wmo, Participatie, Schuldhulpverlening en Welzijn) en het onderwijs zijn onderdeel van deze aanpak. </a:t>
            </a:r>
          </a:p>
          <a:p>
            <a:pPr hangingPunct="1"/>
            <a:endParaRPr lang="nl-NL"/>
          </a:p>
          <a:p>
            <a:pPr hangingPunct="1"/>
            <a:r>
              <a:rPr lang="nl-NL"/>
              <a:t>Gezinshulp gaat over het geïntegreerd en in de juiste volgorde inzetten van de best passende zorg en ondersteuning voor een gezin. Door het bieden van een geïntegreerde werkwijze worden ouders beter geholpen met hun vraagstukken en problemen en krijgen zij ‘de basis op orde’. Dit leidt (op den duur) tot minder (langdurige) inzet vanuit de Jeugdwet en de overdracht van intergenerationele problematiek. </a:t>
            </a:r>
          </a:p>
          <a:p>
            <a:pPr hangingPunct="1"/>
            <a:endParaRPr lang="nl-NL"/>
          </a:p>
          <a:p>
            <a:pPr hangingPunct="1"/>
            <a:endParaRPr lang="nl-NL"/>
          </a:p>
          <a:p>
            <a:pPr hangingPunct="1"/>
            <a:endParaRPr lang="nl-NL"/>
          </a:p>
          <a:p>
            <a:pPr hangingPunct="1"/>
            <a:endParaRPr lang="nl-NL"/>
          </a:p>
          <a:p>
            <a:pPr hangingPunct="1"/>
            <a:endParaRPr lang="nl-NL" dirty="0"/>
          </a:p>
        </p:txBody>
      </p:sp>
      <p:pic>
        <p:nvPicPr>
          <p:cNvPr id="5" name="Afbeelding 4">
            <a:extLst>
              <a:ext uri="{FF2B5EF4-FFF2-40B4-BE49-F238E27FC236}">
                <a16:creationId xmlns:a16="http://schemas.microsoft.com/office/drawing/2014/main" id="{EE17A6B7-53EA-2A92-003D-AD5D5359735C}"/>
              </a:ext>
            </a:extLst>
          </p:cNvPr>
          <p:cNvPicPr>
            <a:picLocks noChangeAspect="1"/>
          </p:cNvPicPr>
          <p:nvPr/>
        </p:nvPicPr>
        <p:blipFill>
          <a:blip r:embed="rId2"/>
          <a:stretch>
            <a:fillRect/>
          </a:stretch>
        </p:blipFill>
        <p:spPr>
          <a:xfrm>
            <a:off x="8640607" y="2667700"/>
            <a:ext cx="7163322" cy="4939594"/>
          </a:xfrm>
          <a:prstGeom prst="rect">
            <a:avLst/>
          </a:prstGeom>
        </p:spPr>
      </p:pic>
      <p:sp>
        <p:nvSpPr>
          <p:cNvPr id="6" name="Tekstvak 5">
            <a:extLst>
              <a:ext uri="{FF2B5EF4-FFF2-40B4-BE49-F238E27FC236}">
                <a16:creationId xmlns:a16="http://schemas.microsoft.com/office/drawing/2014/main" id="{B039BCEE-5F48-EE65-402E-6EAE8728FD8E}"/>
              </a:ext>
            </a:extLst>
          </p:cNvPr>
          <p:cNvSpPr txBox="1"/>
          <p:nvPr/>
        </p:nvSpPr>
        <p:spPr>
          <a:xfrm>
            <a:off x="8640606" y="2623990"/>
            <a:ext cx="1134437" cy="1028775"/>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16000" tIns="216000" rIns="216000" bIns="216000" numCol="1" spcCol="38100" rtlCol="0" anchor="ctr">
            <a:noAutofit/>
          </a:bodyPr>
          <a:lstStyle/>
          <a:p>
            <a:pPr marL="0" marR="0" indent="0" algn="ctr" defTabSz="2438338" rtl="0" fontAlgn="auto" latinLnBrk="0" hangingPunct="0">
              <a:lnSpc>
                <a:spcPct val="100000"/>
              </a:lnSpc>
              <a:spcBef>
                <a:spcPts val="0"/>
              </a:spcBef>
              <a:buClrTx/>
              <a:buSzTx/>
              <a:buFontTx/>
              <a:buNone/>
              <a:tabLst/>
            </a:pPr>
            <a:r>
              <a:rPr kumimoji="0" lang="nl-NL" sz="4000" b="0" i="0" u="none" strike="noStrike" cap="none" spc="0" normalizeH="0" baseline="0" dirty="0">
                <a:ln>
                  <a:noFill/>
                </a:ln>
                <a:solidFill>
                  <a:schemeClr val="bg1"/>
                </a:solidFill>
                <a:effectLst/>
                <a:uFillTx/>
                <a:latin typeface="Poppins" pitchFamily="2" charset="77"/>
                <a:cs typeface="Poppins" pitchFamily="2" charset="77"/>
                <a:sym typeface="Helvetica Neue"/>
              </a:rPr>
              <a:t>3</a:t>
            </a:r>
          </a:p>
        </p:txBody>
      </p:sp>
      <p:pic>
        <p:nvPicPr>
          <p:cNvPr id="7" name="Afbeelding 6">
            <a:extLst>
              <a:ext uri="{FF2B5EF4-FFF2-40B4-BE49-F238E27FC236}">
                <a16:creationId xmlns:a16="http://schemas.microsoft.com/office/drawing/2014/main" id="{62A37B48-95D5-C082-F7D0-8C4689B140BB}"/>
              </a:ext>
            </a:extLst>
          </p:cNvPr>
          <p:cNvPicPr>
            <a:picLocks noChangeAspect="1"/>
          </p:cNvPicPr>
          <p:nvPr/>
        </p:nvPicPr>
        <p:blipFill>
          <a:blip r:embed="rId3"/>
          <a:stretch>
            <a:fillRect/>
          </a:stretch>
        </p:blipFill>
        <p:spPr>
          <a:xfrm>
            <a:off x="1681320" y="2659447"/>
            <a:ext cx="7163322" cy="5130487"/>
          </a:xfrm>
          <a:prstGeom prst="rect">
            <a:avLst/>
          </a:prstGeom>
        </p:spPr>
      </p:pic>
      <p:sp>
        <p:nvSpPr>
          <p:cNvPr id="8" name="Tekstvak 7">
            <a:extLst>
              <a:ext uri="{FF2B5EF4-FFF2-40B4-BE49-F238E27FC236}">
                <a16:creationId xmlns:a16="http://schemas.microsoft.com/office/drawing/2014/main" id="{AA7BB13F-0266-9178-6831-3E7587C7DB68}"/>
              </a:ext>
            </a:extLst>
          </p:cNvPr>
          <p:cNvSpPr txBox="1"/>
          <p:nvPr/>
        </p:nvSpPr>
        <p:spPr>
          <a:xfrm>
            <a:off x="1681321" y="2646345"/>
            <a:ext cx="979714" cy="892334"/>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16000" tIns="216000" rIns="216000" bIns="216000" numCol="1" spcCol="38100" rtlCol="0" anchor="ctr">
            <a:noAutofit/>
          </a:bodyPr>
          <a:lstStyle/>
          <a:p>
            <a:pPr marL="0" marR="0" indent="0" algn="ctr" defTabSz="2438338" rtl="0" fontAlgn="auto" latinLnBrk="0" hangingPunct="0">
              <a:lnSpc>
                <a:spcPct val="100000"/>
              </a:lnSpc>
              <a:spcBef>
                <a:spcPts val="0"/>
              </a:spcBef>
              <a:buClrTx/>
              <a:buSzTx/>
              <a:buFontTx/>
              <a:buNone/>
              <a:tabLst/>
            </a:pPr>
            <a:r>
              <a:rPr kumimoji="0" lang="nl-NL" sz="4000" b="0" i="0" u="none" strike="noStrike" cap="none" spc="0" normalizeH="0" baseline="0" dirty="0">
                <a:ln>
                  <a:noFill/>
                </a:ln>
                <a:solidFill>
                  <a:schemeClr val="bg1"/>
                </a:solidFill>
                <a:effectLst/>
                <a:uFillTx/>
                <a:latin typeface="Poppins" pitchFamily="2" charset="77"/>
                <a:cs typeface="Poppins" pitchFamily="2" charset="77"/>
                <a:sym typeface="Helvetica Neue"/>
              </a:rPr>
              <a:t>1</a:t>
            </a:r>
          </a:p>
        </p:txBody>
      </p:sp>
      <p:sp>
        <p:nvSpPr>
          <p:cNvPr id="9" name="Tekstvak 8">
            <a:extLst>
              <a:ext uri="{FF2B5EF4-FFF2-40B4-BE49-F238E27FC236}">
                <a16:creationId xmlns:a16="http://schemas.microsoft.com/office/drawing/2014/main" id="{BC19039F-BB46-A253-BB83-9D4660D7B572}"/>
              </a:ext>
            </a:extLst>
          </p:cNvPr>
          <p:cNvSpPr txBox="1"/>
          <p:nvPr/>
        </p:nvSpPr>
        <p:spPr>
          <a:xfrm>
            <a:off x="2171178" y="2646345"/>
            <a:ext cx="4607692" cy="446167"/>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t">
            <a:noAutofit/>
          </a:bodyPr>
          <a:lstStyle/>
          <a:p>
            <a:pPr marL="0" marR="0" indent="0" algn="l"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Huidig: jeugdzorg voor kind</a:t>
            </a:r>
          </a:p>
        </p:txBody>
      </p:sp>
      <p:sp>
        <p:nvSpPr>
          <p:cNvPr id="10" name="Tekstvak 9">
            <a:extLst>
              <a:ext uri="{FF2B5EF4-FFF2-40B4-BE49-F238E27FC236}">
                <a16:creationId xmlns:a16="http://schemas.microsoft.com/office/drawing/2014/main" id="{4ECF5E63-D8A3-3C9F-8002-2F2C424F83F4}"/>
              </a:ext>
            </a:extLst>
          </p:cNvPr>
          <p:cNvSpPr txBox="1"/>
          <p:nvPr/>
        </p:nvSpPr>
        <p:spPr>
          <a:xfrm>
            <a:off x="9130463" y="2684848"/>
            <a:ext cx="5335371" cy="514387"/>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t">
            <a:noAutofit/>
          </a:bodyPr>
          <a:lstStyle/>
          <a:p>
            <a:pPr marL="0" marR="0" indent="0" algn="l"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Toekomst: gezinszorg   </a:t>
            </a:r>
          </a:p>
        </p:txBody>
      </p:sp>
    </p:spTree>
    <p:extLst>
      <p:ext uri="{BB962C8B-B14F-4D97-AF65-F5344CB8AC3E}">
        <p14:creationId xmlns:p14="http://schemas.microsoft.com/office/powerpoint/2010/main" val="277087893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4D026F32-266E-9074-C3C9-EEA91FF263BA}"/>
              </a:ext>
            </a:extLst>
          </p:cNvPr>
          <p:cNvSpPr>
            <a:spLocks noGrp="1"/>
          </p:cNvSpPr>
          <p:nvPr>
            <p:ph type="body" sz="quarter" idx="15"/>
          </p:nvPr>
        </p:nvSpPr>
        <p:spPr>
          <a:xfrm>
            <a:off x="919320" y="2751225"/>
            <a:ext cx="15137949" cy="9282595"/>
          </a:xfrm>
        </p:spPr>
        <p:txBody>
          <a:bodyPr/>
          <a:lstStyle/>
          <a:p>
            <a:r>
              <a:rPr lang="nl-NL" dirty="0"/>
              <a:t>De pilot Gezinshulp Smallingerland is een samenwerking van tien partijen. Samen is daarin het complete zorg- en welzijnsdomein vertegenwoordigd, voor volwassenen én jeugdigen. </a:t>
            </a:r>
          </a:p>
          <a:p>
            <a:endParaRPr lang="nl-NL" dirty="0"/>
          </a:p>
          <a:p>
            <a:r>
              <a:rPr lang="nl-NL" dirty="0"/>
              <a:t>Daarnaast is de pilot onderdeel van het Toekomstscenario Fryslân en gesubsidieerd door Stichting De Friesland</a:t>
            </a:r>
          </a:p>
          <a:p>
            <a:pPr marL="342900" indent="-342900">
              <a:buFontTx/>
              <a:buChar char="-"/>
            </a:pPr>
            <a:endParaRPr lang="nl-NL" dirty="0"/>
          </a:p>
          <a:p>
            <a:endParaRPr lang="nl-NL" dirty="0"/>
          </a:p>
          <a:p>
            <a:endParaRPr lang="nl-NL" dirty="0"/>
          </a:p>
        </p:txBody>
      </p:sp>
      <p:sp>
        <p:nvSpPr>
          <p:cNvPr id="3" name="Titel 2">
            <a:extLst>
              <a:ext uri="{FF2B5EF4-FFF2-40B4-BE49-F238E27FC236}">
                <a16:creationId xmlns:a16="http://schemas.microsoft.com/office/drawing/2014/main" id="{F91E794A-3711-6B82-2C03-A3C5C9CC353F}"/>
              </a:ext>
            </a:extLst>
          </p:cNvPr>
          <p:cNvSpPr>
            <a:spLocks noGrp="1"/>
          </p:cNvSpPr>
          <p:nvPr>
            <p:ph type="title"/>
          </p:nvPr>
        </p:nvSpPr>
        <p:spPr/>
        <p:txBody>
          <a:bodyPr/>
          <a:lstStyle/>
          <a:p>
            <a:r>
              <a:rPr lang="nl-NL" b="1" dirty="0"/>
              <a:t>SAMENWERKING </a:t>
            </a:r>
            <a:r>
              <a:rPr lang="nl-NL" dirty="0"/>
              <a:t>| De gemeente, ggz, jeugdhulp, jeugdbescherming, verslavingszorg, gehandicaptenzorg en de zorgverzekeraar hebben de handen hiervoor ineen geslagen</a:t>
            </a:r>
          </a:p>
        </p:txBody>
      </p:sp>
      <p:pic>
        <p:nvPicPr>
          <p:cNvPr id="5" name="Afbeelding 4">
            <a:extLst>
              <a:ext uri="{FF2B5EF4-FFF2-40B4-BE49-F238E27FC236}">
                <a16:creationId xmlns:a16="http://schemas.microsoft.com/office/drawing/2014/main" id="{9C71C28D-94AA-FEC3-7FCC-BF799FB3689B}"/>
              </a:ext>
            </a:extLst>
          </p:cNvPr>
          <p:cNvPicPr>
            <a:picLocks noChangeAspect="1"/>
          </p:cNvPicPr>
          <p:nvPr/>
        </p:nvPicPr>
        <p:blipFill>
          <a:blip r:embed="rId2"/>
          <a:stretch>
            <a:fillRect/>
          </a:stretch>
        </p:blipFill>
        <p:spPr>
          <a:xfrm>
            <a:off x="12004332" y="9770187"/>
            <a:ext cx="3206596" cy="2004123"/>
          </a:xfrm>
          <a:prstGeom prst="rect">
            <a:avLst/>
          </a:prstGeom>
        </p:spPr>
      </p:pic>
      <p:pic>
        <p:nvPicPr>
          <p:cNvPr id="6" name="Picture 19">
            <a:extLst>
              <a:ext uri="{FF2B5EF4-FFF2-40B4-BE49-F238E27FC236}">
                <a16:creationId xmlns:a16="http://schemas.microsoft.com/office/drawing/2014/main" id="{EB8EAAD2-FAF7-8FA1-7247-9F55ABC02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8842" y="9805024"/>
            <a:ext cx="3141646" cy="1385340"/>
          </a:xfrm>
          <a:prstGeom prst="rect">
            <a:avLst/>
          </a:prstGeom>
        </p:spPr>
      </p:pic>
      <p:pic>
        <p:nvPicPr>
          <p:cNvPr id="7" name="Picture 18">
            <a:extLst>
              <a:ext uri="{FF2B5EF4-FFF2-40B4-BE49-F238E27FC236}">
                <a16:creationId xmlns:a16="http://schemas.microsoft.com/office/drawing/2014/main" id="{4974A638-9F43-A17B-C834-BFB799F565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2905" y="10029356"/>
            <a:ext cx="1967188" cy="1306071"/>
          </a:xfrm>
          <a:prstGeom prst="rect">
            <a:avLst/>
          </a:prstGeom>
        </p:spPr>
      </p:pic>
      <p:pic>
        <p:nvPicPr>
          <p:cNvPr id="8" name="Afbeelding 7" descr="Afbeelding met tekst&#10;&#10;Automatisch gegenereerde beschrijving">
            <a:extLst>
              <a:ext uri="{FF2B5EF4-FFF2-40B4-BE49-F238E27FC236}">
                <a16:creationId xmlns:a16="http://schemas.microsoft.com/office/drawing/2014/main" id="{E1CA418D-C83C-FD9A-A97B-15A46B13ED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321" y="6099594"/>
            <a:ext cx="5651167" cy="1130233"/>
          </a:xfrm>
          <a:prstGeom prst="rect">
            <a:avLst/>
          </a:prstGeom>
        </p:spPr>
      </p:pic>
      <p:pic>
        <p:nvPicPr>
          <p:cNvPr id="9" name="Afbeelding 8" descr="Afbeelding met tekst&#10;&#10;Automatisch gegenereerde beschrijving">
            <a:extLst>
              <a:ext uri="{FF2B5EF4-FFF2-40B4-BE49-F238E27FC236}">
                <a16:creationId xmlns:a16="http://schemas.microsoft.com/office/drawing/2014/main" id="{161B1857-5455-F6AB-9CBE-02F4545F982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7540" y="6460147"/>
            <a:ext cx="4616793" cy="764301"/>
          </a:xfrm>
          <a:prstGeom prst="rect">
            <a:avLst/>
          </a:prstGeom>
        </p:spPr>
      </p:pic>
      <p:pic>
        <p:nvPicPr>
          <p:cNvPr id="10" name="Picture 2" descr="Zilveren Kruis Achmea verlengt maximale indientermijn tot 1 april 2023 -  LVVP">
            <a:extLst>
              <a:ext uri="{FF2B5EF4-FFF2-40B4-BE49-F238E27FC236}">
                <a16:creationId xmlns:a16="http://schemas.microsoft.com/office/drawing/2014/main" id="{642745E0-EDBD-E180-E608-CBA3468DD18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95936" y="8451730"/>
            <a:ext cx="3518319" cy="11079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picture containing graphical user interface&#10;&#10;Description automatically generated">
            <a:extLst>
              <a:ext uri="{FF2B5EF4-FFF2-40B4-BE49-F238E27FC236}">
                <a16:creationId xmlns:a16="http://schemas.microsoft.com/office/drawing/2014/main" id="{3FE87735-AB88-6EFD-CCE4-AA19F59C893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55824" y="8117258"/>
            <a:ext cx="3881814" cy="1493005"/>
          </a:xfrm>
          <a:prstGeom prst="rect">
            <a:avLst/>
          </a:prstGeom>
        </p:spPr>
      </p:pic>
      <p:pic>
        <p:nvPicPr>
          <p:cNvPr id="12" name="Afbeelding 11">
            <a:extLst>
              <a:ext uri="{FF2B5EF4-FFF2-40B4-BE49-F238E27FC236}">
                <a16:creationId xmlns:a16="http://schemas.microsoft.com/office/drawing/2014/main" id="{9D7C6225-B0B3-E2BE-957F-73F9265C1B3E}"/>
              </a:ext>
            </a:extLst>
          </p:cNvPr>
          <p:cNvPicPr>
            <a:picLocks noChangeAspect="1"/>
          </p:cNvPicPr>
          <p:nvPr/>
        </p:nvPicPr>
        <p:blipFill>
          <a:blip r:embed="rId9"/>
          <a:stretch>
            <a:fillRect/>
          </a:stretch>
        </p:blipFill>
        <p:spPr>
          <a:xfrm>
            <a:off x="14364587" y="8254244"/>
            <a:ext cx="1692683" cy="1692683"/>
          </a:xfrm>
          <a:prstGeom prst="rect">
            <a:avLst/>
          </a:prstGeom>
        </p:spPr>
      </p:pic>
      <p:pic>
        <p:nvPicPr>
          <p:cNvPr id="13" name="Picture 17" descr="Afbeelding met tekst, tafelgerei, illustratie&#10;&#10;Automatisch gegenereerde beschrijving">
            <a:extLst>
              <a:ext uri="{FF2B5EF4-FFF2-40B4-BE49-F238E27FC236}">
                <a16:creationId xmlns:a16="http://schemas.microsoft.com/office/drawing/2014/main" id="{1BF6D87B-4ABE-F1F5-9411-0A9B75C1CB0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9321" y="8117258"/>
            <a:ext cx="3165098" cy="1130233"/>
          </a:xfrm>
          <a:prstGeom prst="rect">
            <a:avLst/>
          </a:prstGeom>
        </p:spPr>
      </p:pic>
      <p:pic>
        <p:nvPicPr>
          <p:cNvPr id="14" name="Afbeelding 13" descr="Alliade — Noorderlink">
            <a:extLst>
              <a:ext uri="{FF2B5EF4-FFF2-40B4-BE49-F238E27FC236}">
                <a16:creationId xmlns:a16="http://schemas.microsoft.com/office/drawing/2014/main" id="{EA9D17D2-0655-B188-62B2-730796758ACF}"/>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2855626" y="6080032"/>
            <a:ext cx="3476671" cy="1524530"/>
          </a:xfrm>
          <a:prstGeom prst="rect">
            <a:avLst/>
          </a:prstGeom>
          <a:noFill/>
          <a:ln>
            <a:noFill/>
          </a:ln>
        </p:spPr>
      </p:pic>
      <p:sp>
        <p:nvSpPr>
          <p:cNvPr id="15" name="Tekstvak 14">
            <a:extLst>
              <a:ext uri="{FF2B5EF4-FFF2-40B4-BE49-F238E27FC236}">
                <a16:creationId xmlns:a16="http://schemas.microsoft.com/office/drawing/2014/main" id="{B37008EA-E7B8-A87F-51FF-CFC6B9F7BCCB}"/>
              </a:ext>
            </a:extLst>
          </p:cNvPr>
          <p:cNvSpPr txBox="1"/>
          <p:nvPr/>
        </p:nvSpPr>
        <p:spPr>
          <a:xfrm>
            <a:off x="-713678" y="4973447"/>
            <a:ext cx="0" cy="0"/>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Tree>
    <p:extLst>
      <p:ext uri="{BB962C8B-B14F-4D97-AF65-F5344CB8AC3E}">
        <p14:creationId xmlns:p14="http://schemas.microsoft.com/office/powerpoint/2010/main" val="293072806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 7">
            <a:extLst>
              <a:ext uri="{FF2B5EF4-FFF2-40B4-BE49-F238E27FC236}">
                <a16:creationId xmlns:a16="http://schemas.microsoft.com/office/drawing/2014/main" id="{45D9BA12-DE77-45DA-478F-0C4A67127F4C}"/>
              </a:ext>
            </a:extLst>
          </p:cNvPr>
          <p:cNvGraphicFramePr>
            <a:graphicFrameLocks noGrp="1"/>
          </p:cNvGraphicFramePr>
          <p:nvPr>
            <p:extLst>
              <p:ext uri="{D42A27DB-BD31-4B8C-83A1-F6EECF244321}">
                <p14:modId xmlns:p14="http://schemas.microsoft.com/office/powerpoint/2010/main" val="2084890697"/>
              </p:ext>
            </p:extLst>
          </p:nvPr>
        </p:nvGraphicFramePr>
        <p:xfrm>
          <a:off x="740434" y="4395748"/>
          <a:ext cx="15293637" cy="3375478"/>
        </p:xfrm>
        <a:graphic>
          <a:graphicData uri="http://schemas.openxmlformats.org/drawingml/2006/table">
            <a:tbl>
              <a:tblPr firstRow="1" bandRow="1">
                <a:tableStyleId>{5940675A-B579-460E-94D1-54222C63F5DA}</a:tableStyleId>
              </a:tblPr>
              <a:tblGrid>
                <a:gridCol w="1699293">
                  <a:extLst>
                    <a:ext uri="{9D8B030D-6E8A-4147-A177-3AD203B41FA5}">
                      <a16:colId xmlns:a16="http://schemas.microsoft.com/office/drawing/2014/main" val="1943147595"/>
                    </a:ext>
                  </a:extLst>
                </a:gridCol>
                <a:gridCol w="1699293">
                  <a:extLst>
                    <a:ext uri="{9D8B030D-6E8A-4147-A177-3AD203B41FA5}">
                      <a16:colId xmlns:a16="http://schemas.microsoft.com/office/drawing/2014/main" val="1780725025"/>
                    </a:ext>
                  </a:extLst>
                </a:gridCol>
                <a:gridCol w="1699293">
                  <a:extLst>
                    <a:ext uri="{9D8B030D-6E8A-4147-A177-3AD203B41FA5}">
                      <a16:colId xmlns:a16="http://schemas.microsoft.com/office/drawing/2014/main" val="396191473"/>
                    </a:ext>
                  </a:extLst>
                </a:gridCol>
                <a:gridCol w="1699293">
                  <a:extLst>
                    <a:ext uri="{9D8B030D-6E8A-4147-A177-3AD203B41FA5}">
                      <a16:colId xmlns:a16="http://schemas.microsoft.com/office/drawing/2014/main" val="3183917968"/>
                    </a:ext>
                  </a:extLst>
                </a:gridCol>
                <a:gridCol w="1699293">
                  <a:extLst>
                    <a:ext uri="{9D8B030D-6E8A-4147-A177-3AD203B41FA5}">
                      <a16:colId xmlns:a16="http://schemas.microsoft.com/office/drawing/2014/main" val="2823290584"/>
                    </a:ext>
                  </a:extLst>
                </a:gridCol>
                <a:gridCol w="1699293">
                  <a:extLst>
                    <a:ext uri="{9D8B030D-6E8A-4147-A177-3AD203B41FA5}">
                      <a16:colId xmlns:a16="http://schemas.microsoft.com/office/drawing/2014/main" val="3489541636"/>
                    </a:ext>
                  </a:extLst>
                </a:gridCol>
                <a:gridCol w="1699293">
                  <a:extLst>
                    <a:ext uri="{9D8B030D-6E8A-4147-A177-3AD203B41FA5}">
                      <a16:colId xmlns:a16="http://schemas.microsoft.com/office/drawing/2014/main" val="3736931921"/>
                    </a:ext>
                  </a:extLst>
                </a:gridCol>
                <a:gridCol w="1699293">
                  <a:extLst>
                    <a:ext uri="{9D8B030D-6E8A-4147-A177-3AD203B41FA5}">
                      <a16:colId xmlns:a16="http://schemas.microsoft.com/office/drawing/2014/main" val="1653089454"/>
                    </a:ext>
                  </a:extLst>
                </a:gridCol>
                <a:gridCol w="1699293">
                  <a:extLst>
                    <a:ext uri="{9D8B030D-6E8A-4147-A177-3AD203B41FA5}">
                      <a16:colId xmlns:a16="http://schemas.microsoft.com/office/drawing/2014/main" val="415368779"/>
                    </a:ext>
                  </a:extLst>
                </a:gridCol>
              </a:tblGrid>
              <a:tr h="3375478">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nl-NL"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5210676"/>
                  </a:ext>
                </a:extLst>
              </a:tr>
            </a:tbl>
          </a:graphicData>
        </a:graphic>
      </p:graphicFrame>
      <p:cxnSp>
        <p:nvCxnSpPr>
          <p:cNvPr id="3" name="Rechte verbindingslijn 2">
            <a:extLst>
              <a:ext uri="{FF2B5EF4-FFF2-40B4-BE49-F238E27FC236}">
                <a16:creationId xmlns:a16="http://schemas.microsoft.com/office/drawing/2014/main" id="{89760260-0EC8-748B-0391-83626BEFCB15}"/>
              </a:ext>
            </a:extLst>
          </p:cNvPr>
          <p:cNvCxnSpPr>
            <a:cxnSpLocks/>
          </p:cNvCxnSpPr>
          <p:nvPr/>
        </p:nvCxnSpPr>
        <p:spPr>
          <a:xfrm flipV="1">
            <a:off x="15418045" y="4568210"/>
            <a:ext cx="0" cy="2822729"/>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2" name="Vijfhoek 1">
            <a:extLst>
              <a:ext uri="{FF2B5EF4-FFF2-40B4-BE49-F238E27FC236}">
                <a16:creationId xmlns:a16="http://schemas.microsoft.com/office/drawing/2014/main" id="{F0550FD0-5248-ACDE-8C50-A59ACDAC947F}"/>
              </a:ext>
            </a:extLst>
          </p:cNvPr>
          <p:cNvSpPr/>
          <p:nvPr/>
        </p:nvSpPr>
        <p:spPr>
          <a:xfrm>
            <a:off x="14857727" y="4935008"/>
            <a:ext cx="2247703" cy="2445283"/>
          </a:xfrm>
          <a:prstGeom prst="homePlate">
            <a:avLst>
              <a:gd name="adj" fmla="val 22187"/>
            </a:avLst>
          </a:prstGeom>
          <a:solidFill>
            <a:srgbClr val="FFF4E6"/>
          </a:solidFill>
          <a:ln w="6350">
            <a:solidFill>
              <a:schemeClr val="tx1"/>
            </a:solidFill>
            <a:miter lim="400000"/>
          </a:ln>
        </p:spPr>
        <p:txBody>
          <a:bodyPr lIns="180000" tIns="0" rIns="180000" bIns="0" rtlCol="0" anchor="ctr"/>
          <a:lstStyle/>
          <a:p>
            <a:pPr algn="ctr" defTabSz="825500">
              <a:lnSpc>
                <a:spcPct val="114000"/>
              </a:lnSpc>
              <a:spcBef>
                <a:spcPts val="0"/>
              </a:spcBef>
            </a:pPr>
            <a:endParaRPr lang="nl-NL" sz="2200" b="1" dirty="0">
              <a:latin typeface="Poppins" pitchFamily="2" charset="77"/>
              <a:ea typeface="Helvetica Neue Medium"/>
              <a:cs typeface="Poppins" pitchFamily="2" charset="77"/>
              <a:sym typeface="Helvetica Neue Medium"/>
            </a:endParaRPr>
          </a:p>
        </p:txBody>
      </p:sp>
      <p:cxnSp>
        <p:nvCxnSpPr>
          <p:cNvPr id="39" name="Rechte verbindingslijn 38">
            <a:extLst>
              <a:ext uri="{FF2B5EF4-FFF2-40B4-BE49-F238E27FC236}">
                <a16:creationId xmlns:a16="http://schemas.microsoft.com/office/drawing/2014/main" id="{4F0AB85F-20BE-38B0-092D-067C61A3D1C2}"/>
              </a:ext>
            </a:extLst>
          </p:cNvPr>
          <p:cNvCxnSpPr>
            <a:cxnSpLocks/>
            <a:endCxn id="40" idx="2"/>
          </p:cNvCxnSpPr>
          <p:nvPr/>
        </p:nvCxnSpPr>
        <p:spPr>
          <a:xfrm flipV="1">
            <a:off x="12645400" y="3531869"/>
            <a:ext cx="0" cy="3859070"/>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4" name="Vijfhoek 3">
            <a:extLst>
              <a:ext uri="{FF2B5EF4-FFF2-40B4-BE49-F238E27FC236}">
                <a16:creationId xmlns:a16="http://schemas.microsoft.com/office/drawing/2014/main" id="{9607C648-03FC-6574-9446-3CFC207B49BF}"/>
              </a:ext>
            </a:extLst>
          </p:cNvPr>
          <p:cNvSpPr/>
          <p:nvPr/>
        </p:nvSpPr>
        <p:spPr>
          <a:xfrm>
            <a:off x="10107047" y="4935010"/>
            <a:ext cx="5926051" cy="2460073"/>
          </a:xfrm>
          <a:prstGeom prst="homePlate">
            <a:avLst>
              <a:gd name="adj" fmla="val 29986"/>
            </a:avLst>
          </a:prstGeom>
          <a:solidFill>
            <a:schemeClr val="accent6"/>
          </a:solidFill>
          <a:ln w="6350">
            <a:solidFill>
              <a:schemeClr val="tx1"/>
            </a:solidFill>
            <a:prstDash val="solid"/>
            <a:miter lim="400000"/>
          </a:ln>
        </p:spPr>
        <p:txBody>
          <a:bodyPr lIns="180000" tIns="0" rIns="180000" bIns="0" rtlCol="0" anchor="ctr"/>
          <a:lstStyle/>
          <a:p>
            <a:pPr algn="ctr" defTabSz="825500">
              <a:lnSpc>
                <a:spcPct val="114000"/>
              </a:lnSpc>
              <a:spcBef>
                <a:spcPts val="0"/>
              </a:spcBef>
            </a:pPr>
            <a:endParaRPr lang="nl-NL" sz="2200" b="1" dirty="0">
              <a:latin typeface="Poppins" pitchFamily="2" charset="77"/>
              <a:ea typeface="Helvetica Neue Medium"/>
              <a:cs typeface="Poppins" pitchFamily="2" charset="77"/>
              <a:sym typeface="Helvetica Neue Medium"/>
            </a:endParaRPr>
          </a:p>
        </p:txBody>
      </p:sp>
      <p:cxnSp>
        <p:nvCxnSpPr>
          <p:cNvPr id="5" name="Rechte verbindingslijn 4">
            <a:extLst>
              <a:ext uri="{FF2B5EF4-FFF2-40B4-BE49-F238E27FC236}">
                <a16:creationId xmlns:a16="http://schemas.microsoft.com/office/drawing/2014/main" id="{466A060C-5ABD-D333-3460-753709D0623D}"/>
              </a:ext>
            </a:extLst>
          </p:cNvPr>
          <p:cNvCxnSpPr>
            <a:cxnSpLocks/>
          </p:cNvCxnSpPr>
          <p:nvPr/>
        </p:nvCxnSpPr>
        <p:spPr>
          <a:xfrm flipH="1" flipV="1">
            <a:off x="8413655" y="7357353"/>
            <a:ext cx="974" cy="2501348"/>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6" name="Rechte verbindingslijn 5">
            <a:extLst>
              <a:ext uri="{FF2B5EF4-FFF2-40B4-BE49-F238E27FC236}">
                <a16:creationId xmlns:a16="http://schemas.microsoft.com/office/drawing/2014/main" id="{AFA9BB41-3C33-0778-8410-67CA7FAFDDDD}"/>
              </a:ext>
            </a:extLst>
          </p:cNvPr>
          <p:cNvCxnSpPr>
            <a:cxnSpLocks/>
          </p:cNvCxnSpPr>
          <p:nvPr/>
        </p:nvCxnSpPr>
        <p:spPr>
          <a:xfrm flipV="1">
            <a:off x="13852284" y="7411960"/>
            <a:ext cx="0" cy="2446741"/>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7" name="Rechte verbindingslijn 6">
            <a:extLst>
              <a:ext uri="{FF2B5EF4-FFF2-40B4-BE49-F238E27FC236}">
                <a16:creationId xmlns:a16="http://schemas.microsoft.com/office/drawing/2014/main" id="{D45EE2D4-46E2-6520-6BD7-3C37581224C1}"/>
              </a:ext>
            </a:extLst>
          </p:cNvPr>
          <p:cNvCxnSpPr>
            <a:cxnSpLocks/>
          </p:cNvCxnSpPr>
          <p:nvPr/>
        </p:nvCxnSpPr>
        <p:spPr>
          <a:xfrm flipH="1" flipV="1">
            <a:off x="3238959" y="7380291"/>
            <a:ext cx="974" cy="2501348"/>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9" name="Rechte verbindingslijn 8">
            <a:extLst>
              <a:ext uri="{FF2B5EF4-FFF2-40B4-BE49-F238E27FC236}">
                <a16:creationId xmlns:a16="http://schemas.microsoft.com/office/drawing/2014/main" id="{CA20DEBE-7A1A-62A8-0858-747EC78F7EED}"/>
              </a:ext>
            </a:extLst>
          </p:cNvPr>
          <p:cNvCxnSpPr>
            <a:cxnSpLocks/>
          </p:cNvCxnSpPr>
          <p:nvPr/>
        </p:nvCxnSpPr>
        <p:spPr>
          <a:xfrm flipV="1">
            <a:off x="10448673" y="4167579"/>
            <a:ext cx="0" cy="3189774"/>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cxnSp>
        <p:nvCxnSpPr>
          <p:cNvPr id="10" name="Rechte verbindingslijn 9">
            <a:extLst>
              <a:ext uri="{FF2B5EF4-FFF2-40B4-BE49-F238E27FC236}">
                <a16:creationId xmlns:a16="http://schemas.microsoft.com/office/drawing/2014/main" id="{9062FA80-958F-B9A9-19FF-16F2508297C4}"/>
              </a:ext>
            </a:extLst>
          </p:cNvPr>
          <p:cNvCxnSpPr>
            <a:cxnSpLocks/>
          </p:cNvCxnSpPr>
          <p:nvPr/>
        </p:nvCxnSpPr>
        <p:spPr>
          <a:xfrm flipV="1">
            <a:off x="6936204" y="3521221"/>
            <a:ext cx="0" cy="3859070"/>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1" name="Titel 1">
            <a:extLst>
              <a:ext uri="{FF2B5EF4-FFF2-40B4-BE49-F238E27FC236}">
                <a16:creationId xmlns:a16="http://schemas.microsoft.com/office/drawing/2014/main" id="{B6400480-135E-2573-90E9-2FBC308FD0FA}"/>
              </a:ext>
            </a:extLst>
          </p:cNvPr>
          <p:cNvSpPr>
            <a:spLocks noGrp="1"/>
          </p:cNvSpPr>
          <p:nvPr>
            <p:ph type="title"/>
          </p:nvPr>
        </p:nvSpPr>
        <p:spPr>
          <a:xfrm rot="10800000" flipV="1">
            <a:off x="919323" y="811022"/>
            <a:ext cx="15299998" cy="871158"/>
          </a:xfrm>
        </p:spPr>
        <p:txBody>
          <a:bodyPr/>
          <a:lstStyle/>
          <a:p>
            <a:r>
              <a:rPr lang="nl-NL" b="1" dirty="0"/>
              <a:t>SAMENWERKING </a:t>
            </a:r>
            <a:r>
              <a:rPr lang="nl-NL" dirty="0"/>
              <a:t>| Om gezinshulp te realiseren is er door de partijen gezamenlijk vanuit de inhoud een nieuwe aanpak ontworpen en daarna toegewerkt naar een pilot</a:t>
            </a:r>
            <a:endParaRPr lang="nl-NL" b="1" dirty="0"/>
          </a:p>
        </p:txBody>
      </p:sp>
      <p:cxnSp>
        <p:nvCxnSpPr>
          <p:cNvPr id="12" name="Rechte verbindingslijn 11">
            <a:extLst>
              <a:ext uri="{FF2B5EF4-FFF2-40B4-BE49-F238E27FC236}">
                <a16:creationId xmlns:a16="http://schemas.microsoft.com/office/drawing/2014/main" id="{AE49365D-19C0-85E8-6E93-4555CE65F718}"/>
              </a:ext>
            </a:extLst>
          </p:cNvPr>
          <p:cNvCxnSpPr>
            <a:cxnSpLocks/>
          </p:cNvCxnSpPr>
          <p:nvPr/>
        </p:nvCxnSpPr>
        <p:spPr>
          <a:xfrm flipV="1">
            <a:off x="4931943" y="4201165"/>
            <a:ext cx="0" cy="3189774"/>
          </a:xfrm>
          <a:prstGeom prst="line">
            <a:avLst/>
          </a:prstGeom>
          <a:noFill/>
          <a:ln w="12700" cap="flat">
            <a:solidFill>
              <a:srgbClr val="000000"/>
            </a:solidFill>
            <a:prstDash val="solid"/>
            <a:miter lim="400000"/>
          </a:ln>
          <a:effectLst/>
          <a:sp3d/>
        </p:spPr>
        <p:style>
          <a:lnRef idx="0">
            <a:scrgbClr r="0" g="0" b="0"/>
          </a:lnRef>
          <a:fillRef idx="0">
            <a:scrgbClr r="0" g="0" b="0"/>
          </a:fillRef>
          <a:effectRef idx="0">
            <a:scrgbClr r="0" g="0" b="0"/>
          </a:effectRef>
          <a:fontRef idx="none"/>
        </p:style>
      </p:cxnSp>
      <p:sp>
        <p:nvSpPr>
          <p:cNvPr id="13" name="Tekstvak 12">
            <a:extLst>
              <a:ext uri="{FF2B5EF4-FFF2-40B4-BE49-F238E27FC236}">
                <a16:creationId xmlns:a16="http://schemas.microsoft.com/office/drawing/2014/main" id="{1640AF23-D9DE-2905-E509-807A807CA0AF}"/>
              </a:ext>
            </a:extLst>
          </p:cNvPr>
          <p:cNvSpPr txBox="1"/>
          <p:nvPr/>
        </p:nvSpPr>
        <p:spPr>
          <a:xfrm>
            <a:off x="188858" y="7915839"/>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mrt</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4" name="Tekstvak 13">
            <a:extLst>
              <a:ext uri="{FF2B5EF4-FFF2-40B4-BE49-F238E27FC236}">
                <a16:creationId xmlns:a16="http://schemas.microsoft.com/office/drawing/2014/main" id="{8B327660-212A-FE18-78A5-54BC6547004B}"/>
              </a:ext>
            </a:extLst>
          </p:cNvPr>
          <p:cNvSpPr txBox="1"/>
          <p:nvPr/>
        </p:nvSpPr>
        <p:spPr>
          <a:xfrm>
            <a:off x="6977721" y="7915839"/>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nov</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5" name="Tekstvak 14">
            <a:extLst>
              <a:ext uri="{FF2B5EF4-FFF2-40B4-BE49-F238E27FC236}">
                <a16:creationId xmlns:a16="http://schemas.microsoft.com/office/drawing/2014/main" id="{31ECCAC5-6BD1-870F-0E3F-8262B3FA095E}"/>
              </a:ext>
            </a:extLst>
          </p:cNvPr>
          <p:cNvSpPr txBox="1"/>
          <p:nvPr/>
        </p:nvSpPr>
        <p:spPr>
          <a:xfrm>
            <a:off x="1867573" y="7923593"/>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mei</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6" name="Tekstvak 15">
            <a:extLst>
              <a:ext uri="{FF2B5EF4-FFF2-40B4-BE49-F238E27FC236}">
                <a16:creationId xmlns:a16="http://schemas.microsoft.com/office/drawing/2014/main" id="{8098E106-BDA9-6E02-BEC6-94D9B5BFF3BF}"/>
              </a:ext>
            </a:extLst>
          </p:cNvPr>
          <p:cNvSpPr txBox="1"/>
          <p:nvPr/>
        </p:nvSpPr>
        <p:spPr>
          <a:xfrm>
            <a:off x="3563483" y="7939285"/>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jul</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7" name="Tekstvak 16">
            <a:extLst>
              <a:ext uri="{FF2B5EF4-FFF2-40B4-BE49-F238E27FC236}">
                <a16:creationId xmlns:a16="http://schemas.microsoft.com/office/drawing/2014/main" id="{1DC77918-796D-3528-08DF-E83D8F06C5C7}"/>
              </a:ext>
            </a:extLst>
          </p:cNvPr>
          <p:cNvSpPr txBox="1"/>
          <p:nvPr/>
        </p:nvSpPr>
        <p:spPr>
          <a:xfrm>
            <a:off x="5263298" y="7915839"/>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sep</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8" name="Tekstvak 17">
            <a:extLst>
              <a:ext uri="{FF2B5EF4-FFF2-40B4-BE49-F238E27FC236}">
                <a16:creationId xmlns:a16="http://schemas.microsoft.com/office/drawing/2014/main" id="{D9FA098D-5C48-21E8-CCFD-363E7B4E6523}"/>
              </a:ext>
            </a:extLst>
          </p:cNvPr>
          <p:cNvSpPr txBox="1"/>
          <p:nvPr/>
        </p:nvSpPr>
        <p:spPr>
          <a:xfrm>
            <a:off x="8661609" y="7905468"/>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jan</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9" name="Tekstvak 18">
            <a:extLst>
              <a:ext uri="{FF2B5EF4-FFF2-40B4-BE49-F238E27FC236}">
                <a16:creationId xmlns:a16="http://schemas.microsoft.com/office/drawing/2014/main" id="{1E48A92F-E219-694C-351A-A2282A135D9C}"/>
              </a:ext>
            </a:extLst>
          </p:cNvPr>
          <p:cNvSpPr txBox="1"/>
          <p:nvPr/>
        </p:nvSpPr>
        <p:spPr>
          <a:xfrm>
            <a:off x="10361421" y="7915839"/>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mrt</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20" name="Tekstvak 19">
            <a:extLst>
              <a:ext uri="{FF2B5EF4-FFF2-40B4-BE49-F238E27FC236}">
                <a16:creationId xmlns:a16="http://schemas.microsoft.com/office/drawing/2014/main" id="{0A7C03DE-A133-CA3C-2FE7-E739B71F1025}"/>
              </a:ext>
            </a:extLst>
          </p:cNvPr>
          <p:cNvSpPr txBox="1"/>
          <p:nvPr/>
        </p:nvSpPr>
        <p:spPr>
          <a:xfrm>
            <a:off x="12079173" y="7924832"/>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mei</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21" name="Tekstvak 20">
            <a:extLst>
              <a:ext uri="{FF2B5EF4-FFF2-40B4-BE49-F238E27FC236}">
                <a16:creationId xmlns:a16="http://schemas.microsoft.com/office/drawing/2014/main" id="{77E90D73-0E19-077F-E021-7E55E0F89469}"/>
              </a:ext>
            </a:extLst>
          </p:cNvPr>
          <p:cNvSpPr txBox="1"/>
          <p:nvPr/>
        </p:nvSpPr>
        <p:spPr>
          <a:xfrm>
            <a:off x="11748222" y="5699819"/>
            <a:ext cx="2908360" cy="961292"/>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Voorbereiden implementatie en start pilot</a:t>
            </a:r>
          </a:p>
        </p:txBody>
      </p:sp>
      <p:sp>
        <p:nvSpPr>
          <p:cNvPr id="22" name="Tekstvak 21">
            <a:extLst>
              <a:ext uri="{FF2B5EF4-FFF2-40B4-BE49-F238E27FC236}">
                <a16:creationId xmlns:a16="http://schemas.microsoft.com/office/drawing/2014/main" id="{9EB86820-70A8-2F87-BE24-1216943C9C2E}"/>
              </a:ext>
            </a:extLst>
          </p:cNvPr>
          <p:cNvSpPr txBox="1"/>
          <p:nvPr/>
        </p:nvSpPr>
        <p:spPr>
          <a:xfrm>
            <a:off x="167547" y="8472484"/>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b="1" dirty="0">
                <a:latin typeface="Poppins" pitchFamily="2" charset="77"/>
                <a:cs typeface="Poppins" pitchFamily="2" charset="77"/>
              </a:rPr>
              <a:t>2023</a:t>
            </a:r>
            <a:endPar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23" name="Tekstvak 22">
            <a:extLst>
              <a:ext uri="{FF2B5EF4-FFF2-40B4-BE49-F238E27FC236}">
                <a16:creationId xmlns:a16="http://schemas.microsoft.com/office/drawing/2014/main" id="{E19E92C2-0C47-7CA9-B2D1-64AF7FFA5B19}"/>
              </a:ext>
            </a:extLst>
          </p:cNvPr>
          <p:cNvSpPr txBox="1"/>
          <p:nvPr/>
        </p:nvSpPr>
        <p:spPr>
          <a:xfrm>
            <a:off x="11117935" y="8520616"/>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b="1" dirty="0">
                <a:latin typeface="Poppins" pitchFamily="2" charset="77"/>
                <a:cs typeface="Poppins" pitchFamily="2" charset="77"/>
              </a:rPr>
              <a:t>2024</a:t>
            </a:r>
            <a:endPar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24" name="Afgeronde rechthoek 23">
            <a:extLst>
              <a:ext uri="{FF2B5EF4-FFF2-40B4-BE49-F238E27FC236}">
                <a16:creationId xmlns:a16="http://schemas.microsoft.com/office/drawing/2014/main" id="{B1F5884B-47DC-D816-1B5F-1B1DB37D5F78}"/>
              </a:ext>
            </a:extLst>
          </p:cNvPr>
          <p:cNvSpPr/>
          <p:nvPr/>
        </p:nvSpPr>
        <p:spPr>
          <a:xfrm>
            <a:off x="6061826" y="9858701"/>
            <a:ext cx="4930476" cy="2039815"/>
          </a:xfrm>
          <a:prstGeom prst="roundRect">
            <a:avLst/>
          </a:prstGeom>
          <a:solidFill>
            <a:schemeClr val="bg1"/>
          </a:solidFill>
          <a:ln w="12700">
            <a:solidFill>
              <a:schemeClr val="tx1"/>
            </a:solidFill>
            <a:miter lim="400000"/>
          </a:ln>
          <a:effectLst>
            <a:outerShdw blurRad="50800" dist="38100" dir="2700000" algn="tl" rotWithShape="0">
              <a:prstClr val="black">
                <a:alpha val="40000"/>
              </a:prstClr>
            </a:outerShdw>
          </a:effectLst>
        </p:spPr>
        <p:txBody>
          <a:bodyPr lIns="180000" tIns="0" rIns="180000" bIns="0" rtlCol="0" anchor="ctr"/>
          <a:lstStyle/>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Financiering pilot</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Privacy</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Inhoudelijke verantwoordelijkheid</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Governance</a:t>
            </a:r>
          </a:p>
        </p:txBody>
      </p:sp>
      <p:sp>
        <p:nvSpPr>
          <p:cNvPr id="25" name="Afgeronde rechthoek 24">
            <a:extLst>
              <a:ext uri="{FF2B5EF4-FFF2-40B4-BE49-F238E27FC236}">
                <a16:creationId xmlns:a16="http://schemas.microsoft.com/office/drawing/2014/main" id="{5F6B21A4-4400-EBA3-EA00-88BDA57DE841}"/>
              </a:ext>
            </a:extLst>
          </p:cNvPr>
          <p:cNvSpPr/>
          <p:nvPr/>
        </p:nvSpPr>
        <p:spPr>
          <a:xfrm>
            <a:off x="11387046" y="9858701"/>
            <a:ext cx="4930476" cy="2039815"/>
          </a:xfrm>
          <a:prstGeom prst="roundRect">
            <a:avLst/>
          </a:prstGeom>
          <a:solidFill>
            <a:schemeClr val="bg1"/>
          </a:solidFill>
          <a:ln w="12700">
            <a:solidFill>
              <a:schemeClr val="tx1"/>
            </a:solidFill>
            <a:miter lim="400000"/>
          </a:ln>
          <a:effectLst>
            <a:outerShdw blurRad="50800" dist="38100" dir="2700000" algn="tl" rotWithShape="0">
              <a:prstClr val="black">
                <a:alpha val="40000"/>
              </a:prstClr>
            </a:outerShdw>
          </a:effectLst>
        </p:spPr>
        <p:txBody>
          <a:bodyPr lIns="180000" tIns="0" rIns="180000" bIns="0" rtlCol="0" anchor="ctr"/>
          <a:lstStyle/>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Kwartiermaker</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Werving team</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Samenwerkingsafspraken</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Communicatie extern</a:t>
            </a:r>
          </a:p>
        </p:txBody>
      </p:sp>
      <p:sp>
        <p:nvSpPr>
          <p:cNvPr id="26" name="Afgeronde rechthoek 25">
            <a:extLst>
              <a:ext uri="{FF2B5EF4-FFF2-40B4-BE49-F238E27FC236}">
                <a16:creationId xmlns:a16="http://schemas.microsoft.com/office/drawing/2014/main" id="{29AB58A3-5A29-797F-4A4E-51AF4561F47F}"/>
              </a:ext>
            </a:extLst>
          </p:cNvPr>
          <p:cNvSpPr/>
          <p:nvPr/>
        </p:nvSpPr>
        <p:spPr>
          <a:xfrm>
            <a:off x="3908319" y="3659284"/>
            <a:ext cx="2248789" cy="919673"/>
          </a:xfrm>
          <a:prstGeom prst="roundRect">
            <a:avLst/>
          </a:prstGeom>
          <a:solidFill>
            <a:schemeClr val="bg1"/>
          </a:solid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Besluit</a:t>
            </a:r>
          </a:p>
        </p:txBody>
      </p:sp>
      <p:sp>
        <p:nvSpPr>
          <p:cNvPr id="27" name="Afgeronde rechthoek 26">
            <a:extLst>
              <a:ext uri="{FF2B5EF4-FFF2-40B4-BE49-F238E27FC236}">
                <a16:creationId xmlns:a16="http://schemas.microsoft.com/office/drawing/2014/main" id="{0B6F84DC-66DF-2CF7-1AD2-A0A05B4EA5B2}"/>
              </a:ext>
            </a:extLst>
          </p:cNvPr>
          <p:cNvSpPr/>
          <p:nvPr/>
        </p:nvSpPr>
        <p:spPr>
          <a:xfrm>
            <a:off x="5415980" y="2617130"/>
            <a:ext cx="3040447" cy="919673"/>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Subsidie Toekomstscenario </a:t>
            </a:r>
          </a:p>
        </p:txBody>
      </p:sp>
      <p:sp>
        <p:nvSpPr>
          <p:cNvPr id="28" name="Afgeronde rechthoek 27">
            <a:extLst>
              <a:ext uri="{FF2B5EF4-FFF2-40B4-BE49-F238E27FC236}">
                <a16:creationId xmlns:a16="http://schemas.microsoft.com/office/drawing/2014/main" id="{DBEA541A-6AA0-B075-0926-5214A6739816}"/>
              </a:ext>
            </a:extLst>
          </p:cNvPr>
          <p:cNvSpPr/>
          <p:nvPr/>
        </p:nvSpPr>
        <p:spPr>
          <a:xfrm>
            <a:off x="736605" y="9858701"/>
            <a:ext cx="4930476" cy="2039815"/>
          </a:xfrm>
          <a:prstGeom prst="roundRect">
            <a:avLst/>
          </a:prstGeom>
          <a:solidFill>
            <a:schemeClr val="bg1"/>
          </a:solidFill>
          <a:ln w="12700">
            <a:solidFill>
              <a:schemeClr val="tx1"/>
            </a:solidFill>
            <a:miter lim="400000"/>
          </a:ln>
          <a:effectLst>
            <a:outerShdw blurRad="50800" dist="38100" dir="2700000" algn="tl" rotWithShape="0">
              <a:prstClr val="black">
                <a:alpha val="40000"/>
              </a:prstClr>
            </a:outerShdw>
          </a:effectLst>
        </p:spPr>
        <p:txBody>
          <a:bodyPr lIns="180000" tIns="0" rIns="180000" bIns="0" rtlCol="0" anchor="ctr"/>
          <a:lstStyle/>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Werkwijze en methodiek</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Cliëntreis</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Samenwerkingsvorm</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Teamsamenstelling</a:t>
            </a:r>
          </a:p>
          <a:p>
            <a:pPr marL="342900" indent="-342900" defTabSz="825500">
              <a:lnSpc>
                <a:spcPct val="114000"/>
              </a:lnSpc>
              <a:spcBef>
                <a:spcPts val="0"/>
              </a:spcBef>
              <a:buFont typeface="Arial" panose="020B0604020202020204" pitchFamily="34" charset="0"/>
              <a:buChar char="•"/>
            </a:pPr>
            <a:r>
              <a:rPr lang="nl-NL" sz="2200" dirty="0">
                <a:latin typeface="Poppins" pitchFamily="2" charset="77"/>
                <a:ea typeface="Helvetica Neue Medium"/>
                <a:cs typeface="Poppins" pitchFamily="2" charset="77"/>
                <a:sym typeface="Helvetica Neue Medium"/>
              </a:rPr>
              <a:t>Inclusiecriteria</a:t>
            </a:r>
          </a:p>
        </p:txBody>
      </p:sp>
      <p:sp>
        <p:nvSpPr>
          <p:cNvPr id="29" name="Tekstvak 28">
            <a:extLst>
              <a:ext uri="{FF2B5EF4-FFF2-40B4-BE49-F238E27FC236}">
                <a16:creationId xmlns:a16="http://schemas.microsoft.com/office/drawing/2014/main" id="{4DD15637-8A93-7332-EF25-6232144EC565}"/>
              </a:ext>
            </a:extLst>
          </p:cNvPr>
          <p:cNvSpPr txBox="1"/>
          <p:nvPr/>
        </p:nvSpPr>
        <p:spPr>
          <a:xfrm>
            <a:off x="13774281" y="7930324"/>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jul</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30" name="Tekstvak 29">
            <a:extLst>
              <a:ext uri="{FF2B5EF4-FFF2-40B4-BE49-F238E27FC236}">
                <a16:creationId xmlns:a16="http://schemas.microsoft.com/office/drawing/2014/main" id="{D107338C-4500-ACF8-AF31-D1142FA82876}"/>
              </a:ext>
            </a:extLst>
          </p:cNvPr>
          <p:cNvSpPr txBox="1"/>
          <p:nvPr/>
        </p:nvSpPr>
        <p:spPr>
          <a:xfrm>
            <a:off x="15474096" y="7906878"/>
            <a:ext cx="1133061" cy="49695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sep</a:t>
            </a:r>
            <a:endParaRPr kumimoji="0" lang="nl-NL" sz="220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32" name="Afgeronde rechthoek 31">
            <a:extLst>
              <a:ext uri="{FF2B5EF4-FFF2-40B4-BE49-F238E27FC236}">
                <a16:creationId xmlns:a16="http://schemas.microsoft.com/office/drawing/2014/main" id="{3A81597F-C0BB-A202-B708-8D7BEEB8FF04}"/>
              </a:ext>
            </a:extLst>
          </p:cNvPr>
          <p:cNvSpPr/>
          <p:nvPr/>
        </p:nvSpPr>
        <p:spPr>
          <a:xfrm>
            <a:off x="9324278" y="3662786"/>
            <a:ext cx="2248789" cy="919673"/>
          </a:xfrm>
          <a:prstGeom prst="roundRect">
            <a:avLst/>
          </a:prstGeom>
          <a:solidFill>
            <a:schemeClr val="bg1"/>
          </a:solid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Besluit</a:t>
            </a:r>
          </a:p>
        </p:txBody>
      </p:sp>
      <p:sp>
        <p:nvSpPr>
          <p:cNvPr id="33" name="Vijfhoek 32">
            <a:extLst>
              <a:ext uri="{FF2B5EF4-FFF2-40B4-BE49-F238E27FC236}">
                <a16:creationId xmlns:a16="http://schemas.microsoft.com/office/drawing/2014/main" id="{AE6678D0-91B9-9BEF-CD5B-9FDB66C93CA6}"/>
              </a:ext>
            </a:extLst>
          </p:cNvPr>
          <p:cNvSpPr/>
          <p:nvPr/>
        </p:nvSpPr>
        <p:spPr>
          <a:xfrm>
            <a:off x="4138031" y="4935008"/>
            <a:ext cx="6979904" cy="2460073"/>
          </a:xfrm>
          <a:prstGeom prst="homePlate">
            <a:avLst>
              <a:gd name="adj" fmla="val 28079"/>
            </a:avLst>
          </a:prstGeom>
          <a:solidFill>
            <a:schemeClr val="accent1"/>
          </a:solidFill>
          <a:ln w="6350">
            <a:solidFill>
              <a:schemeClr val="tx1"/>
            </a:solidFill>
            <a:miter lim="400000"/>
          </a:ln>
        </p:spPr>
        <p:txBody>
          <a:bodyPr lIns="180000" tIns="0" rIns="180000" bIns="0" rtlCol="0" anchor="ctr"/>
          <a:lstStyle/>
          <a:p>
            <a:pPr algn="ctr" defTabSz="825500">
              <a:lnSpc>
                <a:spcPct val="114000"/>
              </a:lnSpc>
              <a:spcBef>
                <a:spcPts val="0"/>
              </a:spcBef>
            </a:pPr>
            <a:endParaRPr lang="nl-NL" sz="2200" b="1" dirty="0">
              <a:latin typeface="Poppins" pitchFamily="2" charset="77"/>
              <a:ea typeface="Helvetica Neue Medium"/>
              <a:cs typeface="Poppins" pitchFamily="2" charset="77"/>
              <a:sym typeface="Helvetica Neue Medium"/>
            </a:endParaRPr>
          </a:p>
        </p:txBody>
      </p:sp>
      <p:sp>
        <p:nvSpPr>
          <p:cNvPr id="34" name="Tekstvak 33">
            <a:extLst>
              <a:ext uri="{FF2B5EF4-FFF2-40B4-BE49-F238E27FC236}">
                <a16:creationId xmlns:a16="http://schemas.microsoft.com/office/drawing/2014/main" id="{65737FBD-3CB6-902B-2AAD-C6111A475F0D}"/>
              </a:ext>
            </a:extLst>
          </p:cNvPr>
          <p:cNvSpPr txBox="1"/>
          <p:nvPr/>
        </p:nvSpPr>
        <p:spPr>
          <a:xfrm>
            <a:off x="5984804" y="5684398"/>
            <a:ext cx="3991726" cy="961292"/>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Uitwerken randvoorwaarden: </a:t>
            </a:r>
          </a:p>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wat is nodig voor start?</a:t>
            </a:r>
          </a:p>
        </p:txBody>
      </p:sp>
      <p:sp>
        <p:nvSpPr>
          <p:cNvPr id="35" name="Vijfhoek 34">
            <a:extLst>
              <a:ext uri="{FF2B5EF4-FFF2-40B4-BE49-F238E27FC236}">
                <a16:creationId xmlns:a16="http://schemas.microsoft.com/office/drawing/2014/main" id="{92A6B66A-3678-BF80-0D4C-A77002CE4C23}"/>
              </a:ext>
            </a:extLst>
          </p:cNvPr>
          <p:cNvSpPr/>
          <p:nvPr/>
        </p:nvSpPr>
        <p:spPr>
          <a:xfrm>
            <a:off x="1924914" y="4935009"/>
            <a:ext cx="3741192" cy="2460073"/>
          </a:xfrm>
          <a:prstGeom prst="homePlate">
            <a:avLst>
              <a:gd name="adj" fmla="val 29986"/>
            </a:avLst>
          </a:prstGeom>
          <a:solidFill>
            <a:schemeClr val="accent5"/>
          </a:solidFill>
          <a:ln w="6350">
            <a:solidFill>
              <a:schemeClr val="tx1"/>
            </a:solidFill>
            <a:miter lim="400000"/>
          </a:ln>
        </p:spPr>
        <p:txBody>
          <a:bodyPr lIns="180000" tIns="0" rIns="180000" bIns="0" rtlCol="0" anchor="ctr"/>
          <a:lstStyle/>
          <a:p>
            <a:pPr algn="ctr" defTabSz="825500">
              <a:lnSpc>
                <a:spcPct val="114000"/>
              </a:lnSpc>
              <a:spcBef>
                <a:spcPts val="0"/>
              </a:spcBef>
            </a:pPr>
            <a:endParaRPr lang="nl-NL" sz="2200" b="1" dirty="0">
              <a:latin typeface="Poppins" pitchFamily="2" charset="77"/>
              <a:ea typeface="Helvetica Neue Medium"/>
              <a:cs typeface="Poppins" pitchFamily="2" charset="77"/>
              <a:sym typeface="Helvetica Neue Medium"/>
            </a:endParaRPr>
          </a:p>
        </p:txBody>
      </p:sp>
      <p:sp>
        <p:nvSpPr>
          <p:cNvPr id="36" name="Tekstvak 35">
            <a:extLst>
              <a:ext uri="{FF2B5EF4-FFF2-40B4-BE49-F238E27FC236}">
                <a16:creationId xmlns:a16="http://schemas.microsoft.com/office/drawing/2014/main" id="{7BFA9408-AF3D-A242-2AED-9DB6197E7FD9}"/>
              </a:ext>
            </a:extLst>
          </p:cNvPr>
          <p:cNvSpPr txBox="1"/>
          <p:nvPr/>
        </p:nvSpPr>
        <p:spPr>
          <a:xfrm>
            <a:off x="2363905" y="5699819"/>
            <a:ext cx="3167658" cy="961292"/>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Inhoudelijke uitwerking </a:t>
            </a:r>
          </a:p>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 aanpak gezinshulp op hoofdlijnen</a:t>
            </a:r>
          </a:p>
        </p:txBody>
      </p:sp>
      <p:sp>
        <p:nvSpPr>
          <p:cNvPr id="37" name="Vijfhoek 36">
            <a:extLst>
              <a:ext uri="{FF2B5EF4-FFF2-40B4-BE49-F238E27FC236}">
                <a16:creationId xmlns:a16="http://schemas.microsoft.com/office/drawing/2014/main" id="{32408479-D6C2-C106-B1E1-F371692C0F02}"/>
              </a:ext>
            </a:extLst>
          </p:cNvPr>
          <p:cNvSpPr/>
          <p:nvPr/>
        </p:nvSpPr>
        <p:spPr>
          <a:xfrm>
            <a:off x="1" y="4935009"/>
            <a:ext cx="2506706" cy="2460073"/>
          </a:xfrm>
          <a:prstGeom prst="homePlate">
            <a:avLst>
              <a:gd name="adj" fmla="val 21193"/>
            </a:avLst>
          </a:prstGeom>
          <a:solidFill>
            <a:schemeClr val="accent2">
              <a:lumMod val="20000"/>
              <a:lumOff val="80000"/>
            </a:schemeClr>
          </a:solidFill>
          <a:ln w="6350">
            <a:solidFill>
              <a:schemeClr val="tx1"/>
            </a:solidFill>
            <a:miter lim="400000"/>
          </a:ln>
        </p:spPr>
        <p:txBody>
          <a:bodyPr lIns="180000" tIns="0" rIns="180000" bIns="0" rtlCol="0" anchor="ctr"/>
          <a:lstStyle/>
          <a:p>
            <a:pPr algn="ctr" defTabSz="825500">
              <a:lnSpc>
                <a:spcPct val="114000"/>
              </a:lnSpc>
              <a:spcBef>
                <a:spcPts val="0"/>
              </a:spcBef>
            </a:pPr>
            <a:endParaRPr lang="nl-NL" sz="2200" b="1" dirty="0">
              <a:latin typeface="Poppins" pitchFamily="2" charset="77"/>
              <a:ea typeface="Helvetica Neue Medium"/>
              <a:cs typeface="Poppins" pitchFamily="2" charset="77"/>
              <a:sym typeface="Helvetica Neue Medium"/>
            </a:endParaRPr>
          </a:p>
        </p:txBody>
      </p:sp>
      <p:sp>
        <p:nvSpPr>
          <p:cNvPr id="38" name="Tekstvak 37">
            <a:extLst>
              <a:ext uri="{FF2B5EF4-FFF2-40B4-BE49-F238E27FC236}">
                <a16:creationId xmlns:a16="http://schemas.microsoft.com/office/drawing/2014/main" id="{9AB255D3-996A-AF9D-B33A-7E442485D72F}"/>
              </a:ext>
            </a:extLst>
          </p:cNvPr>
          <p:cNvSpPr txBox="1"/>
          <p:nvPr/>
        </p:nvSpPr>
        <p:spPr>
          <a:xfrm>
            <a:off x="-297931" y="5684398"/>
            <a:ext cx="3046496" cy="961292"/>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Onderzoek doelgroep + enthousiaste</a:t>
            </a:r>
          </a:p>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gemeente</a:t>
            </a:r>
          </a:p>
        </p:txBody>
      </p:sp>
      <p:sp>
        <p:nvSpPr>
          <p:cNvPr id="40" name="Afgeronde rechthoek 39">
            <a:extLst>
              <a:ext uri="{FF2B5EF4-FFF2-40B4-BE49-F238E27FC236}">
                <a16:creationId xmlns:a16="http://schemas.microsoft.com/office/drawing/2014/main" id="{C95F423E-4671-1CA7-91E6-6C9B4CA2083C}"/>
              </a:ext>
            </a:extLst>
          </p:cNvPr>
          <p:cNvSpPr/>
          <p:nvPr/>
        </p:nvSpPr>
        <p:spPr>
          <a:xfrm>
            <a:off x="11125176" y="2612196"/>
            <a:ext cx="3040447" cy="919673"/>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Subsidie Stichting De Friesland </a:t>
            </a:r>
          </a:p>
        </p:txBody>
      </p:sp>
      <p:sp>
        <p:nvSpPr>
          <p:cNvPr id="41" name="Afgeronde rechthoek 40">
            <a:extLst>
              <a:ext uri="{FF2B5EF4-FFF2-40B4-BE49-F238E27FC236}">
                <a16:creationId xmlns:a16="http://schemas.microsoft.com/office/drawing/2014/main" id="{DD6152A9-01A9-9793-8FC9-E82CBBCC7535}"/>
              </a:ext>
            </a:extLst>
          </p:cNvPr>
          <p:cNvSpPr/>
          <p:nvPr/>
        </p:nvSpPr>
        <p:spPr>
          <a:xfrm>
            <a:off x="14293650" y="3680014"/>
            <a:ext cx="2248789" cy="919673"/>
          </a:xfrm>
          <a:prstGeom prst="roundRect">
            <a:avLst/>
          </a:prstGeom>
          <a:ln/>
        </p:spPr>
        <p:style>
          <a:lnRef idx="2">
            <a:schemeClr val="accent1"/>
          </a:lnRef>
          <a:fillRef idx="1">
            <a:schemeClr val="lt1"/>
          </a:fillRef>
          <a:effectRef idx="0">
            <a:schemeClr val="accent1"/>
          </a:effectRef>
          <a:fontRef idx="minor">
            <a:schemeClr val="dk1"/>
          </a:fontRef>
        </p:style>
        <p:txBody>
          <a:bodyPr lIns="180000" tIns="0" rIns="180000" bIns="0" rtlCol="0" anchor="ctr"/>
          <a:lstStyle/>
          <a:p>
            <a:pPr algn="ctr" defTabSz="825500">
              <a:lnSpc>
                <a:spcPct val="114000"/>
              </a:lnSpc>
              <a:spcBef>
                <a:spcPts val="0"/>
              </a:spcBef>
            </a:pPr>
            <a:r>
              <a:rPr lang="nl-NL" sz="2200" b="1" dirty="0">
                <a:latin typeface="Poppins" pitchFamily="2" charset="77"/>
                <a:ea typeface="Helvetica Neue Medium"/>
                <a:cs typeface="Poppins" pitchFamily="2" charset="77"/>
                <a:sym typeface="Helvetica Neue Medium"/>
              </a:rPr>
              <a:t>Start team</a:t>
            </a:r>
          </a:p>
        </p:txBody>
      </p:sp>
    </p:spTree>
    <p:extLst>
      <p:ext uri="{BB962C8B-B14F-4D97-AF65-F5344CB8AC3E}">
        <p14:creationId xmlns:p14="http://schemas.microsoft.com/office/powerpoint/2010/main" val="109588348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5563C5A-347D-8DF1-D950-12C7C9792FBD}"/>
              </a:ext>
            </a:extLst>
          </p:cNvPr>
          <p:cNvSpPr>
            <a:spLocks noGrp="1"/>
          </p:cNvSpPr>
          <p:nvPr>
            <p:ph type="title"/>
          </p:nvPr>
        </p:nvSpPr>
        <p:spPr>
          <a:xfrm rot="10800000" flipV="1">
            <a:off x="919320" y="811022"/>
            <a:ext cx="15539879" cy="871158"/>
          </a:xfrm>
        </p:spPr>
        <p:txBody>
          <a:bodyPr/>
          <a:lstStyle/>
          <a:p>
            <a:r>
              <a:rPr lang="nl-NL" b="1" dirty="0"/>
              <a:t>WAT LEVERT HET OP</a:t>
            </a:r>
            <a:r>
              <a:rPr lang="nl-NL" dirty="0"/>
              <a:t> | Naast positieve effecten op de cliënten en hulpverleners is de voorspelling dat gezinshulp kosteneffectief is door efficiëntere zorg en preventieve effecten</a:t>
            </a:r>
            <a:endParaRPr lang="nl-NL" b="1" dirty="0"/>
          </a:p>
        </p:txBody>
      </p:sp>
      <p:sp>
        <p:nvSpPr>
          <p:cNvPr id="8" name="Afgeronde rechthoek 7">
            <a:extLst>
              <a:ext uri="{FF2B5EF4-FFF2-40B4-BE49-F238E27FC236}">
                <a16:creationId xmlns:a16="http://schemas.microsoft.com/office/drawing/2014/main" id="{A82551DE-3C12-198B-D5D6-3CFA07DD08F7}"/>
              </a:ext>
            </a:extLst>
          </p:cNvPr>
          <p:cNvSpPr/>
          <p:nvPr/>
        </p:nvSpPr>
        <p:spPr>
          <a:xfrm>
            <a:off x="3516710" y="2693692"/>
            <a:ext cx="12553384" cy="1745020"/>
          </a:xfrm>
          <a:prstGeom prst="roundRect">
            <a:avLst/>
          </a:prstGeom>
          <a:noFill/>
          <a:ln w="6350">
            <a:solidFill>
              <a:schemeClr val="tx1"/>
            </a:solidFill>
            <a:miter lim="400000"/>
          </a:ln>
        </p:spPr>
        <p:txBody>
          <a:bodyPr lIns="180000" tIns="0" rIns="180000" bIns="0" rtlCol="0" anchor="ctr"/>
          <a:lstStyle/>
          <a:p>
            <a:pPr defTabSz="825500">
              <a:lnSpc>
                <a:spcPct val="114000"/>
              </a:lnSpc>
              <a:spcBef>
                <a:spcPts val="0"/>
              </a:spcBef>
            </a:pPr>
            <a:r>
              <a:rPr lang="nl-NL" sz="2200" dirty="0">
                <a:latin typeface="Poppins" pitchFamily="2" charset="77"/>
                <a:ea typeface="Helvetica Neue Medium"/>
                <a:cs typeface="Poppins" pitchFamily="2" charset="77"/>
                <a:sym typeface="Helvetica Neue Medium"/>
              </a:rPr>
              <a:t>Een verbeterde cliëntervaring t.o.v. eerdere zorg en een verbetering van sociale determinanten als veiligheid, netwerk en financiële problematiek, en het doorbreken van intergenerationele problematiek</a:t>
            </a:r>
          </a:p>
        </p:txBody>
      </p:sp>
      <p:sp>
        <p:nvSpPr>
          <p:cNvPr id="9" name="Afgeronde rechthoek 8">
            <a:extLst>
              <a:ext uri="{FF2B5EF4-FFF2-40B4-BE49-F238E27FC236}">
                <a16:creationId xmlns:a16="http://schemas.microsoft.com/office/drawing/2014/main" id="{24962D2C-84CE-68DB-663D-029FDD0DC785}"/>
              </a:ext>
            </a:extLst>
          </p:cNvPr>
          <p:cNvSpPr/>
          <p:nvPr/>
        </p:nvSpPr>
        <p:spPr>
          <a:xfrm>
            <a:off x="3516710" y="4914148"/>
            <a:ext cx="12553384" cy="1745020"/>
          </a:xfrm>
          <a:prstGeom prst="roundRect">
            <a:avLst/>
          </a:prstGeom>
          <a:noFill/>
          <a:ln w="6350">
            <a:solidFill>
              <a:schemeClr val="tx1"/>
            </a:solidFill>
            <a:miter lim="400000"/>
          </a:ln>
        </p:spPr>
        <p:txBody>
          <a:bodyPr lIns="180000" tIns="0" rIns="180000" bIns="0" rtlCol="0" anchor="ctr"/>
          <a:lstStyle/>
          <a:p>
            <a:pPr defTabSz="825500">
              <a:lnSpc>
                <a:spcPct val="114000"/>
              </a:lnSpc>
              <a:spcBef>
                <a:spcPts val="0"/>
              </a:spcBef>
            </a:pPr>
            <a:r>
              <a:rPr lang="nl-NL" sz="2200" dirty="0">
                <a:latin typeface="Poppins" pitchFamily="2" charset="77"/>
                <a:ea typeface="Helvetica Neue Medium"/>
                <a:cs typeface="Poppins" pitchFamily="2" charset="77"/>
                <a:sym typeface="Helvetica Neue Medium"/>
              </a:rPr>
              <a:t>Een toename in de tevredenheid van de zorgverleners door onder meer breder expertise en onderlinge kennisdeling, minder frustratie door werk</a:t>
            </a:r>
          </a:p>
        </p:txBody>
      </p:sp>
      <p:sp>
        <p:nvSpPr>
          <p:cNvPr id="10" name="Afgeronde rechthoek 9">
            <a:extLst>
              <a:ext uri="{FF2B5EF4-FFF2-40B4-BE49-F238E27FC236}">
                <a16:creationId xmlns:a16="http://schemas.microsoft.com/office/drawing/2014/main" id="{2FDF6D33-EB9C-324A-3595-CB1D68D13050}"/>
              </a:ext>
            </a:extLst>
          </p:cNvPr>
          <p:cNvSpPr/>
          <p:nvPr/>
        </p:nvSpPr>
        <p:spPr>
          <a:xfrm>
            <a:off x="3505417" y="6994185"/>
            <a:ext cx="12720319" cy="5145932"/>
          </a:xfrm>
          <a:prstGeom prst="roundRect">
            <a:avLst>
              <a:gd name="adj" fmla="val 9862"/>
            </a:avLst>
          </a:prstGeom>
          <a:noFill/>
          <a:ln w="6350">
            <a:solidFill>
              <a:schemeClr val="tx1"/>
            </a:solidFill>
            <a:miter lim="400000"/>
          </a:ln>
        </p:spPr>
        <p:txBody>
          <a:bodyPr lIns="180000" tIns="0" rIns="180000" bIns="0" rtlCol="0" anchor="ctr"/>
          <a:lstStyle/>
          <a:p>
            <a:pPr marL="0" marR="0" indent="0" defTabSz="2438338" rtl="0" fontAlgn="auto" latinLnBrk="0" hangingPunct="0">
              <a:lnSpc>
                <a:spcPct val="114000"/>
              </a:lnSpc>
              <a:spcBef>
                <a:spcPts val="0"/>
              </a:spcBef>
              <a:buClrTx/>
              <a:buSzTx/>
              <a:buFontTx/>
              <a:buNone/>
              <a:tabLst/>
            </a:pPr>
            <a:r>
              <a:rPr lang="nl-NL" sz="2200" dirty="0">
                <a:latin typeface="Poppins" pitchFamily="2" charset="77"/>
                <a:cs typeface="Poppins" pitchFamily="2" charset="77"/>
              </a:rPr>
              <a:t>Voorafgaand is er een business case opgesteld. Hierin is meegenomen: </a:t>
            </a: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r>
              <a:rPr lang="nl-NL" sz="2200" dirty="0">
                <a:latin typeface="Poppins" pitchFamily="2" charset="77"/>
                <a:cs typeface="Poppins" pitchFamily="2" charset="77"/>
              </a:rPr>
              <a:t>Implementatiekosten om een team operationeel te krijgen </a:t>
            </a: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r>
              <a:rPr lang="nl-NL" sz="2200" dirty="0" err="1">
                <a:latin typeface="Poppins" pitchFamily="2" charset="77"/>
                <a:cs typeface="Poppins" pitchFamily="2" charset="77"/>
              </a:rPr>
              <a:t>Ontdubbeling</a:t>
            </a:r>
            <a:r>
              <a:rPr lang="nl-NL" sz="2200" dirty="0">
                <a:latin typeface="Poppins" pitchFamily="2" charset="77"/>
                <a:cs typeface="Poppins" pitchFamily="2" charset="77"/>
              </a:rPr>
              <a:t> van zorg (niet twee keer diagnose, geen dubbele inzet)</a:t>
            </a: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r>
              <a:rPr lang="nl-NL" sz="2200" dirty="0">
                <a:latin typeface="Poppins" pitchFamily="2" charset="77"/>
                <a:cs typeface="Poppins" pitchFamily="2" charset="77"/>
              </a:rPr>
              <a:t>Preventie van zorginzet door effectieve behandeling </a:t>
            </a:r>
          </a:p>
          <a:p>
            <a:pPr marL="342900" marR="0" indent="-342900" defTabSz="2438338" rtl="0" fontAlgn="auto" latinLnBrk="0" hangingPunct="0">
              <a:lnSpc>
                <a:spcPct val="114000"/>
              </a:lnSpc>
              <a:spcBef>
                <a:spcPts val="0"/>
              </a:spcBef>
              <a:buClrTx/>
              <a:buSzTx/>
              <a:buFont typeface="Arial" panose="020B0604020202020204" pitchFamily="34" charset="0"/>
              <a:buChar char="•"/>
              <a:tabLst/>
            </a:pPr>
            <a:endParaRPr lang="nl-NL" sz="2200" dirty="0">
              <a:latin typeface="Poppins" pitchFamily="2" charset="77"/>
              <a:cs typeface="Poppins" pitchFamily="2" charset="77"/>
            </a:endParaRPr>
          </a:p>
          <a:p>
            <a:pPr marR="0" defTabSz="2438338" rtl="0" fontAlgn="auto" latinLnBrk="0" hangingPunct="0">
              <a:lnSpc>
                <a:spcPct val="114000"/>
              </a:lnSpc>
              <a:spcBef>
                <a:spcPts val="0"/>
              </a:spcBef>
              <a:buClrTx/>
              <a:buSzTx/>
              <a:tabLst/>
            </a:pPr>
            <a:r>
              <a:rPr lang="nl-NL" sz="2200" dirty="0">
                <a:latin typeface="Poppins" pitchFamily="2" charset="77"/>
                <a:cs typeface="Poppins" pitchFamily="2" charset="77"/>
              </a:rPr>
              <a:t>We weten dat een </a:t>
            </a:r>
            <a:r>
              <a:rPr lang="nl-NL" sz="2200" dirty="0" err="1">
                <a:latin typeface="Poppins" pitchFamily="2" charset="77"/>
                <a:cs typeface="Poppins" pitchFamily="2" charset="77"/>
              </a:rPr>
              <a:t>multi</a:t>
            </a:r>
            <a:r>
              <a:rPr lang="nl-NL" sz="2200" dirty="0">
                <a:latin typeface="Poppins" pitchFamily="2" charset="77"/>
                <a:cs typeface="Poppins" pitchFamily="2" charset="77"/>
              </a:rPr>
              <a:t>-stress gezin circa €100.000 per jaar kost, waarvan circa €80.000 gemeentelijke kosten zijn.</a:t>
            </a:r>
          </a:p>
          <a:p>
            <a:pPr marR="0" defTabSz="2438338" rtl="0" fontAlgn="auto" latinLnBrk="0" hangingPunct="0">
              <a:lnSpc>
                <a:spcPct val="114000"/>
              </a:lnSpc>
              <a:spcBef>
                <a:spcPts val="0"/>
              </a:spcBef>
              <a:buClrTx/>
              <a:buSzTx/>
              <a:tabLst/>
            </a:pPr>
            <a:endParaRPr lang="nl-NL" sz="2200" dirty="0">
              <a:latin typeface="Poppins" pitchFamily="2" charset="77"/>
              <a:cs typeface="Poppins" pitchFamily="2" charset="77"/>
            </a:endParaRPr>
          </a:p>
          <a:p>
            <a:pPr marR="0" defTabSz="2438338" rtl="0" fontAlgn="auto" latinLnBrk="0" hangingPunct="0">
              <a:lnSpc>
                <a:spcPct val="114000"/>
              </a:lnSpc>
              <a:spcBef>
                <a:spcPts val="0"/>
              </a:spcBef>
              <a:buClrTx/>
              <a:buSzTx/>
              <a:tabLst/>
            </a:pPr>
            <a:r>
              <a:rPr lang="nl-NL" sz="2200" dirty="0">
                <a:latin typeface="Poppins" pitchFamily="2" charset="77"/>
                <a:cs typeface="Poppins" pitchFamily="2" charset="77"/>
              </a:rPr>
              <a:t>Inzet van gezinshulp leidt in twee jaar tot een positieve business case: wanneer er één gezin uit zorg gaat, of twee gezinnen met lichte zorg verder kunnen worden, zijn de investeringskosten terugverdiend. Hoe meer gezinnen geholpen, hoe positiever. </a:t>
            </a:r>
            <a:endPar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endParaRPr>
          </a:p>
        </p:txBody>
      </p:sp>
      <p:sp>
        <p:nvSpPr>
          <p:cNvPr id="11" name="Tekstvak 10">
            <a:extLst>
              <a:ext uri="{FF2B5EF4-FFF2-40B4-BE49-F238E27FC236}">
                <a16:creationId xmlns:a16="http://schemas.microsoft.com/office/drawing/2014/main" id="{F1356EA6-E075-CF04-845D-7C84BBEAA8F7}"/>
              </a:ext>
            </a:extLst>
          </p:cNvPr>
          <p:cNvSpPr txBox="1"/>
          <p:nvPr/>
        </p:nvSpPr>
        <p:spPr>
          <a:xfrm>
            <a:off x="3847453" y="2520966"/>
            <a:ext cx="1794590" cy="377876"/>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Gezinnen</a:t>
            </a:r>
          </a:p>
        </p:txBody>
      </p:sp>
      <p:sp>
        <p:nvSpPr>
          <p:cNvPr id="16" name="Tekstvak 15">
            <a:extLst>
              <a:ext uri="{FF2B5EF4-FFF2-40B4-BE49-F238E27FC236}">
                <a16:creationId xmlns:a16="http://schemas.microsoft.com/office/drawing/2014/main" id="{B1A36342-D5BE-BD3C-9E75-7C225C64180E}"/>
              </a:ext>
            </a:extLst>
          </p:cNvPr>
          <p:cNvSpPr txBox="1"/>
          <p:nvPr/>
        </p:nvSpPr>
        <p:spPr>
          <a:xfrm>
            <a:off x="3847453" y="4735729"/>
            <a:ext cx="2297152" cy="423749"/>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Professionals</a:t>
            </a:r>
          </a:p>
        </p:txBody>
      </p:sp>
      <p:sp>
        <p:nvSpPr>
          <p:cNvPr id="17" name="Tekstvak 16">
            <a:extLst>
              <a:ext uri="{FF2B5EF4-FFF2-40B4-BE49-F238E27FC236}">
                <a16:creationId xmlns:a16="http://schemas.microsoft.com/office/drawing/2014/main" id="{5869D43A-DA6E-3754-44A6-7A1EB3C70BE3}"/>
              </a:ext>
            </a:extLst>
          </p:cNvPr>
          <p:cNvSpPr txBox="1"/>
          <p:nvPr/>
        </p:nvSpPr>
        <p:spPr>
          <a:xfrm>
            <a:off x="4046705" y="6750995"/>
            <a:ext cx="3035031" cy="383609"/>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Kosteneffectiviteit</a:t>
            </a:r>
          </a:p>
        </p:txBody>
      </p:sp>
      <p:pic>
        <p:nvPicPr>
          <p:cNvPr id="18" name="Graphic 17" descr="Euro met effen opvulling">
            <a:extLst>
              <a:ext uri="{FF2B5EF4-FFF2-40B4-BE49-F238E27FC236}">
                <a16:creationId xmlns:a16="http://schemas.microsoft.com/office/drawing/2014/main" id="{DBD7F21C-E024-CDE4-4F2C-F6984BD8004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04579" y="8355427"/>
            <a:ext cx="1666961" cy="1666961"/>
          </a:xfrm>
          <a:prstGeom prst="rect">
            <a:avLst/>
          </a:prstGeom>
        </p:spPr>
      </p:pic>
      <p:pic>
        <p:nvPicPr>
          <p:cNvPr id="20" name="Graphic 19" descr="Vrouwelijke arts silhouet">
            <a:extLst>
              <a:ext uri="{FF2B5EF4-FFF2-40B4-BE49-F238E27FC236}">
                <a16:creationId xmlns:a16="http://schemas.microsoft.com/office/drawing/2014/main" id="{7A38C1B1-5B34-AAC3-6B6D-72D9E9AA9D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04580" y="4901359"/>
            <a:ext cx="1666961" cy="1666961"/>
          </a:xfrm>
          <a:prstGeom prst="rect">
            <a:avLst/>
          </a:prstGeom>
        </p:spPr>
      </p:pic>
      <p:pic>
        <p:nvPicPr>
          <p:cNvPr id="21" name="Graphic 20" descr="Gezin met twee kinderen met effen opvulling">
            <a:extLst>
              <a:ext uri="{FF2B5EF4-FFF2-40B4-BE49-F238E27FC236}">
                <a16:creationId xmlns:a16="http://schemas.microsoft.com/office/drawing/2014/main" id="{C0C40FD0-F608-209E-F602-105D8849E7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04579" y="2771750"/>
            <a:ext cx="1666961" cy="1666961"/>
          </a:xfrm>
          <a:prstGeom prst="rect">
            <a:avLst/>
          </a:prstGeom>
        </p:spPr>
      </p:pic>
    </p:spTree>
    <p:extLst>
      <p:ext uri="{BB962C8B-B14F-4D97-AF65-F5344CB8AC3E}">
        <p14:creationId xmlns:p14="http://schemas.microsoft.com/office/powerpoint/2010/main" val="428607815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143F5A73-38C1-8221-B09E-927182E22D45}"/>
              </a:ext>
            </a:extLst>
          </p:cNvPr>
          <p:cNvSpPr>
            <a:spLocks noGrp="1"/>
          </p:cNvSpPr>
          <p:nvPr>
            <p:ph type="title"/>
          </p:nvPr>
        </p:nvSpPr>
        <p:spPr>
          <a:xfrm rot="10800000" flipV="1">
            <a:off x="919323" y="811022"/>
            <a:ext cx="15299998" cy="871158"/>
          </a:xfrm>
        </p:spPr>
        <p:txBody>
          <a:bodyPr/>
          <a:lstStyle/>
          <a:p>
            <a:r>
              <a:rPr lang="nl-NL" b="1" dirty="0"/>
              <a:t>WERKWIJZE</a:t>
            </a:r>
            <a:r>
              <a:rPr lang="nl-NL" dirty="0"/>
              <a:t> | Intake, diagnose verwijzing en behandeling zijn onderdeel van integrale gezinshulp. Dit wordt uitgevoerd door één team met gezamenlijke verantwoordelijkheid</a:t>
            </a:r>
          </a:p>
        </p:txBody>
      </p:sp>
      <p:sp>
        <p:nvSpPr>
          <p:cNvPr id="5" name="Pijl links 4">
            <a:extLst>
              <a:ext uri="{FF2B5EF4-FFF2-40B4-BE49-F238E27FC236}">
                <a16:creationId xmlns:a16="http://schemas.microsoft.com/office/drawing/2014/main" id="{B3B7DA82-0D82-C215-2771-F91076787509}"/>
              </a:ext>
            </a:extLst>
          </p:cNvPr>
          <p:cNvSpPr/>
          <p:nvPr/>
        </p:nvSpPr>
        <p:spPr>
          <a:xfrm rot="10800000">
            <a:off x="8079529" y="7640557"/>
            <a:ext cx="1263132" cy="1238250"/>
          </a:xfrm>
          <a:prstGeom prst="rightArrow">
            <a:avLst/>
          </a:prstGeom>
          <a:solidFill>
            <a:schemeClr val="bg2"/>
          </a:solidFill>
          <a:ln w="12700">
            <a:no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6" name="Pijl links 5">
            <a:extLst>
              <a:ext uri="{FF2B5EF4-FFF2-40B4-BE49-F238E27FC236}">
                <a16:creationId xmlns:a16="http://schemas.microsoft.com/office/drawing/2014/main" id="{E0C9B85A-6D2B-0545-0C4E-122391E0773C}"/>
              </a:ext>
            </a:extLst>
          </p:cNvPr>
          <p:cNvSpPr/>
          <p:nvPr/>
        </p:nvSpPr>
        <p:spPr>
          <a:xfrm rot="5400000">
            <a:off x="10230806" y="6053855"/>
            <a:ext cx="1227675" cy="1238250"/>
          </a:xfrm>
          <a:prstGeom prst="rightArrow">
            <a:avLst/>
          </a:prstGeom>
          <a:solidFill>
            <a:schemeClr val="bg2"/>
          </a:solidFill>
          <a:ln w="12700">
            <a:no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7" name="Pijl links 6">
            <a:extLst>
              <a:ext uri="{FF2B5EF4-FFF2-40B4-BE49-F238E27FC236}">
                <a16:creationId xmlns:a16="http://schemas.microsoft.com/office/drawing/2014/main" id="{317A1DA2-C8FE-EDE6-108D-228C6BBED616}"/>
              </a:ext>
            </a:extLst>
          </p:cNvPr>
          <p:cNvSpPr/>
          <p:nvPr/>
        </p:nvSpPr>
        <p:spPr>
          <a:xfrm>
            <a:off x="8066082" y="4371796"/>
            <a:ext cx="1263132" cy="1238250"/>
          </a:xfrm>
          <a:prstGeom prst="rightArrow">
            <a:avLst/>
          </a:prstGeom>
          <a:solidFill>
            <a:schemeClr val="bg2"/>
          </a:solidFill>
          <a:ln w="12700">
            <a:no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8" name="Afgeronde rechthoek 7">
            <a:extLst>
              <a:ext uri="{FF2B5EF4-FFF2-40B4-BE49-F238E27FC236}">
                <a16:creationId xmlns:a16="http://schemas.microsoft.com/office/drawing/2014/main" id="{CAC534FB-70C3-315D-306C-2BD91E2B463A}"/>
              </a:ext>
            </a:extLst>
          </p:cNvPr>
          <p:cNvSpPr/>
          <p:nvPr/>
        </p:nvSpPr>
        <p:spPr>
          <a:xfrm>
            <a:off x="3489400" y="3627711"/>
            <a:ext cx="4824000" cy="2666969"/>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Gezin komt binnen bij wijkteam, er is 8 – 12 weken tijd voor een </a:t>
            </a:r>
            <a:r>
              <a:rPr lang="nl-NL" sz="2200" b="1" dirty="0">
                <a:latin typeface="Poppins" pitchFamily="2" charset="77"/>
                <a:ea typeface="Helvetica Neue Medium"/>
                <a:cs typeface="Poppins" pitchFamily="2" charset="77"/>
                <a:sym typeface="Helvetica Neue Medium"/>
              </a:rPr>
              <a:t>verklarende analyse </a:t>
            </a:r>
            <a:r>
              <a:rPr lang="nl-NL" sz="2200" dirty="0">
                <a:latin typeface="Poppins" pitchFamily="2" charset="77"/>
                <a:ea typeface="Helvetica Neue Medium"/>
                <a:cs typeface="Poppins" pitchFamily="2" charset="77"/>
                <a:sym typeface="Helvetica Neue Medium"/>
              </a:rPr>
              <a:t>en het opstellen van een </a:t>
            </a:r>
            <a:r>
              <a:rPr lang="nl-NL" sz="2200" b="1" dirty="0">
                <a:latin typeface="Poppins" pitchFamily="2" charset="77"/>
                <a:ea typeface="Helvetica Neue Medium"/>
                <a:cs typeface="Poppins" pitchFamily="2" charset="77"/>
                <a:sym typeface="Helvetica Neue Medium"/>
              </a:rPr>
              <a:t>gezinsplan</a:t>
            </a:r>
          </a:p>
        </p:txBody>
      </p:sp>
      <p:sp>
        <p:nvSpPr>
          <p:cNvPr id="9" name="Afgeronde rechthoek 8">
            <a:extLst>
              <a:ext uri="{FF2B5EF4-FFF2-40B4-BE49-F238E27FC236}">
                <a16:creationId xmlns:a16="http://schemas.microsoft.com/office/drawing/2014/main" id="{A9166775-11BA-FB98-32A6-DCBBB91430C5}"/>
              </a:ext>
            </a:extLst>
          </p:cNvPr>
          <p:cNvSpPr/>
          <p:nvPr/>
        </p:nvSpPr>
        <p:spPr>
          <a:xfrm>
            <a:off x="9057492" y="3639211"/>
            <a:ext cx="4824000" cy="2666969"/>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In het gezinsplan is aandacht voor de </a:t>
            </a:r>
            <a:r>
              <a:rPr lang="nl-NL" sz="2200" b="1" dirty="0">
                <a:latin typeface="Poppins" pitchFamily="2" charset="77"/>
                <a:ea typeface="Helvetica Neue Medium"/>
                <a:cs typeface="Poppins" pitchFamily="2" charset="77"/>
                <a:sym typeface="Helvetica Neue Medium"/>
              </a:rPr>
              <a:t>volgordelijkheid van zorg en ondersteuning</a:t>
            </a:r>
            <a:r>
              <a:rPr lang="nl-NL" sz="2200" dirty="0">
                <a:latin typeface="Poppins" pitchFamily="2" charset="77"/>
                <a:ea typeface="Helvetica Neue Medium"/>
                <a:cs typeface="Poppins" pitchFamily="2" charset="77"/>
                <a:sym typeface="Helvetica Neue Medium"/>
              </a:rPr>
              <a:t>: eerst de basis op orde en daarna zorg. </a:t>
            </a:r>
          </a:p>
        </p:txBody>
      </p:sp>
      <p:sp>
        <p:nvSpPr>
          <p:cNvPr id="10" name="Afgeronde rechthoek 9">
            <a:extLst>
              <a:ext uri="{FF2B5EF4-FFF2-40B4-BE49-F238E27FC236}">
                <a16:creationId xmlns:a16="http://schemas.microsoft.com/office/drawing/2014/main" id="{4FE61FEE-8A50-9EB1-333F-E0CA174F9900}"/>
              </a:ext>
            </a:extLst>
          </p:cNvPr>
          <p:cNvSpPr/>
          <p:nvPr/>
        </p:nvSpPr>
        <p:spPr>
          <a:xfrm>
            <a:off x="9051769" y="7098296"/>
            <a:ext cx="4824000" cy="2666969"/>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Behandeling en ondersteuning wordt direct ingezet vanuit het team. Waar nodig wordt individuele zorg ingezet vanuit relevante organisaties.</a:t>
            </a:r>
          </a:p>
        </p:txBody>
      </p:sp>
      <p:sp>
        <p:nvSpPr>
          <p:cNvPr id="11" name="Afgeronde rechthoek 10">
            <a:extLst>
              <a:ext uri="{FF2B5EF4-FFF2-40B4-BE49-F238E27FC236}">
                <a16:creationId xmlns:a16="http://schemas.microsoft.com/office/drawing/2014/main" id="{0A2588A3-DD6D-2E6A-6BDB-B3B5FA7EBFCF}"/>
              </a:ext>
            </a:extLst>
          </p:cNvPr>
          <p:cNvSpPr/>
          <p:nvPr/>
        </p:nvSpPr>
        <p:spPr>
          <a:xfrm>
            <a:off x="3489400" y="7054577"/>
            <a:ext cx="4824000" cy="2666969"/>
          </a:xfrm>
          <a:prstGeom prst="roundRect">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r>
              <a:rPr lang="nl-NL" sz="2200" dirty="0">
                <a:latin typeface="Poppins" pitchFamily="2" charset="77"/>
                <a:ea typeface="Helvetica Neue Medium"/>
                <a:cs typeface="Poppins" pitchFamily="2" charset="77"/>
                <a:sym typeface="Helvetica Neue Medium"/>
              </a:rPr>
              <a:t>Als het gezin zelfstandig of met lichte hulp verder kan wordt Gezinshulp afgeschaald. Het team houdt een vinger aan de pols.</a:t>
            </a:r>
          </a:p>
        </p:txBody>
      </p:sp>
      <p:sp>
        <p:nvSpPr>
          <p:cNvPr id="15" name="Afgeronde rechthoek 14">
            <a:extLst>
              <a:ext uri="{FF2B5EF4-FFF2-40B4-BE49-F238E27FC236}">
                <a16:creationId xmlns:a16="http://schemas.microsoft.com/office/drawing/2014/main" id="{F3BF872F-57D0-01EC-2A09-2FB231E6DE9B}"/>
              </a:ext>
            </a:extLst>
          </p:cNvPr>
          <p:cNvSpPr/>
          <p:nvPr/>
        </p:nvSpPr>
        <p:spPr>
          <a:xfrm>
            <a:off x="1756611" y="2819399"/>
            <a:ext cx="13691935" cy="9105900"/>
          </a:xfrm>
          <a:prstGeom prst="roundRect">
            <a:avLst>
              <a:gd name="adj" fmla="val 6069"/>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16" name="Afgeronde rechthoek 15">
            <a:extLst>
              <a:ext uri="{FF2B5EF4-FFF2-40B4-BE49-F238E27FC236}">
                <a16:creationId xmlns:a16="http://schemas.microsoft.com/office/drawing/2014/main" id="{73F641FF-7309-7409-8E01-F8A75B4E6005}"/>
              </a:ext>
            </a:extLst>
          </p:cNvPr>
          <p:cNvSpPr/>
          <p:nvPr/>
        </p:nvSpPr>
        <p:spPr>
          <a:xfrm>
            <a:off x="4261257" y="10045250"/>
            <a:ext cx="4823999" cy="1600064"/>
          </a:xfrm>
          <a:prstGeom prst="roundRect">
            <a:avLst/>
          </a:prstGeom>
          <a:ln/>
        </p:spPr>
        <p:style>
          <a:lnRef idx="2">
            <a:schemeClr val="accent1"/>
          </a:lnRef>
          <a:fillRef idx="1">
            <a:schemeClr val="lt1"/>
          </a:fillRef>
          <a:effectRef idx="0">
            <a:schemeClr val="accent1"/>
          </a:effectRef>
          <a:fontRef idx="minor">
            <a:schemeClr val="dk1"/>
          </a:fontRef>
        </p:style>
        <p:txBody>
          <a:bodyPr lIns="180000" tIns="0" rIns="180000" bIns="0" rtlCol="0" anchor="ctr"/>
          <a:lstStyle/>
          <a:p>
            <a:pPr algn="ctr" defTabSz="825500">
              <a:lnSpc>
                <a:spcPct val="114000"/>
              </a:lnSpc>
              <a:spcBef>
                <a:spcPts val="0"/>
              </a:spcBef>
            </a:pPr>
            <a:r>
              <a:rPr lang="nl-NL" sz="2000" i="1" dirty="0">
                <a:latin typeface="Poppins" pitchFamily="2" charset="77"/>
                <a:ea typeface="Helvetica Neue Medium"/>
                <a:cs typeface="Poppins" pitchFamily="2" charset="77"/>
                <a:sym typeface="Helvetica Neue Medium"/>
              </a:rPr>
              <a:t>Het merendeel van de expertise is aanwezig aan de voorkant en in de loop van behandeling, binnen het team. </a:t>
            </a:r>
          </a:p>
        </p:txBody>
      </p:sp>
      <p:sp>
        <p:nvSpPr>
          <p:cNvPr id="17" name="Afgeronde rechthoek 16">
            <a:extLst>
              <a:ext uri="{FF2B5EF4-FFF2-40B4-BE49-F238E27FC236}">
                <a16:creationId xmlns:a16="http://schemas.microsoft.com/office/drawing/2014/main" id="{B645D938-1C4E-D2E9-6B92-0C751A38BC1C}"/>
              </a:ext>
            </a:extLst>
          </p:cNvPr>
          <p:cNvSpPr/>
          <p:nvPr/>
        </p:nvSpPr>
        <p:spPr>
          <a:xfrm>
            <a:off x="9329214" y="10045250"/>
            <a:ext cx="4824000" cy="1600064"/>
          </a:xfrm>
          <a:prstGeom prst="roundRect">
            <a:avLst/>
          </a:prstGeom>
          <a:ln/>
        </p:spPr>
        <p:style>
          <a:lnRef idx="2">
            <a:schemeClr val="accent1"/>
          </a:lnRef>
          <a:fillRef idx="1">
            <a:schemeClr val="lt1"/>
          </a:fillRef>
          <a:effectRef idx="0">
            <a:schemeClr val="accent1"/>
          </a:effectRef>
          <a:fontRef idx="minor">
            <a:schemeClr val="dk1"/>
          </a:fontRef>
        </p:style>
        <p:txBody>
          <a:bodyPr lIns="180000" tIns="0" rIns="180000" bIns="0" rtlCol="0" anchor="ctr"/>
          <a:lstStyle/>
          <a:p>
            <a:pPr algn="ctr" defTabSz="825500">
              <a:lnSpc>
                <a:spcPct val="114000"/>
              </a:lnSpc>
              <a:spcBef>
                <a:spcPts val="0"/>
              </a:spcBef>
            </a:pPr>
            <a:r>
              <a:rPr lang="nl-NL" sz="2000" i="1" dirty="0">
                <a:latin typeface="Poppins" pitchFamily="2" charset="77"/>
                <a:ea typeface="Helvetica Neue Medium"/>
                <a:cs typeface="Poppins" pitchFamily="2" charset="77"/>
                <a:sym typeface="Helvetica Neue Medium"/>
              </a:rPr>
              <a:t>Het gezin houdt altijd hetzelfde duo als aanspreekpunt: de gezinscoach en regiehouder.</a:t>
            </a:r>
          </a:p>
        </p:txBody>
      </p:sp>
      <p:sp>
        <p:nvSpPr>
          <p:cNvPr id="18" name="Tekstvak 17">
            <a:extLst>
              <a:ext uri="{FF2B5EF4-FFF2-40B4-BE49-F238E27FC236}">
                <a16:creationId xmlns:a16="http://schemas.microsoft.com/office/drawing/2014/main" id="{ACF29E58-2A41-6F9B-97F1-9641E85714E0}"/>
              </a:ext>
            </a:extLst>
          </p:cNvPr>
          <p:cNvSpPr txBox="1"/>
          <p:nvPr/>
        </p:nvSpPr>
        <p:spPr>
          <a:xfrm>
            <a:off x="4972983" y="2639193"/>
            <a:ext cx="6944717" cy="301491"/>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algn="ctr"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Globale cliëntreis van de aanpak Gezinshulp</a:t>
            </a:r>
          </a:p>
        </p:txBody>
      </p:sp>
    </p:spTree>
    <p:extLst>
      <p:ext uri="{BB962C8B-B14F-4D97-AF65-F5344CB8AC3E}">
        <p14:creationId xmlns:p14="http://schemas.microsoft.com/office/powerpoint/2010/main" val="77166690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B7D840-EB3B-C69D-F886-8651DAB4E9B5}"/>
              </a:ext>
            </a:extLst>
          </p:cNvPr>
          <p:cNvSpPr>
            <a:spLocks noGrp="1"/>
          </p:cNvSpPr>
          <p:nvPr>
            <p:ph type="title"/>
          </p:nvPr>
        </p:nvSpPr>
        <p:spPr>
          <a:xfrm rot="10800000" flipV="1">
            <a:off x="919322" y="811022"/>
            <a:ext cx="15837589" cy="871158"/>
          </a:xfrm>
        </p:spPr>
        <p:txBody>
          <a:bodyPr/>
          <a:lstStyle/>
          <a:p>
            <a:r>
              <a:rPr lang="nl-NL" b="1" dirty="0"/>
              <a:t>WERKWIJZE</a:t>
            </a:r>
            <a:r>
              <a:rPr lang="nl-NL" dirty="0"/>
              <a:t> | Deze diverse taken zijn uit te voeren door de grote hoeveelheid aan expertise: verwijzers jeugd, volwassenen, jeugdbeschermers maar ook gezinscoaches en behandelaren </a:t>
            </a:r>
          </a:p>
        </p:txBody>
      </p:sp>
      <p:sp>
        <p:nvSpPr>
          <p:cNvPr id="6" name="Tekstvak 5">
            <a:extLst>
              <a:ext uri="{FF2B5EF4-FFF2-40B4-BE49-F238E27FC236}">
                <a16:creationId xmlns:a16="http://schemas.microsoft.com/office/drawing/2014/main" id="{4113A420-6951-B197-0B8F-5735000C8384}"/>
              </a:ext>
            </a:extLst>
          </p:cNvPr>
          <p:cNvSpPr txBox="1"/>
          <p:nvPr/>
        </p:nvSpPr>
        <p:spPr>
          <a:xfrm>
            <a:off x="8601425" y="3405549"/>
            <a:ext cx="6224427" cy="4761866"/>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R="0" defTabSz="2438338" rtl="0" fontAlgn="auto" latinLnBrk="0" hangingPunct="0">
              <a:lnSpc>
                <a:spcPct val="114000"/>
              </a:lnSpc>
              <a:spcBef>
                <a:spcPts val="0"/>
              </a:spcBef>
              <a:buClrTx/>
              <a:buSzTx/>
              <a:tabLst/>
            </a:pPr>
            <a:r>
              <a:rPr lang="nl-NL" sz="2200" dirty="0">
                <a:latin typeface="Poppins" pitchFamily="2" charset="77"/>
                <a:cs typeface="Poppins" pitchFamily="2" charset="77"/>
              </a:rPr>
              <a:t>Het team bestaat uit circa 10 Fte:</a:t>
            </a:r>
          </a:p>
          <a:p>
            <a:pPr marL="342900" marR="0" indent="-342900" defTabSz="2438338" rtl="0" fontAlgn="auto" latinLnBrk="0" hangingPunct="0">
              <a:lnSpc>
                <a:spcPct val="114000"/>
              </a:lnSpc>
              <a:spcBef>
                <a:spcPts val="0"/>
              </a:spcBef>
              <a:buClrTx/>
              <a:buSzTx/>
              <a:buFont typeface="Systeemlettertype regulier"/>
              <a:buChar char="-"/>
              <a:tabLst/>
            </a:pPr>
            <a:r>
              <a:rPr lang="nl-NL" sz="2200" dirty="0">
                <a:latin typeface="Poppins" pitchFamily="2" charset="77"/>
                <a:cs typeface="Poppins" pitchFamily="2" charset="77"/>
              </a:rPr>
              <a:t>Consulenten wijkteam jeugd en ouders (procesregisseurs)</a:t>
            </a:r>
          </a:p>
          <a:p>
            <a:pPr marL="342900" indent="-342900">
              <a:lnSpc>
                <a:spcPct val="114000"/>
              </a:lnSpc>
              <a:spcBef>
                <a:spcPts val="0"/>
              </a:spcBef>
              <a:buFont typeface="Systeemlettertype regulier"/>
              <a:buChar char="-"/>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Jeugdbeschermer</a:t>
            </a:r>
            <a:endParaRPr lang="nl-NL" sz="2200" dirty="0">
              <a:latin typeface="Poppins" pitchFamily="2" charset="77"/>
              <a:cs typeface="Poppins" pitchFamily="2" charset="77"/>
            </a:endParaRPr>
          </a:p>
          <a:p>
            <a:pPr marL="342900" marR="0" indent="-342900" defTabSz="2438338" rtl="0" fontAlgn="auto" latinLnBrk="0" hangingPunct="0">
              <a:lnSpc>
                <a:spcPct val="114000"/>
              </a:lnSpc>
              <a:spcBef>
                <a:spcPts val="0"/>
              </a:spcBef>
              <a:buClrTx/>
              <a:buSzTx/>
              <a:buFont typeface="Systeemlettertype regulier"/>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Gezinsc</a:t>
            </a:r>
            <a:r>
              <a:rPr lang="nl-NL" sz="2200" dirty="0">
                <a:latin typeface="Poppins" pitchFamily="2" charset="77"/>
                <a:cs typeface="Poppins" pitchFamily="2" charset="77"/>
              </a:rPr>
              <a:t>oaches (GGZ, J&amp;O, LVB verslaving)</a:t>
            </a:r>
          </a:p>
          <a:p>
            <a:pPr marL="342900" marR="0" indent="-342900" defTabSz="2438338" rtl="0" fontAlgn="auto" latinLnBrk="0" hangingPunct="0">
              <a:lnSpc>
                <a:spcPct val="114000"/>
              </a:lnSpc>
              <a:spcBef>
                <a:spcPts val="0"/>
              </a:spcBef>
              <a:buClrTx/>
              <a:buSzTx/>
              <a:buFont typeface="Systeemlettertype regulier"/>
              <a:buChar char="-"/>
              <a:tabLst/>
            </a:pPr>
            <a:r>
              <a:rPr lang="nl-NL" sz="2200" dirty="0">
                <a:latin typeface="Poppins" pitchFamily="2" charset="77"/>
                <a:cs typeface="Poppins" pitchFamily="2" charset="77"/>
              </a:rPr>
              <a:t>Systeemtherapeut</a:t>
            </a:r>
          </a:p>
          <a:p>
            <a:pPr marL="342900" marR="0" indent="-342900" defTabSz="2438338" rtl="0" fontAlgn="auto" latinLnBrk="0" hangingPunct="0">
              <a:lnSpc>
                <a:spcPct val="114000"/>
              </a:lnSpc>
              <a:spcBef>
                <a:spcPts val="0"/>
              </a:spcBef>
              <a:buClrTx/>
              <a:buSzTx/>
              <a:buFont typeface="Systeemlettertype regulier"/>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GZ-psycholoog en orthopedagoog </a:t>
            </a:r>
          </a:p>
          <a:p>
            <a:pPr marL="342900" marR="0" indent="-342900" defTabSz="2438338" rtl="0" fontAlgn="auto" latinLnBrk="0" hangingPunct="0">
              <a:lnSpc>
                <a:spcPct val="114000"/>
              </a:lnSpc>
              <a:spcBef>
                <a:spcPts val="0"/>
              </a:spcBef>
              <a:buClrTx/>
              <a:buSzTx/>
              <a:buFont typeface="Systeemlettertype regulier"/>
              <a:buChar char="-"/>
              <a:tabLst/>
            </a:pPr>
            <a:r>
              <a:rPr lang="nl-NL" sz="2200" dirty="0">
                <a:latin typeface="Poppins" pitchFamily="2" charset="77"/>
                <a:cs typeface="Poppins" pitchFamily="2" charset="77"/>
              </a:rPr>
              <a:t>Verpleegkundig specialist</a:t>
            </a:r>
          </a:p>
          <a:p>
            <a:pPr marL="342900" marR="0" indent="-342900" defTabSz="2438338" rtl="0" fontAlgn="auto" latinLnBrk="0" hangingPunct="0">
              <a:lnSpc>
                <a:spcPct val="114000"/>
              </a:lnSpc>
              <a:spcBef>
                <a:spcPts val="0"/>
              </a:spcBef>
              <a:buClrTx/>
              <a:buSzTx/>
              <a:buFont typeface="Systeemlettertype regulier"/>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Psychiater of Klinisch psycholoog</a:t>
            </a:r>
          </a:p>
          <a:p>
            <a:pPr marL="342900" marR="0" indent="-342900" defTabSz="2438338" rtl="0" fontAlgn="auto" latinLnBrk="0" hangingPunct="0">
              <a:lnSpc>
                <a:spcPct val="114000"/>
              </a:lnSpc>
              <a:spcBef>
                <a:spcPts val="0"/>
              </a:spcBef>
              <a:buClrTx/>
              <a:buSzTx/>
              <a:buFont typeface="Systeemlettertype regulier"/>
              <a:buChar char="-"/>
              <a:tabLst/>
            </a:pPr>
            <a:r>
              <a:rPr lang="nl-NL" sz="2200" dirty="0">
                <a:latin typeface="Poppins" pitchFamily="2" charset="77"/>
                <a:cs typeface="Poppins" pitchFamily="2" charset="77"/>
              </a:rPr>
              <a:t>Teamcoördinator</a:t>
            </a:r>
          </a:p>
          <a:p>
            <a:pPr marL="342900" marR="0" indent="-342900" defTabSz="2438338" rtl="0" fontAlgn="auto" latinLnBrk="0" hangingPunct="0">
              <a:lnSpc>
                <a:spcPct val="114000"/>
              </a:lnSpc>
              <a:spcBef>
                <a:spcPts val="0"/>
              </a:spcBef>
              <a:buClrTx/>
              <a:buSzTx/>
              <a:buFont typeface="Systeemlettertype regulier"/>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Secretariaat</a:t>
            </a:r>
          </a:p>
        </p:txBody>
      </p:sp>
      <p:pic>
        <p:nvPicPr>
          <p:cNvPr id="7" name="Afbeelding 6">
            <a:extLst>
              <a:ext uri="{FF2B5EF4-FFF2-40B4-BE49-F238E27FC236}">
                <a16:creationId xmlns:a16="http://schemas.microsoft.com/office/drawing/2014/main" id="{5B65FD06-8794-684D-8E40-78931CAE115D}"/>
              </a:ext>
            </a:extLst>
          </p:cNvPr>
          <p:cNvPicPr>
            <a:picLocks noChangeAspect="1"/>
          </p:cNvPicPr>
          <p:nvPr/>
        </p:nvPicPr>
        <p:blipFill>
          <a:blip r:embed="rId2"/>
          <a:stretch>
            <a:fillRect/>
          </a:stretch>
        </p:blipFill>
        <p:spPr>
          <a:xfrm>
            <a:off x="3304802" y="3904681"/>
            <a:ext cx="3384716" cy="3763603"/>
          </a:xfrm>
          <a:prstGeom prst="rect">
            <a:avLst/>
          </a:prstGeom>
        </p:spPr>
      </p:pic>
      <p:sp>
        <p:nvSpPr>
          <p:cNvPr id="8" name="Tekstvak 7">
            <a:extLst>
              <a:ext uri="{FF2B5EF4-FFF2-40B4-BE49-F238E27FC236}">
                <a16:creationId xmlns:a16="http://schemas.microsoft.com/office/drawing/2014/main" id="{F2093C9A-2D0C-A4B9-4E35-A310DBC9836B}"/>
              </a:ext>
            </a:extLst>
          </p:cNvPr>
          <p:cNvSpPr txBox="1"/>
          <p:nvPr/>
        </p:nvSpPr>
        <p:spPr>
          <a:xfrm>
            <a:off x="2405086" y="8819126"/>
            <a:ext cx="12420757" cy="2804775"/>
          </a:xfrm>
          <a:prstGeom prst="rect">
            <a:avLst/>
          </a:prstGeom>
          <a:no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R="0" defTabSz="2438338" rtl="0" fontAlgn="auto" latinLnBrk="0" hangingPunct="0">
              <a:lnSpc>
                <a:spcPct val="114000"/>
              </a:lnSpc>
              <a:spcBef>
                <a:spcPts val="0"/>
              </a:spcBef>
              <a:buClrTx/>
              <a:buSzTx/>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Daarnaast </a:t>
            </a:r>
            <a:r>
              <a:rPr lang="nl-NL" sz="2200" dirty="0">
                <a:latin typeface="Poppins" pitchFamily="2" charset="77"/>
                <a:cs typeface="Poppins" pitchFamily="2" charset="77"/>
              </a:rPr>
              <a:t>worden er experts op specifieke thema’s ingevlogen wanneer expertise buiten het team, of langdurige behandeling noodzakelijk is, o.a.: </a:t>
            </a:r>
          </a:p>
          <a:p>
            <a:pPr marL="342900" marR="0" indent="-342900" defTabSz="2438338" rtl="0" fontAlgn="auto" latinLnBrk="0" hangingPunct="0">
              <a:lnSpc>
                <a:spcPct val="114000"/>
              </a:lnSpc>
              <a:spcBef>
                <a:spcPts val="0"/>
              </a:spcBef>
              <a:buClrTx/>
              <a:buSzTx/>
              <a:buFontTx/>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Ervaringsdeskundigheid</a:t>
            </a:r>
          </a:p>
          <a:p>
            <a:pPr marL="342900" marR="0" indent="-342900" defTabSz="2438338" rtl="0" fontAlgn="auto" latinLnBrk="0" hangingPunct="0">
              <a:lnSpc>
                <a:spcPct val="114000"/>
              </a:lnSpc>
              <a:spcBef>
                <a:spcPts val="0"/>
              </a:spcBef>
              <a:buClrTx/>
              <a:buSzTx/>
              <a:buFontTx/>
              <a:buChar char="-"/>
              <a:tabLst/>
            </a:pPr>
            <a:r>
              <a:rPr lang="nl-NL" sz="2200" dirty="0">
                <a:latin typeface="Poppins" pitchFamily="2" charset="77"/>
                <a:cs typeface="Poppins" pitchFamily="2" charset="77"/>
              </a:rPr>
              <a:t>Welzijn </a:t>
            </a:r>
          </a:p>
          <a:p>
            <a:pPr marL="342900" marR="0" indent="-342900" defTabSz="2438338" rtl="0" fontAlgn="auto" latinLnBrk="0" hangingPunct="0">
              <a:lnSpc>
                <a:spcPct val="114000"/>
              </a:lnSpc>
              <a:spcBef>
                <a:spcPts val="0"/>
              </a:spcBef>
              <a:buClrTx/>
              <a:buSzTx/>
              <a:buFontTx/>
              <a:buChar char="-"/>
              <a:tabLst/>
            </a:pPr>
            <a:r>
              <a:rPr kumimoji="0" lang="nl-NL" sz="2200" b="0" i="0" u="none" strike="noStrike" cap="none" spc="0" normalizeH="0" baseline="0" dirty="0">
                <a:ln>
                  <a:noFill/>
                </a:ln>
                <a:solidFill>
                  <a:srgbClr val="000000"/>
                </a:solidFill>
                <a:effectLst/>
                <a:uFillTx/>
                <a:latin typeface="Poppins" pitchFamily="2" charset="77"/>
                <a:cs typeface="Poppins" pitchFamily="2" charset="77"/>
                <a:sym typeface="Helvetica Neue"/>
              </a:rPr>
              <a:t>Buurtgezinnen </a:t>
            </a:r>
          </a:p>
          <a:p>
            <a:pPr marL="342900" marR="0" indent="-342900" defTabSz="2438338" rtl="0" fontAlgn="auto" latinLnBrk="0" hangingPunct="0">
              <a:lnSpc>
                <a:spcPct val="114000"/>
              </a:lnSpc>
              <a:spcBef>
                <a:spcPts val="0"/>
              </a:spcBef>
              <a:buClrTx/>
              <a:buSzTx/>
              <a:buFontTx/>
              <a:buChar char="-"/>
              <a:tabLst/>
            </a:pPr>
            <a:r>
              <a:rPr lang="nl-NL" sz="2200" dirty="0">
                <a:latin typeface="Poppins" pitchFamily="2" charset="77"/>
                <a:cs typeface="Poppins" pitchFamily="2" charset="77"/>
              </a:rPr>
              <a:t>Cultuur-sensitieve expertise</a:t>
            </a:r>
          </a:p>
          <a:p>
            <a:pPr marL="342900" marR="0" indent="-342900" defTabSz="2438338" rtl="0" fontAlgn="auto" latinLnBrk="0" hangingPunct="0">
              <a:lnSpc>
                <a:spcPct val="114000"/>
              </a:lnSpc>
              <a:spcBef>
                <a:spcPts val="0"/>
              </a:spcBef>
              <a:buClrTx/>
              <a:buSzTx/>
              <a:buFontTx/>
              <a:buChar char="-"/>
              <a:tabLst/>
            </a:pPr>
            <a:r>
              <a:rPr lang="nl-NL" sz="2200" dirty="0">
                <a:latin typeface="Poppins" pitchFamily="2" charset="77"/>
                <a:cs typeface="Poppins" pitchFamily="2" charset="77"/>
              </a:rPr>
              <a:t>(V)echtscheidingen </a:t>
            </a:r>
          </a:p>
        </p:txBody>
      </p:sp>
      <p:cxnSp>
        <p:nvCxnSpPr>
          <p:cNvPr id="10" name="Rechte verbindingslijn met pijl 9">
            <a:extLst>
              <a:ext uri="{FF2B5EF4-FFF2-40B4-BE49-F238E27FC236}">
                <a16:creationId xmlns:a16="http://schemas.microsoft.com/office/drawing/2014/main" id="{2BE09871-2AAC-F2AA-2BE9-5B964738732D}"/>
              </a:ext>
            </a:extLst>
          </p:cNvPr>
          <p:cNvCxnSpPr>
            <a:cxnSpLocks/>
          </p:cNvCxnSpPr>
          <p:nvPr/>
        </p:nvCxnSpPr>
        <p:spPr>
          <a:xfrm flipV="1">
            <a:off x="4997160" y="7860840"/>
            <a:ext cx="0" cy="574672"/>
          </a:xfrm>
          <a:prstGeom prst="straightConnector1">
            <a:avLst/>
          </a:prstGeom>
          <a:noFill/>
          <a:ln w="3175"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cxnSp>
        <p:nvCxnSpPr>
          <p:cNvPr id="21" name="Rechte verbindingslijn met pijl 20">
            <a:extLst>
              <a:ext uri="{FF2B5EF4-FFF2-40B4-BE49-F238E27FC236}">
                <a16:creationId xmlns:a16="http://schemas.microsoft.com/office/drawing/2014/main" id="{4E7117DE-EFF9-165F-4894-49E310183623}"/>
              </a:ext>
            </a:extLst>
          </p:cNvPr>
          <p:cNvCxnSpPr/>
          <p:nvPr/>
        </p:nvCxnSpPr>
        <p:spPr>
          <a:xfrm flipH="1">
            <a:off x="7105035" y="5331276"/>
            <a:ext cx="1496390" cy="0"/>
          </a:xfrm>
          <a:prstGeom prst="straightConnector1">
            <a:avLst/>
          </a:prstGeom>
          <a:noFill/>
          <a:ln w="3175" cap="flat">
            <a:solidFill>
              <a:srgbClr val="000000"/>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22" name="Afgeronde rechthoek 21">
            <a:extLst>
              <a:ext uri="{FF2B5EF4-FFF2-40B4-BE49-F238E27FC236}">
                <a16:creationId xmlns:a16="http://schemas.microsoft.com/office/drawing/2014/main" id="{55C1119A-52C0-6FAB-08CE-416C0E0A6E05}"/>
              </a:ext>
            </a:extLst>
          </p:cNvPr>
          <p:cNvSpPr/>
          <p:nvPr/>
        </p:nvSpPr>
        <p:spPr>
          <a:xfrm>
            <a:off x="1912904" y="2793044"/>
            <a:ext cx="13319191" cy="9118219"/>
          </a:xfrm>
          <a:prstGeom prst="roundRect">
            <a:avLst>
              <a:gd name="adj" fmla="val 7791"/>
            </a:avLst>
          </a:prstGeom>
          <a:noFill/>
          <a:ln w="12700">
            <a:solidFill>
              <a:schemeClr val="tx1"/>
            </a:solidFill>
            <a:miter lim="400000"/>
          </a:ln>
        </p:spPr>
        <p:txBody>
          <a:bodyPr lIns="180000" tIns="0" rIns="180000" bIns="0" rtlCol="0" anchor="ctr"/>
          <a:lstStyle/>
          <a:p>
            <a:pPr algn="ctr" defTabSz="825500">
              <a:lnSpc>
                <a:spcPct val="114000"/>
              </a:lnSpc>
              <a:spcBef>
                <a:spcPts val="0"/>
              </a:spcBef>
            </a:pPr>
            <a:endParaRPr lang="nl-NL" sz="2200" dirty="0">
              <a:latin typeface="Poppins" pitchFamily="2" charset="77"/>
              <a:ea typeface="Helvetica Neue Medium"/>
              <a:cs typeface="Poppins" pitchFamily="2" charset="77"/>
              <a:sym typeface="Helvetica Neue Medium"/>
            </a:endParaRPr>
          </a:p>
        </p:txBody>
      </p:sp>
      <p:sp>
        <p:nvSpPr>
          <p:cNvPr id="5" name="Tekstvak 4">
            <a:extLst>
              <a:ext uri="{FF2B5EF4-FFF2-40B4-BE49-F238E27FC236}">
                <a16:creationId xmlns:a16="http://schemas.microsoft.com/office/drawing/2014/main" id="{8808FCD0-AC14-6F6E-5681-07154F250516}"/>
              </a:ext>
            </a:extLst>
          </p:cNvPr>
          <p:cNvSpPr txBox="1"/>
          <p:nvPr/>
        </p:nvSpPr>
        <p:spPr>
          <a:xfrm>
            <a:off x="3884927" y="2449022"/>
            <a:ext cx="9368789" cy="688043"/>
          </a:xfrm>
          <a:prstGeom prst="rect">
            <a:avLst/>
          </a:prstGeom>
          <a:solidFill>
            <a:schemeClr val="bg1"/>
          </a:solidFill>
          <a:ln w="635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80000" tIns="0" rIns="180000" bIns="0" numCol="1" spcCol="38100" rtlCol="0" anchor="ctr">
            <a:noAutofit/>
          </a:bodyPr>
          <a:lstStyle/>
          <a:p>
            <a:pPr marL="0" marR="0" indent="0" defTabSz="2438338" rtl="0" fontAlgn="auto" latinLnBrk="0" hangingPunct="0">
              <a:lnSpc>
                <a:spcPct val="114000"/>
              </a:lnSpc>
              <a:spcBef>
                <a:spcPts val="0"/>
              </a:spcBef>
              <a:buClrTx/>
              <a:buSzTx/>
              <a:buFontTx/>
              <a:buNone/>
              <a:tabLst/>
            </a:pPr>
            <a:r>
              <a:rPr kumimoji="0" lang="nl-NL" sz="2200" b="1" i="0" u="none" strike="noStrike" cap="none" spc="0" normalizeH="0" baseline="0" dirty="0">
                <a:ln>
                  <a:noFill/>
                </a:ln>
                <a:solidFill>
                  <a:srgbClr val="000000"/>
                </a:solidFill>
                <a:effectLst/>
                <a:uFillTx/>
                <a:latin typeface="Poppins" pitchFamily="2" charset="77"/>
                <a:cs typeface="Poppins" pitchFamily="2" charset="77"/>
                <a:sym typeface="Helvetica Neue"/>
              </a:rPr>
              <a:t>Samenstelling gezinsteam: kernteam met aanvullende  inzet </a:t>
            </a:r>
          </a:p>
        </p:txBody>
      </p:sp>
    </p:spTree>
    <p:extLst>
      <p:ext uri="{BB962C8B-B14F-4D97-AF65-F5344CB8AC3E}">
        <p14:creationId xmlns:p14="http://schemas.microsoft.com/office/powerpoint/2010/main" val="270598335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2_BasicWhite">
  <a:themeElements>
    <a:clrScheme name="EHDK">
      <a:dk1>
        <a:srgbClr val="000000"/>
      </a:dk1>
      <a:lt1>
        <a:srgbClr val="FFFFFF"/>
      </a:lt1>
      <a:dk2>
        <a:srgbClr val="5E5E5E"/>
      </a:dk2>
      <a:lt2>
        <a:srgbClr val="D5D5D5"/>
      </a:lt2>
      <a:accent1>
        <a:srgbClr val="F4A93F"/>
      </a:accent1>
      <a:accent2>
        <a:srgbClr val="F1A4B1"/>
      </a:accent2>
      <a:accent3>
        <a:srgbClr val="CC5D73"/>
      </a:accent3>
      <a:accent4>
        <a:srgbClr val="5592C1"/>
      </a:accent4>
      <a:accent5>
        <a:srgbClr val="B5D6AE"/>
      </a:accent5>
      <a:accent6>
        <a:srgbClr val="C4DAF4"/>
      </a:accent6>
      <a:hlink>
        <a:srgbClr val="F1A4B1"/>
      </a:hlink>
      <a:folHlink>
        <a:srgbClr val="CC5D73"/>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miter lim="400000"/>
        </a:ln>
      </a:spPr>
      <a:bodyPr lIns="180000" tIns="0" rIns="180000" bIns="0" rtlCol="0" anchor="ctr"/>
      <a:lstStyle>
        <a:defPPr algn="ctr" defTabSz="825500">
          <a:lnSpc>
            <a:spcPct val="114000"/>
          </a:lnSpc>
          <a:spcBef>
            <a:spcPts val="0"/>
          </a:spcBef>
          <a:defRPr sz="2200" dirty="0">
            <a:latin typeface="Poppins" pitchFamily="2" charset="77"/>
            <a:ea typeface="Helvetica Neue Medium"/>
            <a:cs typeface="Poppins" pitchFamily="2" charset="77"/>
            <a:sym typeface="Helvetica Neue Medium"/>
          </a:defRPr>
        </a:defPPr>
      </a:lstStyle>
    </a:spDef>
    <a:lnDef>
      <a:spPr>
        <a:noFill/>
        <a:ln w="3175"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6350" cap="flat">
          <a:noFill/>
          <a:miter lim="400000"/>
        </a:ln>
        <a:effectLst/>
        <a:sp3d/>
      </a:spPr>
      <a:bodyPr rot="0" spcFirstLastPara="1" vertOverflow="overflow" horzOverflow="overflow" vert="horz" wrap="square" lIns="180000" tIns="0" rIns="180000" bIns="0" numCol="1" spcCol="38100" rtlCol="0" anchor="ctr">
        <a:noAutofit/>
      </a:bodyPr>
      <a:lstStyle>
        <a:defPPr marL="0" marR="0" indent="0" algn="ctr" defTabSz="2438338" rtl="0" fontAlgn="auto" latinLnBrk="0" hangingPunct="0">
          <a:lnSpc>
            <a:spcPct val="114000"/>
          </a:lnSpc>
          <a:spcBef>
            <a:spcPts val="0"/>
          </a:spcBef>
          <a:buClrTx/>
          <a:buSzTx/>
          <a:buFontTx/>
          <a:buNone/>
          <a:tabLst/>
          <a:defRPr kumimoji="0" sz="2200" b="0" i="0" u="none" strike="noStrike" cap="none" spc="0" normalizeH="0" baseline="0" dirty="0" smtClean="0">
            <a:ln>
              <a:noFill/>
            </a:ln>
            <a:solidFill>
              <a:srgbClr val="000000"/>
            </a:solidFill>
            <a:effectLst/>
            <a:uFillTx/>
            <a:latin typeface="Poppins" pitchFamily="2" charset="77"/>
            <a:cs typeface="Poppins" pitchFamily="2" charset="77"/>
            <a:sym typeface="Helvetica Neue"/>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3175" cap="flat">
          <a:noFill/>
          <a:miter lim="400000"/>
        </a:ln>
        <a:effectLst/>
        <a:sp3d/>
      </a:spPr>
      <a:bodyPr rot="0" spcFirstLastPara="1" vertOverflow="overflow" horzOverflow="overflow" vert="horz" wrap="square" lIns="22859" tIns="22859" rIns="22859" bIns="22859"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175"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22859" tIns="22859" rIns="22859" bIns="22859"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76</TotalTime>
  <Words>1268</Words>
  <Application>Microsoft Macintosh PowerPoint</Application>
  <PresentationFormat>Aangepast</PresentationFormat>
  <Paragraphs>160</Paragraphs>
  <Slides>12</Slides>
  <Notes>1</Notes>
  <HiddenSlides>0</HiddenSlides>
  <MMClips>0</MMClips>
  <ScaleCrop>false</ScaleCrop>
  <HeadingPairs>
    <vt:vector size="8" baseType="variant">
      <vt:variant>
        <vt:lpstr>Gebruikte lettertypen</vt:lpstr>
      </vt:variant>
      <vt:variant>
        <vt:i4>8</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22" baseType="lpstr">
      <vt:lpstr>Arial</vt:lpstr>
      <vt:lpstr>Bebas Neue Bold</vt:lpstr>
      <vt:lpstr>Calibri</vt:lpstr>
      <vt:lpstr>Helvetica Neue</vt:lpstr>
      <vt:lpstr>Poppins</vt:lpstr>
      <vt:lpstr>Poppins Regular</vt:lpstr>
      <vt:lpstr>Poppins SemiBold</vt:lpstr>
      <vt:lpstr>Systeemlettertype regulier</vt:lpstr>
      <vt:lpstr>22_BasicWhite</vt:lpstr>
      <vt:lpstr>think-cell Slide</vt:lpstr>
      <vt:lpstr>PowerPoint-presentatie</vt:lpstr>
      <vt:lpstr>PowerPoint-presentatie</vt:lpstr>
      <vt:lpstr>AANLEIDING | Gezinnen met complexe problematiek over meerdere levensdomeinen worden in het huidige zorgstelsel te vaak onvoldoende geholpen</vt:lpstr>
      <vt:lpstr>INTEGRALE ZORG | Voor deze gezinnen is het nodig dat zij geïntegreerd zorg vanuit het sociaal domein, de jeugdzorg en de volwassenzorg ontvangen</vt:lpstr>
      <vt:lpstr>SAMENWERKING | De gemeente, ggz, jeugdhulp, jeugdbescherming, verslavingszorg, gehandicaptenzorg en de zorgverzekeraar hebben de handen hiervoor ineen geslagen</vt:lpstr>
      <vt:lpstr>SAMENWERKING | Om gezinshulp te realiseren is er door de partijen gezamenlijk vanuit de inhoud een nieuwe aanpak ontworpen en daarna toegewerkt naar een pilot</vt:lpstr>
      <vt:lpstr>WAT LEVERT HET OP | Naast positieve effecten op de cliënten en hulpverleners is de voorspelling dat gezinshulp kosteneffectief is door efficiëntere zorg en preventieve effecten</vt:lpstr>
      <vt:lpstr>WERKWIJZE | Intake, diagnose verwijzing en behandeling zijn onderdeel van integrale gezinshulp. Dit wordt uitgevoerd door één team met gezamenlijke verantwoordelijkheid</vt:lpstr>
      <vt:lpstr>WERKWIJZE | Deze diverse taken zijn uit te voeren door de grote hoeveelheid aan expertise: verwijzers jeugd, volwassenen, jeugdbeschermers maar ook gezinscoaches en behandelaren </vt:lpstr>
      <vt:lpstr> RANDVOORWAARDEN | Om een team te starten dient een aantal randvoorwaarden georganiseerd te worden, waarbij de inhoudelijke uitgangspunten van de aanpak leidend zijn</vt:lpstr>
      <vt:lpstr>AANDACHTSPUNTEN | Gezinshulp opzetten kan alleen samen en vraagt om transparantie, vertrouwen en geduld</vt:lpstr>
      <vt:lpstr>TOEKOMST | Effectiviteit dient eerst aangetoond te worden, maar indien de verwachtingen uitkomen is de ambitie van partijen om Nederland te inspireren en gezinshulp uit te breid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cp:lastModifiedBy>Siebeline van Houten</cp:lastModifiedBy>
  <cp:revision>300</cp:revision>
  <dcterms:modified xsi:type="dcterms:W3CDTF">2024-11-07T16:11:50Z</dcterms:modified>
</cp:coreProperties>
</file>